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3" r:id="rId2"/>
    <p:sldMasterId id="2147483680" r:id="rId3"/>
  </p:sldMasterIdLst>
  <p:notesMasterIdLst>
    <p:notesMasterId r:id="rId22"/>
  </p:notesMasterIdLst>
  <p:sldIdLst>
    <p:sldId id="285" r:id="rId4"/>
    <p:sldId id="257" r:id="rId5"/>
    <p:sldId id="266" r:id="rId6"/>
    <p:sldId id="259" r:id="rId7"/>
    <p:sldId id="290" r:id="rId8"/>
    <p:sldId id="317" r:id="rId9"/>
    <p:sldId id="316" r:id="rId10"/>
    <p:sldId id="308" r:id="rId11"/>
    <p:sldId id="318" r:id="rId12"/>
    <p:sldId id="258" r:id="rId13"/>
    <p:sldId id="278" r:id="rId14"/>
    <p:sldId id="303" r:id="rId15"/>
    <p:sldId id="312" r:id="rId16"/>
    <p:sldId id="320" r:id="rId17"/>
    <p:sldId id="314" r:id="rId18"/>
    <p:sldId id="295" r:id="rId19"/>
    <p:sldId id="319" r:id="rId20"/>
    <p:sldId id="281" r:id="rId2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92" userDrawn="1">
          <p15:clr>
            <a:srgbClr val="A4A3A4"/>
          </p15:clr>
        </p15:guide>
        <p15:guide id="2" pos="33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611D5"/>
    <a:srgbClr val="C2A1FF"/>
    <a:srgbClr val="F7B2C3"/>
    <a:srgbClr val="2FDEE5"/>
    <a:srgbClr val="3DDBE3"/>
    <a:srgbClr val="25E0E7"/>
    <a:srgbClr val="FFFFFF"/>
    <a:srgbClr val="9EC5D2"/>
    <a:srgbClr val="83CBD7"/>
    <a:srgbClr val="5DD4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17F950-D99D-4491-93CD-3EF94C863C01}" v="111" dt="2019-11-24T15:31:09.1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99" autoAdjust="0"/>
    <p:restoredTop sz="84590" autoAdjust="0"/>
  </p:normalViewPr>
  <p:slideViewPr>
    <p:cSldViewPr snapToGrid="0" showGuides="1">
      <p:cViewPr varScale="1">
        <p:scale>
          <a:sx n="42" d="100"/>
          <a:sy n="42" d="100"/>
        </p:scale>
        <p:origin x="991" y="17"/>
      </p:cViewPr>
      <p:guideLst>
        <p:guide orient="horz" pos="2092"/>
        <p:guide pos="33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博凡 鄭" userId="f49e1cb6-2f4b-4518-ac6e-904f70b0723a" providerId="ADAL" clId="{6717F950-D99D-4491-93CD-3EF94C863C01}"/>
    <pc:docChg chg="undo redo addSld delSld modSld sldOrd delMainMaster">
      <pc:chgData name="博凡 鄭" userId="f49e1cb6-2f4b-4518-ac6e-904f70b0723a" providerId="ADAL" clId="{6717F950-D99D-4491-93CD-3EF94C863C01}" dt="2019-11-24T18:09:28.005" v="473" actId="2696"/>
      <pc:docMkLst>
        <pc:docMk/>
      </pc:docMkLst>
      <pc:sldChg chg="addSp modSp">
        <pc:chgData name="博凡 鄭" userId="f49e1cb6-2f4b-4518-ac6e-904f70b0723a" providerId="ADAL" clId="{6717F950-D99D-4491-93CD-3EF94C863C01}" dt="2019-11-24T15:04:09.456" v="209" actId="20577"/>
        <pc:sldMkLst>
          <pc:docMk/>
          <pc:sldMk cId="3029552995" sldId="257"/>
        </pc:sldMkLst>
        <pc:spChg chg="mod">
          <ac:chgData name="博凡 鄭" userId="f49e1cb6-2f4b-4518-ac6e-904f70b0723a" providerId="ADAL" clId="{6717F950-D99D-4491-93CD-3EF94C863C01}" dt="2019-11-24T15:02:35.994" v="116" actId="164"/>
          <ac:spMkLst>
            <pc:docMk/>
            <pc:sldMk cId="3029552995" sldId="257"/>
            <ac:spMk id="20" creationId="{00000000-0000-0000-0000-000000000000}"/>
          </ac:spMkLst>
        </pc:spChg>
        <pc:spChg chg="mod">
          <ac:chgData name="博凡 鄭" userId="f49e1cb6-2f4b-4518-ac6e-904f70b0723a" providerId="ADAL" clId="{6717F950-D99D-4491-93CD-3EF94C863C01}" dt="2019-11-24T15:02:35.994" v="116" actId="164"/>
          <ac:spMkLst>
            <pc:docMk/>
            <pc:sldMk cId="3029552995" sldId="257"/>
            <ac:spMk id="21" creationId="{00000000-0000-0000-0000-000000000000}"/>
          </ac:spMkLst>
        </pc:spChg>
        <pc:spChg chg="mod">
          <ac:chgData name="博凡 鄭" userId="f49e1cb6-2f4b-4518-ac6e-904f70b0723a" providerId="ADAL" clId="{6717F950-D99D-4491-93CD-3EF94C863C01}" dt="2019-11-24T15:02:35.994" v="116" actId="164"/>
          <ac:spMkLst>
            <pc:docMk/>
            <pc:sldMk cId="3029552995" sldId="257"/>
            <ac:spMk id="22" creationId="{00000000-0000-0000-0000-000000000000}"/>
          </ac:spMkLst>
        </pc:spChg>
        <pc:spChg chg="mod">
          <ac:chgData name="博凡 鄭" userId="f49e1cb6-2f4b-4518-ac6e-904f70b0723a" providerId="ADAL" clId="{6717F950-D99D-4491-93CD-3EF94C863C01}" dt="2019-11-24T15:02:50.978" v="182" actId="20577"/>
          <ac:spMkLst>
            <pc:docMk/>
            <pc:sldMk cId="3029552995" sldId="257"/>
            <ac:spMk id="26" creationId="{40293C31-93C5-42B1-A2AD-2864F992C7BF}"/>
          </ac:spMkLst>
        </pc:spChg>
        <pc:spChg chg="mod">
          <ac:chgData name="博凡 鄭" userId="f49e1cb6-2f4b-4518-ac6e-904f70b0723a" providerId="ADAL" clId="{6717F950-D99D-4491-93CD-3EF94C863C01}" dt="2019-11-24T15:03:00.893" v="196" actId="20577"/>
          <ac:spMkLst>
            <pc:docMk/>
            <pc:sldMk cId="3029552995" sldId="257"/>
            <ac:spMk id="27" creationId="{6D32AA38-DED5-4D3D-AAA0-5793C8CDBDE7}"/>
          </ac:spMkLst>
        </pc:spChg>
        <pc:spChg chg="mod">
          <ac:chgData name="博凡 鄭" userId="f49e1cb6-2f4b-4518-ac6e-904f70b0723a" providerId="ADAL" clId="{6717F950-D99D-4491-93CD-3EF94C863C01}" dt="2019-11-24T15:02:35.994" v="116" actId="164"/>
          <ac:spMkLst>
            <pc:docMk/>
            <pc:sldMk cId="3029552995" sldId="257"/>
            <ac:spMk id="30" creationId="{00000000-0000-0000-0000-000000000000}"/>
          </ac:spMkLst>
        </pc:spChg>
        <pc:spChg chg="mod">
          <ac:chgData name="博凡 鄭" userId="f49e1cb6-2f4b-4518-ac6e-904f70b0723a" providerId="ADAL" clId="{6717F950-D99D-4491-93CD-3EF94C863C01}" dt="2019-11-24T15:04:09.456" v="209" actId="20577"/>
          <ac:spMkLst>
            <pc:docMk/>
            <pc:sldMk cId="3029552995" sldId="257"/>
            <ac:spMk id="31" creationId="{925C2633-1018-469D-A267-59E61D4BE9EA}"/>
          </ac:spMkLst>
        </pc:spChg>
        <pc:spChg chg="mod">
          <ac:chgData name="博凡 鄭" userId="f49e1cb6-2f4b-4518-ac6e-904f70b0723a" providerId="ADAL" clId="{6717F950-D99D-4491-93CD-3EF94C863C01}" dt="2019-11-24T15:02:35.994" v="116" actId="164"/>
          <ac:spMkLst>
            <pc:docMk/>
            <pc:sldMk cId="3029552995" sldId="257"/>
            <ac:spMk id="46" creationId="{00000000-0000-0000-0000-000000000000}"/>
          </ac:spMkLst>
        </pc:spChg>
        <pc:grpChg chg="add mod">
          <ac:chgData name="博凡 鄭" userId="f49e1cb6-2f4b-4518-ac6e-904f70b0723a" providerId="ADAL" clId="{6717F950-D99D-4491-93CD-3EF94C863C01}" dt="2019-11-24T15:02:35.994" v="116" actId="164"/>
          <ac:grpSpMkLst>
            <pc:docMk/>
            <pc:sldMk cId="3029552995" sldId="257"/>
            <ac:grpSpMk id="2" creationId="{158EEC77-FCD7-463C-BC1F-841583CDA196}"/>
          </ac:grpSpMkLst>
        </pc:grpChg>
        <pc:grpChg chg="add mod">
          <ac:chgData name="博凡 鄭" userId="f49e1cb6-2f4b-4518-ac6e-904f70b0723a" providerId="ADAL" clId="{6717F950-D99D-4491-93CD-3EF94C863C01}" dt="2019-11-24T15:02:45.723" v="180" actId="1035"/>
          <ac:grpSpMkLst>
            <pc:docMk/>
            <pc:sldMk cId="3029552995" sldId="257"/>
            <ac:grpSpMk id="23" creationId="{368055CE-31FC-4783-A36B-0F01A8A49D94}"/>
          </ac:grpSpMkLst>
        </pc:grpChg>
        <pc:picChg chg="mod">
          <ac:chgData name="博凡 鄭" userId="f49e1cb6-2f4b-4518-ac6e-904f70b0723a" providerId="ADAL" clId="{6717F950-D99D-4491-93CD-3EF94C863C01}" dt="2019-11-24T15:02:03.750" v="115" actId="1076"/>
          <ac:picMkLst>
            <pc:docMk/>
            <pc:sldMk cId="3029552995" sldId="257"/>
            <ac:picMk id="14" creationId="{00000000-0000-0000-0000-000000000000}"/>
          </ac:picMkLst>
        </pc:picChg>
        <pc:cxnChg chg="mod">
          <ac:chgData name="博凡 鄭" userId="f49e1cb6-2f4b-4518-ac6e-904f70b0723a" providerId="ADAL" clId="{6717F950-D99D-4491-93CD-3EF94C863C01}" dt="2019-11-24T15:02:35.994" v="116" actId="164"/>
          <ac:cxnSpMkLst>
            <pc:docMk/>
            <pc:sldMk cId="3029552995" sldId="257"/>
            <ac:cxnSpMk id="39" creationId="{00000000-0000-0000-0000-000000000000}"/>
          </ac:cxnSpMkLst>
        </pc:cxnChg>
      </pc:sldChg>
      <pc:sldChg chg="ord">
        <pc:chgData name="博凡 鄭" userId="f49e1cb6-2f4b-4518-ac6e-904f70b0723a" providerId="ADAL" clId="{6717F950-D99D-4491-93CD-3EF94C863C01}" dt="2019-11-24T15:01:43.160" v="113"/>
        <pc:sldMkLst>
          <pc:docMk/>
          <pc:sldMk cId="1305307750" sldId="259"/>
        </pc:sldMkLst>
      </pc:sldChg>
      <pc:sldChg chg="del">
        <pc:chgData name="博凡 鄭" userId="f49e1cb6-2f4b-4518-ac6e-904f70b0723a" providerId="ADAL" clId="{6717F950-D99D-4491-93CD-3EF94C863C01}" dt="2019-11-24T15:20:19.447" v="445" actId="2696"/>
        <pc:sldMkLst>
          <pc:docMk/>
          <pc:sldMk cId="3270583410" sldId="260"/>
        </pc:sldMkLst>
      </pc:sldChg>
      <pc:sldChg chg="add del">
        <pc:chgData name="博凡 鄭" userId="f49e1cb6-2f4b-4518-ac6e-904f70b0723a" providerId="ADAL" clId="{6717F950-D99D-4491-93CD-3EF94C863C01}" dt="2019-11-24T15:07:03.646" v="265" actId="2696"/>
        <pc:sldMkLst>
          <pc:docMk/>
          <pc:sldMk cId="4198052609" sldId="261"/>
        </pc:sldMkLst>
      </pc:sldChg>
      <pc:sldChg chg="add del">
        <pc:chgData name="博凡 鄭" userId="f49e1cb6-2f4b-4518-ac6e-904f70b0723a" providerId="ADAL" clId="{6717F950-D99D-4491-93CD-3EF94C863C01}" dt="2019-11-24T15:07:03.661" v="266" actId="2696"/>
        <pc:sldMkLst>
          <pc:docMk/>
          <pc:sldMk cId="746379800" sldId="262"/>
        </pc:sldMkLst>
      </pc:sldChg>
      <pc:sldChg chg="ord">
        <pc:chgData name="博凡 鄭" userId="f49e1cb6-2f4b-4518-ac6e-904f70b0723a" providerId="ADAL" clId="{6717F950-D99D-4491-93CD-3EF94C863C01}" dt="2019-11-24T15:01:41.859" v="112"/>
        <pc:sldMkLst>
          <pc:docMk/>
          <pc:sldMk cId="1214402949" sldId="266"/>
        </pc:sldMkLst>
      </pc:sldChg>
      <pc:sldChg chg="del">
        <pc:chgData name="博凡 鄭" userId="f49e1cb6-2f4b-4518-ac6e-904f70b0723a" providerId="ADAL" clId="{6717F950-D99D-4491-93CD-3EF94C863C01}" dt="2019-11-24T15:06:41.940" v="260" actId="2696"/>
        <pc:sldMkLst>
          <pc:docMk/>
          <pc:sldMk cId="2741839542" sldId="267"/>
        </pc:sldMkLst>
      </pc:sldChg>
      <pc:sldChg chg="addSp modSp">
        <pc:chgData name="博凡 鄭" userId="f49e1cb6-2f4b-4518-ac6e-904f70b0723a" providerId="ADAL" clId="{6717F950-D99D-4491-93CD-3EF94C863C01}" dt="2019-11-24T15:15:46.017" v="440"/>
        <pc:sldMkLst>
          <pc:docMk/>
          <pc:sldMk cId="1651715744" sldId="278"/>
        </pc:sldMkLst>
        <pc:spChg chg="add mod">
          <ac:chgData name="博凡 鄭" userId="f49e1cb6-2f4b-4518-ac6e-904f70b0723a" providerId="ADAL" clId="{6717F950-D99D-4491-93CD-3EF94C863C01}" dt="2019-11-24T15:11:19.786" v="296" actId="20577"/>
          <ac:spMkLst>
            <pc:docMk/>
            <pc:sldMk cId="1651715744" sldId="278"/>
            <ac:spMk id="108" creationId="{05615E5C-17A7-43E2-837F-EEA7299966AD}"/>
          </ac:spMkLst>
        </pc:spChg>
        <pc:spChg chg="add mod">
          <ac:chgData name="博凡 鄭" userId="f49e1cb6-2f4b-4518-ac6e-904f70b0723a" providerId="ADAL" clId="{6717F950-D99D-4491-93CD-3EF94C863C01}" dt="2019-11-24T15:15:46.017" v="440"/>
          <ac:spMkLst>
            <pc:docMk/>
            <pc:sldMk cId="1651715744" sldId="278"/>
            <ac:spMk id="110" creationId="{3434E750-2960-4DF2-B740-06CE2CB5983A}"/>
          </ac:spMkLst>
        </pc:spChg>
      </pc:sldChg>
      <pc:sldChg chg="del">
        <pc:chgData name="博凡 鄭" userId="f49e1cb6-2f4b-4518-ac6e-904f70b0723a" providerId="ADAL" clId="{6717F950-D99D-4491-93CD-3EF94C863C01}" dt="2019-11-24T15:04:57.549" v="231" actId="2696"/>
        <pc:sldMkLst>
          <pc:docMk/>
          <pc:sldMk cId="99433607" sldId="283"/>
        </pc:sldMkLst>
      </pc:sldChg>
      <pc:sldChg chg="modSp">
        <pc:chgData name="博凡 鄭" userId="f49e1cb6-2f4b-4518-ac6e-904f70b0723a" providerId="ADAL" clId="{6717F950-D99D-4491-93CD-3EF94C863C01}" dt="2019-11-24T15:26:52.749" v="463" actId="20577"/>
        <pc:sldMkLst>
          <pc:docMk/>
          <pc:sldMk cId="3702405307" sldId="285"/>
        </pc:sldMkLst>
        <pc:spChg chg="mod">
          <ac:chgData name="博凡 鄭" userId="f49e1cb6-2f4b-4518-ac6e-904f70b0723a" providerId="ADAL" clId="{6717F950-D99D-4491-93CD-3EF94C863C01}" dt="2019-11-24T15:26:52.749" v="463" actId="20577"/>
          <ac:spMkLst>
            <pc:docMk/>
            <pc:sldMk cId="3702405307" sldId="285"/>
            <ac:spMk id="5" creationId="{00000000-0000-0000-0000-000000000000}"/>
          </ac:spMkLst>
        </pc:spChg>
      </pc:sldChg>
      <pc:sldChg chg="ord">
        <pc:chgData name="博凡 鄭" userId="f49e1cb6-2f4b-4518-ac6e-904f70b0723a" providerId="ADAL" clId="{6717F950-D99D-4491-93CD-3EF94C863C01}" dt="2019-11-24T15:01:27.263" v="109"/>
        <pc:sldMkLst>
          <pc:docMk/>
          <pc:sldMk cId="662637825" sldId="290"/>
        </pc:sldMkLst>
      </pc:sldChg>
      <pc:sldChg chg="del">
        <pc:chgData name="博凡 鄭" userId="f49e1cb6-2f4b-4518-ac6e-904f70b0723a" providerId="ADAL" clId="{6717F950-D99D-4491-93CD-3EF94C863C01}" dt="2019-11-24T15:04:57.533" v="229" actId="2696"/>
        <pc:sldMkLst>
          <pc:docMk/>
          <pc:sldMk cId="2507441649" sldId="305"/>
        </pc:sldMkLst>
      </pc:sldChg>
      <pc:sldChg chg="del">
        <pc:chgData name="博凡 鄭" userId="f49e1cb6-2f4b-4518-ac6e-904f70b0723a" providerId="ADAL" clId="{6717F950-D99D-4491-93CD-3EF94C863C01}" dt="2019-11-24T15:04:57.533" v="230" actId="2696"/>
        <pc:sldMkLst>
          <pc:docMk/>
          <pc:sldMk cId="1233701217" sldId="306"/>
        </pc:sldMkLst>
      </pc:sldChg>
      <pc:sldChg chg="del ord">
        <pc:chgData name="博凡 鄭" userId="f49e1cb6-2f4b-4518-ac6e-904f70b0723a" providerId="ADAL" clId="{6717F950-D99D-4491-93CD-3EF94C863C01}" dt="2019-11-24T15:31:45.760" v="469" actId="2696"/>
        <pc:sldMkLst>
          <pc:docMk/>
          <pc:sldMk cId="3761698089" sldId="307"/>
        </pc:sldMkLst>
      </pc:sldChg>
      <pc:sldChg chg="modSp ord">
        <pc:chgData name="博凡 鄭" userId="f49e1cb6-2f4b-4518-ac6e-904f70b0723a" providerId="ADAL" clId="{6717F950-D99D-4491-93CD-3EF94C863C01}" dt="2019-11-24T15:30:43.042" v="464" actId="20577"/>
        <pc:sldMkLst>
          <pc:docMk/>
          <pc:sldMk cId="1853497423" sldId="308"/>
        </pc:sldMkLst>
        <pc:spChg chg="mod">
          <ac:chgData name="博凡 鄭" userId="f49e1cb6-2f4b-4518-ac6e-904f70b0723a" providerId="ADAL" clId="{6717F950-D99D-4491-93CD-3EF94C863C01}" dt="2019-11-24T15:30:43.042" v="464" actId="20577"/>
          <ac:spMkLst>
            <pc:docMk/>
            <pc:sldMk cId="1853497423" sldId="308"/>
            <ac:spMk id="3" creationId="{CEAF2EEC-5EEC-478E-8339-3931105143DC}"/>
          </ac:spMkLst>
        </pc:spChg>
      </pc:sldChg>
      <pc:sldChg chg="del">
        <pc:chgData name="博凡 鄭" userId="f49e1cb6-2f4b-4518-ac6e-904f70b0723a" providerId="ADAL" clId="{6717F950-D99D-4491-93CD-3EF94C863C01}" dt="2019-11-24T15:20:05.366" v="444" actId="2696"/>
        <pc:sldMkLst>
          <pc:docMk/>
          <pc:sldMk cId="1266477128" sldId="309"/>
        </pc:sldMkLst>
      </pc:sldChg>
      <pc:sldChg chg="del">
        <pc:chgData name="博凡 鄭" userId="f49e1cb6-2f4b-4518-ac6e-904f70b0723a" providerId="ADAL" clId="{6717F950-D99D-4491-93CD-3EF94C863C01}" dt="2019-11-24T15:19:54.271" v="442" actId="2696"/>
        <pc:sldMkLst>
          <pc:docMk/>
          <pc:sldMk cId="1804837308" sldId="310"/>
        </pc:sldMkLst>
      </pc:sldChg>
      <pc:sldChg chg="del">
        <pc:chgData name="博凡 鄭" userId="f49e1cb6-2f4b-4518-ac6e-904f70b0723a" providerId="ADAL" clId="{6717F950-D99D-4491-93CD-3EF94C863C01}" dt="2019-11-24T15:20:02.622" v="443" actId="2696"/>
        <pc:sldMkLst>
          <pc:docMk/>
          <pc:sldMk cId="1394872589" sldId="311"/>
        </pc:sldMkLst>
      </pc:sldChg>
      <pc:sldChg chg="del">
        <pc:chgData name="博凡 鄭" userId="f49e1cb6-2f4b-4518-ac6e-904f70b0723a" providerId="ADAL" clId="{6717F950-D99D-4491-93CD-3EF94C863C01}" dt="2019-11-24T15:19:29.057" v="441" actId="2696"/>
        <pc:sldMkLst>
          <pc:docMk/>
          <pc:sldMk cId="2528510415" sldId="313"/>
        </pc:sldMkLst>
      </pc:sldChg>
      <pc:sldChg chg="addSp modSp del">
        <pc:chgData name="博凡 鄭" userId="f49e1cb6-2f4b-4518-ac6e-904f70b0723a" providerId="ADAL" clId="{6717F950-D99D-4491-93CD-3EF94C863C01}" dt="2019-11-24T15:06:15.258" v="253" actId="2696"/>
        <pc:sldMkLst>
          <pc:docMk/>
          <pc:sldMk cId="4083090712" sldId="315"/>
        </pc:sldMkLst>
        <pc:spChg chg="add mod">
          <ac:chgData name="博凡 鄭" userId="f49e1cb6-2f4b-4518-ac6e-904f70b0723a" providerId="ADAL" clId="{6717F950-D99D-4491-93CD-3EF94C863C01}" dt="2019-11-24T14:57:37.801" v="81" actId="1076"/>
          <ac:spMkLst>
            <pc:docMk/>
            <pc:sldMk cId="4083090712" sldId="315"/>
            <ac:spMk id="3" creationId="{6139133C-B77B-441D-8B02-E6ADD9D88572}"/>
          </ac:spMkLst>
        </pc:spChg>
        <pc:picChg chg="mod modCrop">
          <ac:chgData name="博凡 鄭" userId="f49e1cb6-2f4b-4518-ac6e-904f70b0723a" providerId="ADAL" clId="{6717F950-D99D-4491-93CD-3EF94C863C01}" dt="2019-11-24T14:57:39.280" v="82" actId="1076"/>
          <ac:picMkLst>
            <pc:docMk/>
            <pc:sldMk cId="4083090712" sldId="315"/>
            <ac:picMk id="2" creationId="{74B2971C-1F23-48F8-8068-236F910BCF45}"/>
          </ac:picMkLst>
        </pc:picChg>
      </pc:sldChg>
      <pc:sldChg chg="addSp modSp add">
        <pc:chgData name="博凡 鄭" userId="f49e1cb6-2f4b-4518-ac6e-904f70b0723a" providerId="ADAL" clId="{6717F950-D99D-4491-93CD-3EF94C863C01}" dt="2019-11-24T14:57:12.162" v="72" actId="1076"/>
        <pc:sldMkLst>
          <pc:docMk/>
          <pc:sldMk cId="3640159162" sldId="317"/>
        </pc:sldMkLst>
        <pc:spChg chg="add mod">
          <ac:chgData name="博凡 鄭" userId="f49e1cb6-2f4b-4518-ac6e-904f70b0723a" providerId="ADAL" clId="{6717F950-D99D-4491-93CD-3EF94C863C01}" dt="2019-11-24T14:57:12.162" v="72" actId="1076"/>
          <ac:spMkLst>
            <pc:docMk/>
            <pc:sldMk cId="3640159162" sldId="317"/>
            <ac:spMk id="3" creationId="{48E4A07B-3A34-4AB3-80D8-BBEB08630A9C}"/>
          </ac:spMkLst>
        </pc:spChg>
        <pc:picChg chg="add mod">
          <ac:chgData name="博凡 鄭" userId="f49e1cb6-2f4b-4518-ac6e-904f70b0723a" providerId="ADAL" clId="{6717F950-D99D-4491-93CD-3EF94C863C01}" dt="2019-11-24T14:49:51.247" v="7" actId="1076"/>
          <ac:picMkLst>
            <pc:docMk/>
            <pc:sldMk cId="3640159162" sldId="317"/>
            <ac:picMk id="2" creationId="{01C5A976-A079-42D8-912B-72DC5DAE7355}"/>
          </ac:picMkLst>
        </pc:picChg>
      </pc:sldChg>
      <pc:sldChg chg="addSp modSp add ord">
        <pc:chgData name="博凡 鄭" userId="f49e1cb6-2f4b-4518-ac6e-904f70b0723a" providerId="ADAL" clId="{6717F950-D99D-4491-93CD-3EF94C863C01}" dt="2019-11-24T15:06:27.945" v="259"/>
        <pc:sldMkLst>
          <pc:docMk/>
          <pc:sldMk cId="1296949317" sldId="318"/>
        </pc:sldMkLst>
        <pc:spChg chg="add mod">
          <ac:chgData name="博凡 鄭" userId="f49e1cb6-2f4b-4518-ac6e-904f70b0723a" providerId="ADAL" clId="{6717F950-D99D-4491-93CD-3EF94C863C01}" dt="2019-11-24T15:00:32.793" v="92" actId="207"/>
          <ac:spMkLst>
            <pc:docMk/>
            <pc:sldMk cId="1296949317" sldId="318"/>
            <ac:spMk id="6" creationId="{FE587DBE-7C43-4FC2-A6CB-69ECC6E3CA3B}"/>
          </ac:spMkLst>
        </pc:spChg>
        <pc:spChg chg="mod">
          <ac:chgData name="博凡 鄭" userId="f49e1cb6-2f4b-4518-ac6e-904f70b0723a" providerId="ADAL" clId="{6717F950-D99D-4491-93CD-3EF94C863C01}" dt="2019-11-24T15:06:27.945" v="259"/>
          <ac:spMkLst>
            <pc:docMk/>
            <pc:sldMk cId="1296949317" sldId="318"/>
            <ac:spMk id="277" creationId="{48605F5E-1646-4A27-82C9-2E3ACD4F8104}"/>
          </ac:spMkLst>
        </pc:spChg>
        <pc:picChg chg="add mod">
          <ac:chgData name="博凡 鄭" userId="f49e1cb6-2f4b-4518-ac6e-904f70b0723a" providerId="ADAL" clId="{6717F950-D99D-4491-93CD-3EF94C863C01}" dt="2019-11-24T15:00:09.316" v="88" actId="1076"/>
          <ac:picMkLst>
            <pc:docMk/>
            <pc:sldMk cId="1296949317" sldId="318"/>
            <ac:picMk id="279" creationId="{032E1040-7923-4B5E-A432-F37940FBDD72}"/>
          </ac:picMkLst>
        </pc:picChg>
      </pc:sldChg>
      <pc:sldChg chg="modSp add modAnim">
        <pc:chgData name="博凡 鄭" userId="f49e1cb6-2f4b-4518-ac6e-904f70b0723a" providerId="ADAL" clId="{6717F950-D99D-4491-93CD-3EF94C863C01}" dt="2019-11-24T15:04:36.060" v="228"/>
        <pc:sldMkLst>
          <pc:docMk/>
          <pc:sldMk cId="547107351" sldId="319"/>
        </pc:sldMkLst>
        <pc:spChg chg="mod">
          <ac:chgData name="博凡 鄭" userId="f49e1cb6-2f4b-4518-ac6e-904f70b0723a" providerId="ADAL" clId="{6717F950-D99D-4491-93CD-3EF94C863C01}" dt="2019-11-24T15:04:27.596" v="212" actId="20577"/>
          <ac:spMkLst>
            <pc:docMk/>
            <pc:sldMk cId="547107351" sldId="319"/>
            <ac:spMk id="5" creationId="{7D234C83-5217-40A3-A37B-EBA760D2DB60}"/>
          </ac:spMkLst>
        </pc:spChg>
        <pc:spChg chg="mod">
          <ac:chgData name="博凡 鄭" userId="f49e1cb6-2f4b-4518-ac6e-904f70b0723a" providerId="ADAL" clId="{6717F950-D99D-4491-93CD-3EF94C863C01}" dt="2019-11-24T15:04:36.060" v="228"/>
          <ac:spMkLst>
            <pc:docMk/>
            <pc:sldMk cId="547107351" sldId="319"/>
            <ac:spMk id="7" creationId="{07AEED53-7A48-4F32-8FB9-E9DCA8450A47}"/>
          </ac:spMkLst>
        </pc:spChg>
      </pc:sldChg>
      <pc:sldChg chg="add del">
        <pc:chgData name="博凡 鄭" userId="f49e1cb6-2f4b-4518-ac6e-904f70b0723a" providerId="ADAL" clId="{6717F950-D99D-4491-93CD-3EF94C863C01}" dt="2019-11-24T18:09:27.997" v="470" actId="2696"/>
        <pc:sldMkLst>
          <pc:docMk/>
          <pc:sldMk cId="3905061401" sldId="320"/>
        </pc:sldMkLst>
      </pc:sldChg>
      <pc:sldMasterChg chg="del delSldLayout">
        <pc:chgData name="博凡 鄭" userId="f49e1cb6-2f4b-4518-ac6e-904f70b0723a" providerId="ADAL" clId="{6717F950-D99D-4491-93CD-3EF94C863C01}" dt="2019-11-24T18:09:28.005" v="473" actId="2696"/>
        <pc:sldMasterMkLst>
          <pc:docMk/>
          <pc:sldMasterMk cId="2881481169" sldId="2147483692"/>
        </pc:sldMasterMkLst>
        <pc:sldLayoutChg chg="del">
          <pc:chgData name="博凡 鄭" userId="f49e1cb6-2f4b-4518-ac6e-904f70b0723a" providerId="ADAL" clId="{6717F950-D99D-4491-93CD-3EF94C863C01}" dt="2019-11-24T18:09:28" v="471" actId="2696"/>
          <pc:sldLayoutMkLst>
            <pc:docMk/>
            <pc:sldMasterMk cId="2881481169" sldId="2147483692"/>
            <pc:sldLayoutMk cId="3279670323" sldId="2147483693"/>
          </pc:sldLayoutMkLst>
        </pc:sldLayoutChg>
        <pc:sldLayoutChg chg="del">
          <pc:chgData name="博凡 鄭" userId="f49e1cb6-2f4b-4518-ac6e-904f70b0723a" providerId="ADAL" clId="{6717F950-D99D-4491-93CD-3EF94C863C01}" dt="2019-11-24T18:09:28.002" v="472" actId="2696"/>
          <pc:sldLayoutMkLst>
            <pc:docMk/>
            <pc:sldMasterMk cId="2881481169" sldId="2147483692"/>
            <pc:sldLayoutMk cId="2906736894" sldId="2147483694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30BBAE-456E-47F2-B323-16EF7B748732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8FB883-6A5E-45BE-A647-311FCB51BAE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872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FB883-6A5E-45BE-A647-311FCB51BAE5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68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FB883-6A5E-45BE-A647-311FCB51BAE5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6134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54B948-B169-4CA0-AEA7-D16267330B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4518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FB883-6A5E-45BE-A647-311FCB51BAE5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92372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FB883-6A5E-45BE-A647-311FCB51BAE5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68161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26A9910-30FB-4089-AFD2-FC78D3E0BC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0576250-9869-4BA1-8952-18D6A6E287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F8BE6EA-6B69-4031-BDEC-CCE14DA005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09D2F52-1E19-4FA0-AA9D-6798FA8F2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54CB9B2-C5D7-460D-BD1E-D704D3AFD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29667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B4BD067-F42E-4EFD-9C43-6EA1C90A0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B07D1100-8ED3-47CA-B818-1F486D4E6D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627594F-368F-4051-81A4-470CF46EC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13B045E-F330-485F-80C8-796683F11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58AACE2-404C-4822-938F-F269DB675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44722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57A8F399-62BE-4ACA-BD85-EDFFCB4B8A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949FE6BB-8737-46C4-B4C8-56A9A71D89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59B840E-C069-4D10-B9A3-2A601C9C1D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B9D74F1-D4A3-47BF-B557-A9489CB91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D08D08D-98D4-4D96-9571-226B8BB96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58149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3">
            <a:extLst>
              <a:ext uri="{FF2B5EF4-FFF2-40B4-BE49-F238E27FC236}">
                <a16:creationId xmlns:a16="http://schemas.microsoft.com/office/drawing/2014/main" id="{AA97D422-E4F5-466D-861E-4957C4385B4E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4763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298" name="Rectangle 5">
            <a:extLst>
              <a:ext uri="{FF2B5EF4-FFF2-40B4-BE49-F238E27FC236}">
                <a16:creationId xmlns:a16="http://schemas.microsoft.com/office/drawing/2014/main" id="{23C195A9-B836-4D34-A374-580BF05E4CC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4763"/>
            <a:ext cx="12192000" cy="6848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299" name="Rectangle 6">
            <a:extLst>
              <a:ext uri="{FF2B5EF4-FFF2-40B4-BE49-F238E27FC236}">
                <a16:creationId xmlns:a16="http://schemas.microsoft.com/office/drawing/2014/main" id="{E802A076-D4CB-46B5-99B3-5CF439020B2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4763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300" name="Freeform 7">
            <a:extLst>
              <a:ext uri="{FF2B5EF4-FFF2-40B4-BE49-F238E27FC236}">
                <a16:creationId xmlns:a16="http://schemas.microsoft.com/office/drawing/2014/main" id="{5EF5E2C7-BED8-409F-8961-7494AA1825DF}"/>
              </a:ext>
            </a:extLst>
          </p:cNvPr>
          <p:cNvSpPr>
            <a:spLocks/>
          </p:cNvSpPr>
          <p:nvPr userDrawn="1"/>
        </p:nvSpPr>
        <p:spPr bwMode="auto">
          <a:xfrm>
            <a:off x="0" y="4763"/>
            <a:ext cx="12192000" cy="6848475"/>
          </a:xfrm>
          <a:custGeom>
            <a:avLst/>
            <a:gdLst>
              <a:gd name="T0" fmla="*/ 0 w 7680"/>
              <a:gd name="T1" fmla="*/ 4314 h 4314"/>
              <a:gd name="T2" fmla="*/ 1441 w 7680"/>
              <a:gd name="T3" fmla="*/ 4314 h 4314"/>
              <a:gd name="T4" fmla="*/ 7680 w 7680"/>
              <a:gd name="T5" fmla="*/ 2973 h 4314"/>
              <a:gd name="T6" fmla="*/ 7680 w 7680"/>
              <a:gd name="T7" fmla="*/ 0 h 4314"/>
              <a:gd name="T8" fmla="*/ 4208 w 7680"/>
              <a:gd name="T9" fmla="*/ 0 h 4314"/>
              <a:gd name="T10" fmla="*/ 0 w 7680"/>
              <a:gd name="T11" fmla="*/ 905 h 4314"/>
              <a:gd name="T12" fmla="*/ 0 w 7680"/>
              <a:gd name="T13" fmla="*/ 4314 h 4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80" h="4314">
                <a:moveTo>
                  <a:pt x="0" y="4314"/>
                </a:moveTo>
                <a:lnTo>
                  <a:pt x="1441" y="4314"/>
                </a:lnTo>
                <a:lnTo>
                  <a:pt x="7680" y="2973"/>
                </a:lnTo>
                <a:lnTo>
                  <a:pt x="7680" y="0"/>
                </a:lnTo>
                <a:lnTo>
                  <a:pt x="4208" y="0"/>
                </a:lnTo>
                <a:lnTo>
                  <a:pt x="0" y="905"/>
                </a:lnTo>
                <a:lnTo>
                  <a:pt x="0" y="4314"/>
                </a:lnTo>
                <a:close/>
              </a:path>
            </a:pathLst>
          </a:custGeom>
          <a:gradFill>
            <a:gsLst>
              <a:gs pos="97664">
                <a:schemeClr val="accent3"/>
              </a:gs>
              <a:gs pos="49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301" name="Freeform 8">
            <a:extLst>
              <a:ext uri="{FF2B5EF4-FFF2-40B4-BE49-F238E27FC236}">
                <a16:creationId xmlns:a16="http://schemas.microsoft.com/office/drawing/2014/main" id="{DBA7DCB5-1482-4DB3-B4E9-465704600D44}"/>
              </a:ext>
            </a:extLst>
          </p:cNvPr>
          <p:cNvSpPr>
            <a:spLocks/>
          </p:cNvSpPr>
          <p:nvPr userDrawn="1"/>
        </p:nvSpPr>
        <p:spPr bwMode="auto">
          <a:xfrm>
            <a:off x="0" y="4763"/>
            <a:ext cx="12192000" cy="6848475"/>
          </a:xfrm>
          <a:custGeom>
            <a:avLst/>
            <a:gdLst>
              <a:gd name="T0" fmla="*/ 0 w 7680"/>
              <a:gd name="T1" fmla="*/ 4314 h 4314"/>
              <a:gd name="T2" fmla="*/ 1441 w 7680"/>
              <a:gd name="T3" fmla="*/ 4314 h 4314"/>
              <a:gd name="T4" fmla="*/ 7680 w 7680"/>
              <a:gd name="T5" fmla="*/ 2973 h 4314"/>
              <a:gd name="T6" fmla="*/ 7680 w 7680"/>
              <a:gd name="T7" fmla="*/ 0 h 4314"/>
              <a:gd name="T8" fmla="*/ 4208 w 7680"/>
              <a:gd name="T9" fmla="*/ 0 h 4314"/>
              <a:gd name="T10" fmla="*/ 0 w 7680"/>
              <a:gd name="T11" fmla="*/ 905 h 4314"/>
              <a:gd name="T12" fmla="*/ 0 w 7680"/>
              <a:gd name="T13" fmla="*/ 4314 h 4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80" h="4314">
                <a:moveTo>
                  <a:pt x="0" y="4314"/>
                </a:moveTo>
                <a:lnTo>
                  <a:pt x="1441" y="4314"/>
                </a:lnTo>
                <a:lnTo>
                  <a:pt x="7680" y="2973"/>
                </a:lnTo>
                <a:lnTo>
                  <a:pt x="7680" y="0"/>
                </a:lnTo>
                <a:lnTo>
                  <a:pt x="4208" y="0"/>
                </a:lnTo>
                <a:lnTo>
                  <a:pt x="0" y="905"/>
                </a:lnTo>
                <a:lnTo>
                  <a:pt x="0" y="431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302" name="Freeform 9">
            <a:extLst>
              <a:ext uri="{FF2B5EF4-FFF2-40B4-BE49-F238E27FC236}">
                <a16:creationId xmlns:a16="http://schemas.microsoft.com/office/drawing/2014/main" id="{9F8466DA-3901-4FCD-BA97-1C02EB3DAB5E}"/>
              </a:ext>
            </a:extLst>
          </p:cNvPr>
          <p:cNvSpPr>
            <a:spLocks/>
          </p:cNvSpPr>
          <p:nvPr userDrawn="1"/>
        </p:nvSpPr>
        <p:spPr bwMode="auto">
          <a:xfrm>
            <a:off x="8983663" y="1577976"/>
            <a:ext cx="3208338" cy="2640013"/>
          </a:xfrm>
          <a:custGeom>
            <a:avLst/>
            <a:gdLst>
              <a:gd name="T0" fmla="*/ 2021 w 2021"/>
              <a:gd name="T1" fmla="*/ 0 h 1663"/>
              <a:gd name="T2" fmla="*/ 0 w 2021"/>
              <a:gd name="T3" fmla="*/ 456 h 1663"/>
              <a:gd name="T4" fmla="*/ 0 w 2021"/>
              <a:gd name="T5" fmla="*/ 1663 h 1663"/>
              <a:gd name="T6" fmla="*/ 2021 w 2021"/>
              <a:gd name="T7" fmla="*/ 1207 h 1663"/>
              <a:gd name="T8" fmla="*/ 2021 w 2021"/>
              <a:gd name="T9" fmla="*/ 0 h 1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21" h="1663">
                <a:moveTo>
                  <a:pt x="2021" y="0"/>
                </a:moveTo>
                <a:lnTo>
                  <a:pt x="0" y="456"/>
                </a:lnTo>
                <a:lnTo>
                  <a:pt x="0" y="1663"/>
                </a:lnTo>
                <a:lnTo>
                  <a:pt x="2021" y="1207"/>
                </a:lnTo>
                <a:lnTo>
                  <a:pt x="2021" y="0"/>
                </a:lnTo>
                <a:close/>
              </a:path>
            </a:pathLst>
          </a:custGeom>
          <a:gradFill>
            <a:gsLst>
              <a:gs pos="0">
                <a:schemeClr val="accent4">
                  <a:lumMod val="60000"/>
                  <a:lumOff val="40000"/>
                  <a:alpha val="60000"/>
                </a:schemeClr>
              </a:gs>
              <a:gs pos="9800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303" name="Freeform 10">
            <a:extLst>
              <a:ext uri="{FF2B5EF4-FFF2-40B4-BE49-F238E27FC236}">
                <a16:creationId xmlns:a16="http://schemas.microsoft.com/office/drawing/2014/main" id="{B225AC44-A61C-4CAE-92E7-E7E5C42694A4}"/>
              </a:ext>
            </a:extLst>
          </p:cNvPr>
          <p:cNvSpPr>
            <a:spLocks/>
          </p:cNvSpPr>
          <p:nvPr userDrawn="1"/>
        </p:nvSpPr>
        <p:spPr bwMode="auto">
          <a:xfrm>
            <a:off x="8983663" y="1577976"/>
            <a:ext cx="3208338" cy="2640013"/>
          </a:xfrm>
          <a:custGeom>
            <a:avLst/>
            <a:gdLst>
              <a:gd name="T0" fmla="*/ 2021 w 2021"/>
              <a:gd name="T1" fmla="*/ 0 h 1663"/>
              <a:gd name="T2" fmla="*/ 0 w 2021"/>
              <a:gd name="T3" fmla="*/ 456 h 1663"/>
              <a:gd name="T4" fmla="*/ 0 w 2021"/>
              <a:gd name="T5" fmla="*/ 1663 h 1663"/>
              <a:gd name="T6" fmla="*/ 2021 w 2021"/>
              <a:gd name="T7" fmla="*/ 1207 h 1663"/>
              <a:gd name="T8" fmla="*/ 2021 w 2021"/>
              <a:gd name="T9" fmla="*/ 0 h 1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21" h="1663">
                <a:moveTo>
                  <a:pt x="2021" y="0"/>
                </a:moveTo>
                <a:lnTo>
                  <a:pt x="0" y="456"/>
                </a:lnTo>
                <a:lnTo>
                  <a:pt x="0" y="1663"/>
                </a:lnTo>
                <a:lnTo>
                  <a:pt x="2021" y="1207"/>
                </a:lnTo>
                <a:lnTo>
                  <a:pt x="202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096" name="Freeform 12">
            <a:extLst>
              <a:ext uri="{FF2B5EF4-FFF2-40B4-BE49-F238E27FC236}">
                <a16:creationId xmlns:a16="http://schemas.microsoft.com/office/drawing/2014/main" id="{7E78A737-4B4A-4D85-9829-2729F9EF758C}"/>
              </a:ext>
            </a:extLst>
          </p:cNvPr>
          <p:cNvSpPr>
            <a:spLocks/>
          </p:cNvSpPr>
          <p:nvPr userDrawn="1"/>
        </p:nvSpPr>
        <p:spPr bwMode="auto">
          <a:xfrm>
            <a:off x="7505700" y="2620963"/>
            <a:ext cx="4686300" cy="2921000"/>
          </a:xfrm>
          <a:custGeom>
            <a:avLst/>
            <a:gdLst>
              <a:gd name="T0" fmla="*/ 2952 w 2952"/>
              <a:gd name="T1" fmla="*/ 0 h 1840"/>
              <a:gd name="T2" fmla="*/ 0 w 2952"/>
              <a:gd name="T3" fmla="*/ 633 h 1840"/>
              <a:gd name="T4" fmla="*/ 0 w 2952"/>
              <a:gd name="T5" fmla="*/ 1840 h 1840"/>
              <a:gd name="T6" fmla="*/ 2952 w 2952"/>
              <a:gd name="T7" fmla="*/ 1207 h 1840"/>
              <a:gd name="T8" fmla="*/ 2952 w 2952"/>
              <a:gd name="T9" fmla="*/ 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2" h="1840">
                <a:moveTo>
                  <a:pt x="2952" y="0"/>
                </a:moveTo>
                <a:lnTo>
                  <a:pt x="0" y="633"/>
                </a:lnTo>
                <a:lnTo>
                  <a:pt x="0" y="1840"/>
                </a:lnTo>
                <a:lnTo>
                  <a:pt x="2952" y="1207"/>
                </a:lnTo>
                <a:lnTo>
                  <a:pt x="2952" y="0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097" name="Freeform 13">
            <a:extLst>
              <a:ext uri="{FF2B5EF4-FFF2-40B4-BE49-F238E27FC236}">
                <a16:creationId xmlns:a16="http://schemas.microsoft.com/office/drawing/2014/main" id="{6CCE2497-C361-4311-A27C-C62B06ABF554}"/>
              </a:ext>
            </a:extLst>
          </p:cNvPr>
          <p:cNvSpPr>
            <a:spLocks/>
          </p:cNvSpPr>
          <p:nvPr userDrawn="1"/>
        </p:nvSpPr>
        <p:spPr bwMode="auto">
          <a:xfrm>
            <a:off x="7505700" y="2620963"/>
            <a:ext cx="4686300" cy="2921000"/>
          </a:xfrm>
          <a:custGeom>
            <a:avLst/>
            <a:gdLst>
              <a:gd name="T0" fmla="*/ 2952 w 2952"/>
              <a:gd name="T1" fmla="*/ 0 h 1840"/>
              <a:gd name="T2" fmla="*/ 0 w 2952"/>
              <a:gd name="T3" fmla="*/ 633 h 1840"/>
              <a:gd name="T4" fmla="*/ 0 w 2952"/>
              <a:gd name="T5" fmla="*/ 1840 h 1840"/>
              <a:gd name="T6" fmla="*/ 2952 w 2952"/>
              <a:gd name="T7" fmla="*/ 1207 h 1840"/>
              <a:gd name="T8" fmla="*/ 2952 w 2952"/>
              <a:gd name="T9" fmla="*/ 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2" h="1840">
                <a:moveTo>
                  <a:pt x="2952" y="0"/>
                </a:moveTo>
                <a:lnTo>
                  <a:pt x="0" y="633"/>
                </a:lnTo>
                <a:lnTo>
                  <a:pt x="0" y="1840"/>
                </a:lnTo>
                <a:lnTo>
                  <a:pt x="2952" y="1207"/>
                </a:lnTo>
                <a:lnTo>
                  <a:pt x="295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099" name="Freeform 15">
            <a:extLst>
              <a:ext uri="{FF2B5EF4-FFF2-40B4-BE49-F238E27FC236}">
                <a16:creationId xmlns:a16="http://schemas.microsoft.com/office/drawing/2014/main" id="{074170EC-7ACE-422A-AB5C-2994D9ADB475}"/>
              </a:ext>
            </a:extLst>
          </p:cNvPr>
          <p:cNvSpPr>
            <a:spLocks/>
          </p:cNvSpPr>
          <p:nvPr userDrawn="1"/>
        </p:nvSpPr>
        <p:spPr bwMode="auto">
          <a:xfrm>
            <a:off x="790575" y="4343401"/>
            <a:ext cx="11401425" cy="2509838"/>
          </a:xfrm>
          <a:custGeom>
            <a:avLst/>
            <a:gdLst>
              <a:gd name="T0" fmla="*/ 7182 w 7182"/>
              <a:gd name="T1" fmla="*/ 1581 h 1581"/>
              <a:gd name="T2" fmla="*/ 0 w 7182"/>
              <a:gd name="T3" fmla="*/ 1581 h 1581"/>
              <a:gd name="T4" fmla="*/ 7182 w 7182"/>
              <a:gd name="T5" fmla="*/ 0 h 1581"/>
              <a:gd name="T6" fmla="*/ 7182 w 7182"/>
              <a:gd name="T7" fmla="*/ 1581 h 1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182" h="1581">
                <a:moveTo>
                  <a:pt x="7182" y="1581"/>
                </a:moveTo>
                <a:lnTo>
                  <a:pt x="0" y="1581"/>
                </a:lnTo>
                <a:lnTo>
                  <a:pt x="7182" y="0"/>
                </a:lnTo>
                <a:lnTo>
                  <a:pt x="7182" y="158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470" name="Freeform 435">
            <a:extLst>
              <a:ext uri="{FF2B5EF4-FFF2-40B4-BE49-F238E27FC236}">
                <a16:creationId xmlns:a16="http://schemas.microsoft.com/office/drawing/2014/main" id="{0E55AA7D-668F-492D-B4D1-8445536C0DE9}"/>
              </a:ext>
            </a:extLst>
          </p:cNvPr>
          <p:cNvSpPr>
            <a:spLocks/>
          </p:cNvSpPr>
          <p:nvPr userDrawn="1"/>
        </p:nvSpPr>
        <p:spPr bwMode="auto">
          <a:xfrm>
            <a:off x="-13675" y="4708584"/>
            <a:ext cx="4410075" cy="2146299"/>
          </a:xfrm>
          <a:custGeom>
            <a:avLst/>
            <a:gdLst>
              <a:gd name="T0" fmla="*/ 0 w 2778"/>
              <a:gd name="T1" fmla="*/ 1352 h 1352"/>
              <a:gd name="T2" fmla="*/ 1354 w 2778"/>
              <a:gd name="T3" fmla="*/ 1352 h 1352"/>
              <a:gd name="T4" fmla="*/ 2778 w 2778"/>
              <a:gd name="T5" fmla="*/ 1045 h 1352"/>
              <a:gd name="T6" fmla="*/ 2778 w 2778"/>
              <a:gd name="T7" fmla="*/ 0 h 1352"/>
              <a:gd name="T8" fmla="*/ 0 w 2778"/>
              <a:gd name="T9" fmla="*/ 597 h 1352"/>
              <a:gd name="T10" fmla="*/ 0 w 2778"/>
              <a:gd name="T11" fmla="*/ 1352 h 1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78" h="1352">
                <a:moveTo>
                  <a:pt x="0" y="1352"/>
                </a:moveTo>
                <a:lnTo>
                  <a:pt x="1354" y="1352"/>
                </a:lnTo>
                <a:lnTo>
                  <a:pt x="2778" y="1045"/>
                </a:lnTo>
                <a:lnTo>
                  <a:pt x="2778" y="0"/>
                </a:lnTo>
                <a:lnTo>
                  <a:pt x="0" y="597"/>
                </a:lnTo>
                <a:lnTo>
                  <a:pt x="0" y="1352"/>
                </a:lnTo>
                <a:close/>
              </a:path>
            </a:pathLst>
          </a:custGeom>
          <a:gradFill>
            <a:gsLst>
              <a:gs pos="97664">
                <a:schemeClr val="accent2">
                  <a:alpha val="30000"/>
                </a:schemeClr>
              </a:gs>
              <a:gs pos="0">
                <a:schemeClr val="accent2">
                  <a:lumMod val="75000"/>
                  <a:alpha val="50000"/>
                </a:schemeClr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098" name="Freeform 14">
            <a:extLst>
              <a:ext uri="{FF2B5EF4-FFF2-40B4-BE49-F238E27FC236}">
                <a16:creationId xmlns:a16="http://schemas.microsoft.com/office/drawing/2014/main" id="{90CE7D5B-9307-4F54-886D-E7998F44A937}"/>
              </a:ext>
            </a:extLst>
          </p:cNvPr>
          <p:cNvSpPr>
            <a:spLocks/>
          </p:cNvSpPr>
          <p:nvPr userDrawn="1"/>
        </p:nvSpPr>
        <p:spPr bwMode="auto">
          <a:xfrm>
            <a:off x="790575" y="4343401"/>
            <a:ext cx="11401425" cy="2509838"/>
          </a:xfrm>
          <a:custGeom>
            <a:avLst/>
            <a:gdLst>
              <a:gd name="T0" fmla="*/ 7182 w 7182"/>
              <a:gd name="T1" fmla="*/ 1581 h 1581"/>
              <a:gd name="T2" fmla="*/ 0 w 7182"/>
              <a:gd name="T3" fmla="*/ 1581 h 1581"/>
              <a:gd name="T4" fmla="*/ 7182 w 7182"/>
              <a:gd name="T5" fmla="*/ 0 h 1581"/>
              <a:gd name="T6" fmla="*/ 7182 w 7182"/>
              <a:gd name="T7" fmla="*/ 1581 h 1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182" h="1581">
                <a:moveTo>
                  <a:pt x="7182" y="1581"/>
                </a:moveTo>
                <a:lnTo>
                  <a:pt x="0" y="1581"/>
                </a:lnTo>
                <a:lnTo>
                  <a:pt x="7182" y="0"/>
                </a:lnTo>
                <a:lnTo>
                  <a:pt x="7182" y="1581"/>
                </a:lnTo>
                <a:close/>
              </a:path>
            </a:pathLst>
          </a:custGeom>
          <a:solidFill>
            <a:srgbClr val="FDFD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10472" name="组合 10471">
            <a:extLst>
              <a:ext uri="{FF2B5EF4-FFF2-40B4-BE49-F238E27FC236}">
                <a16:creationId xmlns:a16="http://schemas.microsoft.com/office/drawing/2014/main" id="{9C47177B-C5C3-4850-BBF9-21A058C2250D}"/>
              </a:ext>
            </a:extLst>
          </p:cNvPr>
          <p:cNvGrpSpPr/>
          <p:nvPr userDrawn="1"/>
        </p:nvGrpSpPr>
        <p:grpSpPr>
          <a:xfrm>
            <a:off x="5764735" y="871533"/>
            <a:ext cx="5572125" cy="5692776"/>
            <a:chOff x="5892801" y="882076"/>
            <a:chExt cx="5572125" cy="5692776"/>
          </a:xfrm>
        </p:grpSpPr>
        <p:sp>
          <p:nvSpPr>
            <p:cNvPr id="4101" name="Freeform 17">
              <a:extLst>
                <a:ext uri="{FF2B5EF4-FFF2-40B4-BE49-F238E27FC236}">
                  <a16:creationId xmlns:a16="http://schemas.microsoft.com/office/drawing/2014/main" id="{67BA9C5F-4CFF-4BBF-94FC-6D0959FB7B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6938" y="4588889"/>
              <a:ext cx="1422400" cy="877888"/>
            </a:xfrm>
            <a:custGeom>
              <a:avLst/>
              <a:gdLst>
                <a:gd name="T0" fmla="*/ 252 w 896"/>
                <a:gd name="T1" fmla="*/ 0 h 553"/>
                <a:gd name="T2" fmla="*/ 1 w 896"/>
                <a:gd name="T3" fmla="*/ 146 h 553"/>
                <a:gd name="T4" fmla="*/ 0 w 896"/>
                <a:gd name="T5" fmla="*/ 219 h 553"/>
                <a:gd name="T6" fmla="*/ 581 w 896"/>
                <a:gd name="T7" fmla="*/ 553 h 553"/>
                <a:gd name="T8" fmla="*/ 896 w 896"/>
                <a:gd name="T9" fmla="*/ 484 h 553"/>
                <a:gd name="T10" fmla="*/ 896 w 896"/>
                <a:gd name="T11" fmla="*/ 371 h 553"/>
                <a:gd name="T12" fmla="*/ 252 w 896"/>
                <a:gd name="T13" fmla="*/ 0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6" h="553">
                  <a:moveTo>
                    <a:pt x="252" y="0"/>
                  </a:moveTo>
                  <a:lnTo>
                    <a:pt x="1" y="146"/>
                  </a:lnTo>
                  <a:lnTo>
                    <a:pt x="0" y="219"/>
                  </a:lnTo>
                  <a:lnTo>
                    <a:pt x="581" y="553"/>
                  </a:lnTo>
                  <a:lnTo>
                    <a:pt x="896" y="484"/>
                  </a:lnTo>
                  <a:lnTo>
                    <a:pt x="896" y="371"/>
                  </a:lnTo>
                  <a:lnTo>
                    <a:pt x="25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3" name="Freeform 19">
              <a:extLst>
                <a:ext uri="{FF2B5EF4-FFF2-40B4-BE49-F238E27FC236}">
                  <a16:creationId xmlns:a16="http://schemas.microsoft.com/office/drawing/2014/main" id="{792B9BEA-A3B9-4CAD-9163-6C492AD305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99338" y="5177851"/>
              <a:ext cx="223838" cy="179388"/>
            </a:xfrm>
            <a:custGeom>
              <a:avLst/>
              <a:gdLst>
                <a:gd name="T0" fmla="*/ 0 w 141"/>
                <a:gd name="T1" fmla="*/ 0 h 113"/>
                <a:gd name="T2" fmla="*/ 0 w 141"/>
                <a:gd name="T3" fmla="*/ 113 h 113"/>
                <a:gd name="T4" fmla="*/ 141 w 141"/>
                <a:gd name="T5" fmla="*/ 81 h 113"/>
                <a:gd name="T6" fmla="*/ 0 w 141"/>
                <a:gd name="T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1" h="113">
                  <a:moveTo>
                    <a:pt x="0" y="0"/>
                  </a:moveTo>
                  <a:lnTo>
                    <a:pt x="0" y="113"/>
                  </a:lnTo>
                  <a:lnTo>
                    <a:pt x="141" y="8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5" name="Freeform 21">
              <a:extLst>
                <a:ext uri="{FF2B5EF4-FFF2-40B4-BE49-F238E27FC236}">
                  <a16:creationId xmlns:a16="http://schemas.microsoft.com/office/drawing/2014/main" id="{BC5038E9-7FF4-4276-AFDD-41A9306759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9276" y="5306439"/>
              <a:ext cx="1041400" cy="531813"/>
            </a:xfrm>
            <a:custGeom>
              <a:avLst/>
              <a:gdLst>
                <a:gd name="T0" fmla="*/ 456 w 656"/>
                <a:gd name="T1" fmla="*/ 0 h 335"/>
                <a:gd name="T2" fmla="*/ 315 w 656"/>
                <a:gd name="T3" fmla="*/ 32 h 335"/>
                <a:gd name="T4" fmla="*/ 0 w 656"/>
                <a:gd name="T5" fmla="*/ 101 h 335"/>
                <a:gd name="T6" fmla="*/ 405 w 656"/>
                <a:gd name="T7" fmla="*/ 335 h 335"/>
                <a:gd name="T8" fmla="*/ 656 w 656"/>
                <a:gd name="T9" fmla="*/ 189 h 335"/>
                <a:gd name="T10" fmla="*/ 656 w 656"/>
                <a:gd name="T11" fmla="*/ 116 h 335"/>
                <a:gd name="T12" fmla="*/ 456 w 656"/>
                <a:gd name="T13" fmla="*/ 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6" h="335">
                  <a:moveTo>
                    <a:pt x="456" y="0"/>
                  </a:moveTo>
                  <a:lnTo>
                    <a:pt x="315" y="32"/>
                  </a:lnTo>
                  <a:lnTo>
                    <a:pt x="0" y="101"/>
                  </a:lnTo>
                  <a:lnTo>
                    <a:pt x="405" y="335"/>
                  </a:lnTo>
                  <a:lnTo>
                    <a:pt x="656" y="189"/>
                  </a:lnTo>
                  <a:lnTo>
                    <a:pt x="656" y="116"/>
                  </a:lnTo>
                  <a:lnTo>
                    <a:pt x="4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1" name="Freeform 26">
              <a:extLst>
                <a:ext uri="{FF2B5EF4-FFF2-40B4-BE49-F238E27FC236}">
                  <a16:creationId xmlns:a16="http://schemas.microsoft.com/office/drawing/2014/main" id="{B83B3C3E-EDFB-4B10-B0FB-CF5C7475A4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78763" y="4525389"/>
              <a:ext cx="3556000" cy="2005013"/>
            </a:xfrm>
            <a:custGeom>
              <a:avLst/>
              <a:gdLst>
                <a:gd name="T0" fmla="*/ 765 w 2240"/>
                <a:gd name="T1" fmla="*/ 678 h 1263"/>
                <a:gd name="T2" fmla="*/ 897 w 2240"/>
                <a:gd name="T3" fmla="*/ 601 h 1263"/>
                <a:gd name="T4" fmla="*/ 765 w 2240"/>
                <a:gd name="T5" fmla="*/ 678 h 1263"/>
                <a:gd name="T6" fmla="*/ 1118 w 2240"/>
                <a:gd name="T7" fmla="*/ 473 h 1263"/>
                <a:gd name="T8" fmla="*/ 1671 w 2240"/>
                <a:gd name="T9" fmla="*/ 152 h 1263"/>
                <a:gd name="T10" fmla="*/ 1118 w 2240"/>
                <a:gd name="T11" fmla="*/ 473 h 1263"/>
                <a:gd name="T12" fmla="*/ 1713 w 2240"/>
                <a:gd name="T13" fmla="*/ 80 h 1263"/>
                <a:gd name="T14" fmla="*/ 1673 w 2240"/>
                <a:gd name="T15" fmla="*/ 89 h 1263"/>
                <a:gd name="T16" fmla="*/ 1673 w 2240"/>
                <a:gd name="T17" fmla="*/ 149 h 1263"/>
                <a:gd name="T18" fmla="*/ 1673 w 2240"/>
                <a:gd name="T19" fmla="*/ 89 h 1263"/>
                <a:gd name="T20" fmla="*/ 1660 w 2240"/>
                <a:gd name="T21" fmla="*/ 92 h 1263"/>
                <a:gd name="T22" fmla="*/ 1659 w 2240"/>
                <a:gd name="T23" fmla="*/ 158 h 1263"/>
                <a:gd name="T24" fmla="*/ 1619 w 2240"/>
                <a:gd name="T25" fmla="*/ 181 h 1263"/>
                <a:gd name="T26" fmla="*/ 1619 w 2240"/>
                <a:gd name="T27" fmla="*/ 181 h 1263"/>
                <a:gd name="T28" fmla="*/ 1519 w 2240"/>
                <a:gd name="T29" fmla="*/ 123 h 1263"/>
                <a:gd name="T30" fmla="*/ 0 w 2240"/>
                <a:gd name="T31" fmla="*/ 457 h 1263"/>
                <a:gd name="T32" fmla="*/ 439 w 2240"/>
                <a:gd name="T33" fmla="*/ 711 h 1263"/>
                <a:gd name="T34" fmla="*/ 439 w 2240"/>
                <a:gd name="T35" fmla="*/ 790 h 1263"/>
                <a:gd name="T36" fmla="*/ 550 w 2240"/>
                <a:gd name="T37" fmla="*/ 854 h 1263"/>
                <a:gd name="T38" fmla="*/ 549 w 2240"/>
                <a:gd name="T39" fmla="*/ 1106 h 1263"/>
                <a:gd name="T40" fmla="*/ 820 w 2240"/>
                <a:gd name="T41" fmla="*/ 1263 h 1263"/>
                <a:gd name="T42" fmla="*/ 873 w 2240"/>
                <a:gd name="T43" fmla="*/ 1233 h 1263"/>
                <a:gd name="T44" fmla="*/ 875 w 2240"/>
                <a:gd name="T45" fmla="*/ 921 h 1263"/>
                <a:gd name="T46" fmla="*/ 764 w 2240"/>
                <a:gd name="T47" fmla="*/ 857 h 1263"/>
                <a:gd name="T48" fmla="*/ 765 w 2240"/>
                <a:gd name="T49" fmla="*/ 725 h 1263"/>
                <a:gd name="T50" fmla="*/ 897 w 2240"/>
                <a:gd name="T51" fmla="*/ 648 h 1263"/>
                <a:gd name="T52" fmla="*/ 896 w 2240"/>
                <a:gd name="T53" fmla="*/ 810 h 1263"/>
                <a:gd name="T54" fmla="*/ 1234 w 2240"/>
                <a:gd name="T55" fmla="*/ 1005 h 1263"/>
                <a:gd name="T56" fmla="*/ 1300 w 2240"/>
                <a:gd name="T57" fmla="*/ 967 h 1263"/>
                <a:gd name="T58" fmla="*/ 1301 w 2240"/>
                <a:gd name="T59" fmla="*/ 579 h 1263"/>
                <a:gd name="T60" fmla="*/ 1158 w 2240"/>
                <a:gd name="T61" fmla="*/ 496 h 1263"/>
                <a:gd name="T62" fmla="*/ 1675 w 2240"/>
                <a:gd name="T63" fmla="*/ 197 h 1263"/>
                <a:gd name="T64" fmla="*/ 1675 w 2240"/>
                <a:gd name="T65" fmla="*/ 153 h 1263"/>
                <a:gd name="T66" fmla="*/ 1713 w 2240"/>
                <a:gd name="T67" fmla="*/ 130 h 1263"/>
                <a:gd name="T68" fmla="*/ 1713 w 2240"/>
                <a:gd name="T69" fmla="*/ 80 h 1263"/>
                <a:gd name="T70" fmla="*/ 2079 w 2240"/>
                <a:gd name="T71" fmla="*/ 0 h 1263"/>
                <a:gd name="T72" fmla="*/ 2020 w 2240"/>
                <a:gd name="T73" fmla="*/ 13 h 1263"/>
                <a:gd name="T74" fmla="*/ 2019 w 2240"/>
                <a:gd name="T75" fmla="*/ 354 h 1263"/>
                <a:gd name="T76" fmla="*/ 2019 w 2240"/>
                <a:gd name="T77" fmla="*/ 354 h 1263"/>
                <a:gd name="T78" fmla="*/ 2020 w 2240"/>
                <a:gd name="T79" fmla="*/ 13 h 1263"/>
                <a:gd name="T80" fmla="*/ 1924 w 2240"/>
                <a:gd name="T81" fmla="*/ 34 h 1263"/>
                <a:gd name="T82" fmla="*/ 1923 w 2240"/>
                <a:gd name="T83" fmla="*/ 331 h 1263"/>
                <a:gd name="T84" fmla="*/ 1755 w 2240"/>
                <a:gd name="T85" fmla="*/ 428 h 1263"/>
                <a:gd name="T86" fmla="*/ 1755 w 2240"/>
                <a:gd name="T87" fmla="*/ 544 h 1263"/>
                <a:gd name="T88" fmla="*/ 2044 w 2240"/>
                <a:gd name="T89" fmla="*/ 710 h 1263"/>
                <a:gd name="T90" fmla="*/ 2240 w 2240"/>
                <a:gd name="T91" fmla="*/ 597 h 1263"/>
                <a:gd name="T92" fmla="*/ 2240 w 2240"/>
                <a:gd name="T93" fmla="*/ 480 h 1263"/>
                <a:gd name="T94" fmla="*/ 2078 w 2240"/>
                <a:gd name="T95" fmla="*/ 387 h 1263"/>
                <a:gd name="T96" fmla="*/ 2079 w 2240"/>
                <a:gd name="T97" fmla="*/ 0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40" h="1263">
                  <a:moveTo>
                    <a:pt x="765" y="678"/>
                  </a:moveTo>
                  <a:lnTo>
                    <a:pt x="897" y="601"/>
                  </a:lnTo>
                  <a:lnTo>
                    <a:pt x="765" y="678"/>
                  </a:lnTo>
                  <a:moveTo>
                    <a:pt x="1118" y="473"/>
                  </a:moveTo>
                  <a:lnTo>
                    <a:pt x="1671" y="152"/>
                  </a:lnTo>
                  <a:lnTo>
                    <a:pt x="1118" y="473"/>
                  </a:lnTo>
                  <a:moveTo>
                    <a:pt x="1713" y="80"/>
                  </a:moveTo>
                  <a:lnTo>
                    <a:pt x="1673" y="89"/>
                  </a:lnTo>
                  <a:lnTo>
                    <a:pt x="1673" y="149"/>
                  </a:lnTo>
                  <a:lnTo>
                    <a:pt x="1673" y="89"/>
                  </a:lnTo>
                  <a:lnTo>
                    <a:pt x="1660" y="92"/>
                  </a:lnTo>
                  <a:lnTo>
                    <a:pt x="1659" y="158"/>
                  </a:lnTo>
                  <a:lnTo>
                    <a:pt x="1619" y="181"/>
                  </a:lnTo>
                  <a:lnTo>
                    <a:pt x="1619" y="181"/>
                  </a:lnTo>
                  <a:lnTo>
                    <a:pt x="1519" y="123"/>
                  </a:lnTo>
                  <a:lnTo>
                    <a:pt x="0" y="457"/>
                  </a:lnTo>
                  <a:lnTo>
                    <a:pt x="439" y="711"/>
                  </a:lnTo>
                  <a:lnTo>
                    <a:pt x="439" y="790"/>
                  </a:lnTo>
                  <a:lnTo>
                    <a:pt x="550" y="854"/>
                  </a:lnTo>
                  <a:lnTo>
                    <a:pt x="549" y="1106"/>
                  </a:lnTo>
                  <a:lnTo>
                    <a:pt x="820" y="1263"/>
                  </a:lnTo>
                  <a:lnTo>
                    <a:pt x="873" y="1233"/>
                  </a:lnTo>
                  <a:lnTo>
                    <a:pt x="875" y="921"/>
                  </a:lnTo>
                  <a:lnTo>
                    <a:pt x="764" y="857"/>
                  </a:lnTo>
                  <a:lnTo>
                    <a:pt x="765" y="725"/>
                  </a:lnTo>
                  <a:lnTo>
                    <a:pt x="897" y="648"/>
                  </a:lnTo>
                  <a:lnTo>
                    <a:pt x="896" y="810"/>
                  </a:lnTo>
                  <a:lnTo>
                    <a:pt x="1234" y="1005"/>
                  </a:lnTo>
                  <a:lnTo>
                    <a:pt x="1300" y="967"/>
                  </a:lnTo>
                  <a:lnTo>
                    <a:pt x="1301" y="579"/>
                  </a:lnTo>
                  <a:lnTo>
                    <a:pt x="1158" y="496"/>
                  </a:lnTo>
                  <a:lnTo>
                    <a:pt x="1675" y="197"/>
                  </a:lnTo>
                  <a:lnTo>
                    <a:pt x="1675" y="153"/>
                  </a:lnTo>
                  <a:lnTo>
                    <a:pt x="1713" y="130"/>
                  </a:lnTo>
                  <a:lnTo>
                    <a:pt x="1713" y="80"/>
                  </a:lnTo>
                  <a:moveTo>
                    <a:pt x="2079" y="0"/>
                  </a:moveTo>
                  <a:lnTo>
                    <a:pt x="2020" y="13"/>
                  </a:lnTo>
                  <a:lnTo>
                    <a:pt x="2019" y="354"/>
                  </a:lnTo>
                  <a:lnTo>
                    <a:pt x="2019" y="354"/>
                  </a:lnTo>
                  <a:lnTo>
                    <a:pt x="2020" y="13"/>
                  </a:lnTo>
                  <a:lnTo>
                    <a:pt x="1924" y="34"/>
                  </a:lnTo>
                  <a:lnTo>
                    <a:pt x="1923" y="331"/>
                  </a:lnTo>
                  <a:lnTo>
                    <a:pt x="1755" y="428"/>
                  </a:lnTo>
                  <a:lnTo>
                    <a:pt x="1755" y="544"/>
                  </a:lnTo>
                  <a:lnTo>
                    <a:pt x="2044" y="710"/>
                  </a:lnTo>
                  <a:lnTo>
                    <a:pt x="2240" y="597"/>
                  </a:lnTo>
                  <a:lnTo>
                    <a:pt x="2240" y="480"/>
                  </a:lnTo>
                  <a:lnTo>
                    <a:pt x="2078" y="387"/>
                  </a:lnTo>
                  <a:lnTo>
                    <a:pt x="207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2" name="Freeform 27">
              <a:extLst>
                <a:ext uri="{FF2B5EF4-FFF2-40B4-BE49-F238E27FC236}">
                  <a16:creationId xmlns:a16="http://schemas.microsoft.com/office/drawing/2014/main" id="{37397D07-2FD5-4BD9-8007-B20BECCAE12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406063" y="2852164"/>
              <a:ext cx="115888" cy="60325"/>
            </a:xfrm>
            <a:custGeom>
              <a:avLst/>
              <a:gdLst>
                <a:gd name="T0" fmla="*/ 67 w 73"/>
                <a:gd name="T1" fmla="*/ 27 h 38"/>
                <a:gd name="T2" fmla="*/ 67 w 73"/>
                <a:gd name="T3" fmla="*/ 27 h 38"/>
                <a:gd name="T4" fmla="*/ 68 w 73"/>
                <a:gd name="T5" fmla="*/ 31 h 38"/>
                <a:gd name="T6" fmla="*/ 68 w 73"/>
                <a:gd name="T7" fmla="*/ 32 h 38"/>
                <a:gd name="T8" fmla="*/ 68 w 73"/>
                <a:gd name="T9" fmla="*/ 32 h 38"/>
                <a:gd name="T10" fmla="*/ 68 w 73"/>
                <a:gd name="T11" fmla="*/ 34 h 38"/>
                <a:gd name="T12" fmla="*/ 69 w 73"/>
                <a:gd name="T13" fmla="*/ 37 h 38"/>
                <a:gd name="T14" fmla="*/ 69 w 73"/>
                <a:gd name="T15" fmla="*/ 38 h 38"/>
                <a:gd name="T16" fmla="*/ 73 w 73"/>
                <a:gd name="T17" fmla="*/ 36 h 38"/>
                <a:gd name="T18" fmla="*/ 67 w 73"/>
                <a:gd name="T19" fmla="*/ 27 h 38"/>
                <a:gd name="T20" fmla="*/ 0 w 73"/>
                <a:gd name="T21" fmla="*/ 0 h 38"/>
                <a:gd name="T22" fmla="*/ 0 w 73"/>
                <a:gd name="T23" fmla="*/ 1 h 38"/>
                <a:gd name="T24" fmla="*/ 0 w 73"/>
                <a:gd name="T25" fmla="*/ 1 h 38"/>
                <a:gd name="T26" fmla="*/ 0 w 73"/>
                <a:gd name="T2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" h="38">
                  <a:moveTo>
                    <a:pt x="67" y="27"/>
                  </a:moveTo>
                  <a:cubicBezTo>
                    <a:pt x="67" y="27"/>
                    <a:pt x="67" y="27"/>
                    <a:pt x="67" y="27"/>
                  </a:cubicBezTo>
                  <a:cubicBezTo>
                    <a:pt x="67" y="28"/>
                    <a:pt x="68" y="30"/>
                    <a:pt x="68" y="31"/>
                  </a:cubicBezTo>
                  <a:cubicBezTo>
                    <a:pt x="68" y="31"/>
                    <a:pt x="68" y="31"/>
                    <a:pt x="68" y="32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8" y="33"/>
                    <a:pt x="68" y="33"/>
                    <a:pt x="68" y="34"/>
                  </a:cubicBezTo>
                  <a:cubicBezTo>
                    <a:pt x="69" y="35"/>
                    <a:pt x="69" y="36"/>
                    <a:pt x="69" y="37"/>
                  </a:cubicBezTo>
                  <a:cubicBezTo>
                    <a:pt x="69" y="37"/>
                    <a:pt x="69" y="37"/>
                    <a:pt x="69" y="38"/>
                  </a:cubicBezTo>
                  <a:cubicBezTo>
                    <a:pt x="71" y="37"/>
                    <a:pt x="72" y="36"/>
                    <a:pt x="73" y="36"/>
                  </a:cubicBezTo>
                  <a:cubicBezTo>
                    <a:pt x="71" y="33"/>
                    <a:pt x="69" y="30"/>
                    <a:pt x="67" y="27"/>
                  </a:cubicBezTo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76C0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3" name="Freeform 28">
              <a:extLst>
                <a:ext uri="{FF2B5EF4-FFF2-40B4-BE49-F238E27FC236}">
                  <a16:creationId xmlns:a16="http://schemas.microsoft.com/office/drawing/2014/main" id="{82B727B7-C79F-4D3C-8BA9-3161DF91A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5601" y="2909314"/>
              <a:ext cx="23813" cy="28575"/>
            </a:xfrm>
            <a:custGeom>
              <a:avLst/>
              <a:gdLst>
                <a:gd name="T0" fmla="*/ 4 w 15"/>
                <a:gd name="T1" fmla="*/ 0 h 18"/>
                <a:gd name="T2" fmla="*/ 4 w 15"/>
                <a:gd name="T3" fmla="*/ 0 h 18"/>
                <a:gd name="T4" fmla="*/ 0 w 15"/>
                <a:gd name="T5" fmla="*/ 2 h 18"/>
                <a:gd name="T6" fmla="*/ 1 w 15"/>
                <a:gd name="T7" fmla="*/ 3 h 18"/>
                <a:gd name="T8" fmla="*/ 1 w 15"/>
                <a:gd name="T9" fmla="*/ 3 h 18"/>
                <a:gd name="T10" fmla="*/ 1 w 15"/>
                <a:gd name="T11" fmla="*/ 4 h 18"/>
                <a:gd name="T12" fmla="*/ 1 w 15"/>
                <a:gd name="T13" fmla="*/ 6 h 18"/>
                <a:gd name="T14" fmla="*/ 1 w 15"/>
                <a:gd name="T15" fmla="*/ 9 h 18"/>
                <a:gd name="T16" fmla="*/ 1 w 15"/>
                <a:gd name="T17" fmla="*/ 10 h 18"/>
                <a:gd name="T18" fmla="*/ 1 w 15"/>
                <a:gd name="T19" fmla="*/ 11 h 18"/>
                <a:gd name="T20" fmla="*/ 2 w 15"/>
                <a:gd name="T21" fmla="*/ 12 h 18"/>
                <a:gd name="T22" fmla="*/ 2 w 15"/>
                <a:gd name="T23" fmla="*/ 15 h 18"/>
                <a:gd name="T24" fmla="*/ 2 w 15"/>
                <a:gd name="T25" fmla="*/ 18 h 18"/>
                <a:gd name="T26" fmla="*/ 2 w 15"/>
                <a:gd name="T27" fmla="*/ 18 h 18"/>
                <a:gd name="T28" fmla="*/ 15 w 15"/>
                <a:gd name="T29" fmla="*/ 15 h 18"/>
                <a:gd name="T30" fmla="*/ 4 w 15"/>
                <a:gd name="T3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7"/>
                    <a:pt x="1" y="8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2" y="12"/>
                    <a:pt x="2" y="12"/>
                  </a:cubicBezTo>
                  <a:cubicBezTo>
                    <a:pt x="2" y="13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2" y="10"/>
                    <a:pt x="8" y="5"/>
                    <a:pt x="4" y="0"/>
                  </a:cubicBezTo>
                </a:path>
              </a:pathLst>
            </a:custGeom>
            <a:solidFill>
              <a:srgbClr val="76C0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4" name="Freeform 29">
              <a:extLst>
                <a:ext uri="{FF2B5EF4-FFF2-40B4-BE49-F238E27FC236}">
                  <a16:creationId xmlns:a16="http://schemas.microsoft.com/office/drawing/2014/main" id="{0D5C1EAC-22B6-4A73-910D-1C922D478A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8776" y="2933126"/>
              <a:ext cx="130175" cy="438150"/>
            </a:xfrm>
            <a:custGeom>
              <a:avLst/>
              <a:gdLst>
                <a:gd name="T0" fmla="*/ 13 w 82"/>
                <a:gd name="T1" fmla="*/ 0 h 276"/>
                <a:gd name="T2" fmla="*/ 0 w 82"/>
                <a:gd name="T3" fmla="*/ 3 h 276"/>
                <a:gd name="T4" fmla="*/ 0 w 82"/>
                <a:gd name="T5" fmla="*/ 51 h 276"/>
                <a:gd name="T6" fmla="*/ 65 w 82"/>
                <a:gd name="T7" fmla="*/ 247 h 276"/>
                <a:gd name="T8" fmla="*/ 67 w 82"/>
                <a:gd name="T9" fmla="*/ 276 h 276"/>
                <a:gd name="T10" fmla="*/ 81 w 82"/>
                <a:gd name="T11" fmla="*/ 203 h 276"/>
                <a:gd name="T12" fmla="*/ 13 w 82"/>
                <a:gd name="T13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76">
                  <a:moveTo>
                    <a:pt x="13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35" y="113"/>
                    <a:pt x="59" y="182"/>
                    <a:pt x="65" y="247"/>
                  </a:cubicBezTo>
                  <a:cubicBezTo>
                    <a:pt x="66" y="257"/>
                    <a:pt x="67" y="266"/>
                    <a:pt x="67" y="276"/>
                  </a:cubicBezTo>
                  <a:cubicBezTo>
                    <a:pt x="76" y="256"/>
                    <a:pt x="81" y="232"/>
                    <a:pt x="81" y="203"/>
                  </a:cubicBezTo>
                  <a:cubicBezTo>
                    <a:pt x="82" y="137"/>
                    <a:pt x="55" y="62"/>
                    <a:pt x="13" y="0"/>
                  </a:cubicBezTo>
                </a:path>
              </a:pathLst>
            </a:custGeom>
            <a:solidFill>
              <a:srgbClr val="00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5" name="Freeform 30">
              <a:extLst>
                <a:ext uri="{FF2B5EF4-FFF2-40B4-BE49-F238E27FC236}">
                  <a16:creationId xmlns:a16="http://schemas.microsoft.com/office/drawing/2014/main" id="{D1E4DE0A-F490-4861-8B7C-9F83B5064E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7188" y="3242689"/>
              <a:ext cx="0" cy="3175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00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6" name="Freeform 31">
              <a:extLst>
                <a:ext uri="{FF2B5EF4-FFF2-40B4-BE49-F238E27FC236}">
                  <a16:creationId xmlns:a16="http://schemas.microsoft.com/office/drawing/2014/main" id="{CF0E45C7-CDB4-453A-BE4B-4EF5D7982B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517188" y="3245864"/>
              <a:ext cx="7938" cy="79375"/>
            </a:xfrm>
            <a:custGeom>
              <a:avLst/>
              <a:gdLst>
                <a:gd name="T0" fmla="*/ 5 w 5"/>
                <a:gd name="T1" fmla="*/ 50 h 50"/>
                <a:gd name="T2" fmla="*/ 5 w 5"/>
                <a:gd name="T3" fmla="*/ 50 h 50"/>
                <a:gd name="T4" fmla="*/ 5 w 5"/>
                <a:gd name="T5" fmla="*/ 49 h 50"/>
                <a:gd name="T6" fmla="*/ 5 w 5"/>
                <a:gd name="T7" fmla="*/ 48 h 50"/>
                <a:gd name="T8" fmla="*/ 5 w 5"/>
                <a:gd name="T9" fmla="*/ 47 h 50"/>
                <a:gd name="T10" fmla="*/ 5 w 5"/>
                <a:gd name="T11" fmla="*/ 47 h 50"/>
                <a:gd name="T12" fmla="*/ 5 w 5"/>
                <a:gd name="T13" fmla="*/ 46 h 50"/>
                <a:gd name="T14" fmla="*/ 5 w 5"/>
                <a:gd name="T15" fmla="*/ 45 h 50"/>
                <a:gd name="T16" fmla="*/ 5 w 5"/>
                <a:gd name="T17" fmla="*/ 44 h 50"/>
                <a:gd name="T18" fmla="*/ 5 w 5"/>
                <a:gd name="T19" fmla="*/ 43 h 50"/>
                <a:gd name="T20" fmla="*/ 5 w 5"/>
                <a:gd name="T21" fmla="*/ 43 h 50"/>
                <a:gd name="T22" fmla="*/ 5 w 5"/>
                <a:gd name="T23" fmla="*/ 43 h 50"/>
                <a:gd name="T24" fmla="*/ 5 w 5"/>
                <a:gd name="T25" fmla="*/ 42 h 50"/>
                <a:gd name="T26" fmla="*/ 5 w 5"/>
                <a:gd name="T27" fmla="*/ 41 h 50"/>
                <a:gd name="T28" fmla="*/ 5 w 5"/>
                <a:gd name="T29" fmla="*/ 40 h 50"/>
                <a:gd name="T30" fmla="*/ 5 w 5"/>
                <a:gd name="T31" fmla="*/ 40 h 50"/>
                <a:gd name="T32" fmla="*/ 5 w 5"/>
                <a:gd name="T33" fmla="*/ 39 h 50"/>
                <a:gd name="T34" fmla="*/ 5 w 5"/>
                <a:gd name="T35" fmla="*/ 39 h 50"/>
                <a:gd name="T36" fmla="*/ 5 w 5"/>
                <a:gd name="T37" fmla="*/ 38 h 50"/>
                <a:gd name="T38" fmla="*/ 5 w 5"/>
                <a:gd name="T39" fmla="*/ 36 h 50"/>
                <a:gd name="T40" fmla="*/ 5 w 5"/>
                <a:gd name="T41" fmla="*/ 36 h 50"/>
                <a:gd name="T42" fmla="*/ 5 w 5"/>
                <a:gd name="T43" fmla="*/ 35 h 50"/>
                <a:gd name="T44" fmla="*/ 5 w 5"/>
                <a:gd name="T45" fmla="*/ 34 h 50"/>
                <a:gd name="T46" fmla="*/ 5 w 5"/>
                <a:gd name="T47" fmla="*/ 33 h 50"/>
                <a:gd name="T48" fmla="*/ 4 w 5"/>
                <a:gd name="T49" fmla="*/ 31 h 50"/>
                <a:gd name="T50" fmla="*/ 4 w 5"/>
                <a:gd name="T51" fmla="*/ 31 h 50"/>
                <a:gd name="T52" fmla="*/ 4 w 5"/>
                <a:gd name="T53" fmla="*/ 29 h 50"/>
                <a:gd name="T54" fmla="*/ 4 w 5"/>
                <a:gd name="T55" fmla="*/ 29 h 50"/>
                <a:gd name="T56" fmla="*/ 4 w 5"/>
                <a:gd name="T57" fmla="*/ 28 h 50"/>
                <a:gd name="T58" fmla="*/ 4 w 5"/>
                <a:gd name="T59" fmla="*/ 26 h 50"/>
                <a:gd name="T60" fmla="*/ 4 w 5"/>
                <a:gd name="T61" fmla="*/ 26 h 50"/>
                <a:gd name="T62" fmla="*/ 4 w 5"/>
                <a:gd name="T63" fmla="*/ 24 h 50"/>
                <a:gd name="T64" fmla="*/ 4 w 5"/>
                <a:gd name="T65" fmla="*/ 23 h 50"/>
                <a:gd name="T66" fmla="*/ 4 w 5"/>
                <a:gd name="T67" fmla="*/ 22 h 50"/>
                <a:gd name="T68" fmla="*/ 4 w 5"/>
                <a:gd name="T69" fmla="*/ 21 h 50"/>
                <a:gd name="T70" fmla="*/ 3 w 5"/>
                <a:gd name="T71" fmla="*/ 19 h 50"/>
                <a:gd name="T72" fmla="*/ 3 w 5"/>
                <a:gd name="T73" fmla="*/ 19 h 50"/>
                <a:gd name="T74" fmla="*/ 3 w 5"/>
                <a:gd name="T75" fmla="*/ 17 h 50"/>
                <a:gd name="T76" fmla="*/ 3 w 5"/>
                <a:gd name="T77" fmla="*/ 15 h 50"/>
                <a:gd name="T78" fmla="*/ 3 w 5"/>
                <a:gd name="T79" fmla="*/ 15 h 50"/>
                <a:gd name="T80" fmla="*/ 2 w 5"/>
                <a:gd name="T81" fmla="*/ 12 h 50"/>
                <a:gd name="T82" fmla="*/ 2 w 5"/>
                <a:gd name="T83" fmla="*/ 10 h 50"/>
                <a:gd name="T84" fmla="*/ 2 w 5"/>
                <a:gd name="T85" fmla="*/ 10 h 50"/>
                <a:gd name="T86" fmla="*/ 2 w 5"/>
                <a:gd name="T87" fmla="*/ 8 h 50"/>
                <a:gd name="T88" fmla="*/ 1 w 5"/>
                <a:gd name="T89" fmla="*/ 5 h 50"/>
                <a:gd name="T90" fmla="*/ 1 w 5"/>
                <a:gd name="T91" fmla="*/ 5 h 50"/>
                <a:gd name="T92" fmla="*/ 1 w 5"/>
                <a:gd name="T93" fmla="*/ 3 h 50"/>
                <a:gd name="T94" fmla="*/ 1 w 5"/>
                <a:gd name="T95" fmla="*/ 1 h 50"/>
                <a:gd name="T96" fmla="*/ 1 w 5"/>
                <a:gd name="T97" fmla="*/ 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" h="50">
                  <a:moveTo>
                    <a:pt x="5" y="50"/>
                  </a:move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moveTo>
                    <a:pt x="5" y="49"/>
                  </a:move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49"/>
                    <a:pt x="5" y="49"/>
                    <a:pt x="5" y="49"/>
                  </a:cubicBezTo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8"/>
                  </a:cubicBezTo>
                  <a:moveTo>
                    <a:pt x="5" y="47"/>
                  </a:moveTo>
                  <a:cubicBezTo>
                    <a:pt x="5" y="47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7"/>
                  </a:cubicBezTo>
                  <a:moveTo>
                    <a:pt x="5" y="47"/>
                  </a:move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moveTo>
                    <a:pt x="5" y="46"/>
                  </a:move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moveTo>
                    <a:pt x="5" y="45"/>
                  </a:move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moveTo>
                    <a:pt x="5" y="44"/>
                  </a:move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4"/>
                    <a:pt x="5" y="44"/>
                    <a:pt x="5" y="44"/>
                  </a:cubicBezTo>
                  <a:moveTo>
                    <a:pt x="5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moveTo>
                    <a:pt x="5" y="42"/>
                  </a:moveTo>
                  <a:cubicBezTo>
                    <a:pt x="5" y="42"/>
                    <a:pt x="5" y="42"/>
                    <a:pt x="5" y="42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2"/>
                  </a:cubicBezTo>
                  <a:moveTo>
                    <a:pt x="5" y="42"/>
                  </a:move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moveTo>
                    <a:pt x="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moveTo>
                    <a:pt x="5" y="40"/>
                  </a:moveTo>
                  <a:cubicBezTo>
                    <a:pt x="5" y="40"/>
                    <a:pt x="5" y="40"/>
                    <a:pt x="5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40"/>
                    <a:pt x="5" y="40"/>
                    <a:pt x="5" y="40"/>
                  </a:cubicBezTo>
                  <a:moveTo>
                    <a:pt x="5" y="39"/>
                  </a:move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moveTo>
                    <a:pt x="5" y="38"/>
                  </a:move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8"/>
                    <a:pt x="5" y="38"/>
                    <a:pt x="5" y="38"/>
                  </a:cubicBezTo>
                  <a:moveTo>
                    <a:pt x="5" y="37"/>
                  </a:moveTo>
                  <a:cubicBezTo>
                    <a:pt x="5" y="37"/>
                    <a:pt x="5" y="38"/>
                    <a:pt x="5" y="38"/>
                  </a:cubicBezTo>
                  <a:cubicBezTo>
                    <a:pt x="5" y="38"/>
                    <a:pt x="5" y="37"/>
                    <a:pt x="5" y="37"/>
                  </a:cubicBezTo>
                  <a:moveTo>
                    <a:pt x="5" y="36"/>
                  </a:move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5" y="37"/>
                    <a:pt x="5" y="36"/>
                  </a:cubicBezTo>
                  <a:moveTo>
                    <a:pt x="5" y="36"/>
                  </a:move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moveTo>
                    <a:pt x="5" y="35"/>
                  </a:move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moveTo>
                    <a:pt x="5" y="34"/>
                  </a:move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moveTo>
                    <a:pt x="5" y="33"/>
                  </a:moveTo>
                  <a:cubicBezTo>
                    <a:pt x="5" y="33"/>
                    <a:pt x="5" y="33"/>
                    <a:pt x="5" y="34"/>
                  </a:cubicBezTo>
                  <a:cubicBezTo>
                    <a:pt x="5" y="33"/>
                    <a:pt x="5" y="33"/>
                    <a:pt x="5" y="33"/>
                  </a:cubicBezTo>
                  <a:moveTo>
                    <a:pt x="5" y="32"/>
                  </a:moveTo>
                  <a:cubicBezTo>
                    <a:pt x="5" y="32"/>
                    <a:pt x="5" y="32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moveTo>
                    <a:pt x="4" y="31"/>
                  </a:moveTo>
                  <a:cubicBezTo>
                    <a:pt x="5" y="31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1"/>
                    <a:pt x="4" y="31"/>
                  </a:cubicBezTo>
                  <a:moveTo>
                    <a:pt x="4" y="30"/>
                  </a:move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0"/>
                  </a:cubicBezTo>
                  <a:moveTo>
                    <a:pt x="4" y="29"/>
                  </a:move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29"/>
                  </a:cubicBezTo>
                  <a:moveTo>
                    <a:pt x="4" y="29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moveTo>
                    <a:pt x="4" y="28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moveTo>
                    <a:pt x="4" y="27"/>
                  </a:moveTo>
                  <a:cubicBezTo>
                    <a:pt x="4" y="27"/>
                    <a:pt x="4" y="27"/>
                    <a:pt x="4" y="28"/>
                  </a:cubicBezTo>
                  <a:cubicBezTo>
                    <a:pt x="4" y="27"/>
                    <a:pt x="4" y="27"/>
                    <a:pt x="4" y="27"/>
                  </a:cubicBezTo>
                  <a:moveTo>
                    <a:pt x="4" y="26"/>
                  </a:moveTo>
                  <a:cubicBezTo>
                    <a:pt x="4" y="26"/>
                    <a:pt x="4" y="26"/>
                    <a:pt x="4" y="27"/>
                  </a:cubicBezTo>
                  <a:cubicBezTo>
                    <a:pt x="4" y="26"/>
                    <a:pt x="4" y="26"/>
                    <a:pt x="4" y="26"/>
                  </a:cubicBezTo>
                  <a:moveTo>
                    <a:pt x="4" y="25"/>
                  </a:moveTo>
                  <a:cubicBezTo>
                    <a:pt x="4" y="25"/>
                    <a:pt x="4" y="26"/>
                    <a:pt x="4" y="26"/>
                  </a:cubicBezTo>
                  <a:cubicBezTo>
                    <a:pt x="4" y="26"/>
                    <a:pt x="4" y="25"/>
                    <a:pt x="4" y="25"/>
                  </a:cubicBezTo>
                  <a:moveTo>
                    <a:pt x="4" y="24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4"/>
                  </a:cubicBezTo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moveTo>
                    <a:pt x="4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moveTo>
                    <a:pt x="4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moveTo>
                    <a:pt x="4" y="21"/>
                  </a:move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moveTo>
                    <a:pt x="3" y="20"/>
                  </a:moveTo>
                  <a:cubicBezTo>
                    <a:pt x="3" y="20"/>
                    <a:pt x="3" y="20"/>
                    <a:pt x="4" y="21"/>
                  </a:cubicBezTo>
                  <a:cubicBezTo>
                    <a:pt x="3" y="20"/>
                    <a:pt x="3" y="20"/>
                    <a:pt x="3" y="20"/>
                  </a:cubicBezTo>
                  <a:moveTo>
                    <a:pt x="3" y="19"/>
                  </a:moveTo>
                  <a:cubicBezTo>
                    <a:pt x="3" y="19"/>
                    <a:pt x="3" y="20"/>
                    <a:pt x="3" y="20"/>
                  </a:cubicBezTo>
                  <a:cubicBezTo>
                    <a:pt x="3" y="20"/>
                    <a:pt x="3" y="19"/>
                    <a:pt x="3" y="19"/>
                  </a:cubicBezTo>
                  <a:moveTo>
                    <a:pt x="3" y="18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8"/>
                  </a:cubicBezTo>
                  <a:moveTo>
                    <a:pt x="3" y="17"/>
                  </a:move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7"/>
                  </a:cubicBezTo>
                  <a:moveTo>
                    <a:pt x="3" y="16"/>
                  </a:moveTo>
                  <a:cubicBezTo>
                    <a:pt x="3" y="16"/>
                    <a:pt x="3" y="17"/>
                    <a:pt x="3" y="17"/>
                  </a:cubicBezTo>
                  <a:cubicBezTo>
                    <a:pt x="3" y="17"/>
                    <a:pt x="3" y="16"/>
                    <a:pt x="3" y="16"/>
                  </a:cubicBezTo>
                  <a:moveTo>
                    <a:pt x="3" y="15"/>
                  </a:move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moveTo>
                    <a:pt x="3" y="14"/>
                  </a:moveTo>
                  <a:cubicBezTo>
                    <a:pt x="3" y="14"/>
                    <a:pt x="3" y="14"/>
                    <a:pt x="3" y="15"/>
                  </a:cubicBezTo>
                  <a:cubicBezTo>
                    <a:pt x="3" y="14"/>
                    <a:pt x="3" y="14"/>
                    <a:pt x="3" y="14"/>
                  </a:cubicBezTo>
                  <a:moveTo>
                    <a:pt x="2" y="12"/>
                  </a:moveTo>
                  <a:cubicBezTo>
                    <a:pt x="3" y="13"/>
                    <a:pt x="3" y="13"/>
                    <a:pt x="3" y="14"/>
                  </a:cubicBezTo>
                  <a:cubicBezTo>
                    <a:pt x="3" y="13"/>
                    <a:pt x="3" y="13"/>
                    <a:pt x="2" y="12"/>
                  </a:cubicBezTo>
                  <a:moveTo>
                    <a:pt x="2" y="11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1"/>
                  </a:cubicBezTo>
                  <a:moveTo>
                    <a:pt x="2" y="10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0"/>
                  </a:cubicBezTo>
                  <a:moveTo>
                    <a:pt x="2" y="9"/>
                  </a:moveTo>
                  <a:cubicBezTo>
                    <a:pt x="2" y="9"/>
                    <a:pt x="2" y="10"/>
                    <a:pt x="2" y="10"/>
                  </a:cubicBezTo>
                  <a:cubicBezTo>
                    <a:pt x="2" y="10"/>
                    <a:pt x="2" y="9"/>
                    <a:pt x="2" y="9"/>
                  </a:cubicBezTo>
                  <a:moveTo>
                    <a:pt x="2" y="8"/>
                  </a:moveTo>
                  <a:cubicBezTo>
                    <a:pt x="2" y="8"/>
                    <a:pt x="2" y="8"/>
                    <a:pt x="2" y="9"/>
                  </a:cubicBezTo>
                  <a:cubicBezTo>
                    <a:pt x="2" y="8"/>
                    <a:pt x="2" y="8"/>
                    <a:pt x="2" y="8"/>
                  </a:cubicBezTo>
                  <a:moveTo>
                    <a:pt x="2" y="7"/>
                  </a:moveTo>
                  <a:cubicBezTo>
                    <a:pt x="2" y="7"/>
                    <a:pt x="2" y="7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moveTo>
                    <a:pt x="1" y="5"/>
                  </a:moveTo>
                  <a:cubicBezTo>
                    <a:pt x="1" y="6"/>
                    <a:pt x="2" y="6"/>
                    <a:pt x="2" y="7"/>
                  </a:cubicBezTo>
                  <a:cubicBezTo>
                    <a:pt x="2" y="6"/>
                    <a:pt x="1" y="6"/>
                    <a:pt x="1" y="5"/>
                  </a:cubicBezTo>
                  <a:moveTo>
                    <a:pt x="1" y="4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4"/>
                  </a:cubicBezTo>
                  <a:moveTo>
                    <a:pt x="1" y="3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3"/>
                  </a:cubicBezTo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00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7" name="Freeform 32">
              <a:extLst>
                <a:ext uri="{FF2B5EF4-FFF2-40B4-BE49-F238E27FC236}">
                  <a16:creationId xmlns:a16="http://schemas.microsoft.com/office/drawing/2014/main" id="{DBEAFDCD-8DF2-4015-93E7-89108C6882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2101" y="29521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6C0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8" name="Freeform 33">
              <a:extLst>
                <a:ext uri="{FF2B5EF4-FFF2-40B4-BE49-F238E27FC236}">
                  <a16:creationId xmlns:a16="http://schemas.microsoft.com/office/drawing/2014/main" id="{3DEA6EE7-265D-40EC-98FC-57A901FC76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452101" y="2952176"/>
              <a:ext cx="1588" cy="22225"/>
            </a:xfrm>
            <a:custGeom>
              <a:avLst/>
              <a:gdLst>
                <a:gd name="T0" fmla="*/ 1 w 1"/>
                <a:gd name="T1" fmla="*/ 12 h 14"/>
                <a:gd name="T2" fmla="*/ 1 w 1"/>
                <a:gd name="T3" fmla="*/ 14 h 14"/>
                <a:gd name="T4" fmla="*/ 1 w 1"/>
                <a:gd name="T5" fmla="*/ 14 h 14"/>
                <a:gd name="T6" fmla="*/ 1 w 1"/>
                <a:gd name="T7" fmla="*/ 12 h 14"/>
                <a:gd name="T8" fmla="*/ 0 w 1"/>
                <a:gd name="T9" fmla="*/ 0 h 14"/>
                <a:gd name="T10" fmla="*/ 0 w 1"/>
                <a:gd name="T11" fmla="*/ 0 h 14"/>
                <a:gd name="T12" fmla="*/ 1 w 1"/>
                <a:gd name="T13" fmla="*/ 2 h 14"/>
                <a:gd name="T14" fmla="*/ 0 w 1"/>
                <a:gd name="T15" fmla="*/ 0 h 14"/>
                <a:gd name="T16" fmla="*/ 0 w 1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14">
                  <a:moveTo>
                    <a:pt x="1" y="12"/>
                  </a:move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3"/>
                    <a:pt x="1" y="12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9" name="Freeform 34">
              <a:extLst>
                <a:ext uri="{FF2B5EF4-FFF2-40B4-BE49-F238E27FC236}">
                  <a16:creationId xmlns:a16="http://schemas.microsoft.com/office/drawing/2014/main" id="{E6966EAE-CDC0-4E2D-A0C4-4267929A29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5601" y="3014089"/>
              <a:ext cx="109538" cy="615950"/>
            </a:xfrm>
            <a:custGeom>
              <a:avLst/>
              <a:gdLst>
                <a:gd name="T0" fmla="*/ 1 w 69"/>
                <a:gd name="T1" fmla="*/ 144 h 388"/>
                <a:gd name="T2" fmla="*/ 1 w 69"/>
                <a:gd name="T3" fmla="*/ 146 h 388"/>
                <a:gd name="T4" fmla="*/ 2 w 69"/>
                <a:gd name="T5" fmla="*/ 147 h 388"/>
                <a:gd name="T6" fmla="*/ 2 w 69"/>
                <a:gd name="T7" fmla="*/ 148 h 388"/>
                <a:gd name="T8" fmla="*/ 2 w 69"/>
                <a:gd name="T9" fmla="*/ 149 h 388"/>
                <a:gd name="T10" fmla="*/ 2 w 69"/>
                <a:gd name="T11" fmla="*/ 150 h 388"/>
                <a:gd name="T12" fmla="*/ 2 w 69"/>
                <a:gd name="T13" fmla="*/ 151 h 388"/>
                <a:gd name="T14" fmla="*/ 3 w 69"/>
                <a:gd name="T15" fmla="*/ 153 h 388"/>
                <a:gd name="T16" fmla="*/ 3 w 69"/>
                <a:gd name="T17" fmla="*/ 154 h 388"/>
                <a:gd name="T18" fmla="*/ 3 w 69"/>
                <a:gd name="T19" fmla="*/ 155 h 388"/>
                <a:gd name="T20" fmla="*/ 3 w 69"/>
                <a:gd name="T21" fmla="*/ 156 h 388"/>
                <a:gd name="T22" fmla="*/ 3 w 69"/>
                <a:gd name="T23" fmla="*/ 157 h 388"/>
                <a:gd name="T24" fmla="*/ 3 w 69"/>
                <a:gd name="T25" fmla="*/ 158 h 388"/>
                <a:gd name="T26" fmla="*/ 4 w 69"/>
                <a:gd name="T27" fmla="*/ 160 h 388"/>
                <a:gd name="T28" fmla="*/ 4 w 69"/>
                <a:gd name="T29" fmla="*/ 161 h 388"/>
                <a:gd name="T30" fmla="*/ 4 w 69"/>
                <a:gd name="T31" fmla="*/ 162 h 388"/>
                <a:gd name="T32" fmla="*/ 4 w 69"/>
                <a:gd name="T33" fmla="*/ 163 h 388"/>
                <a:gd name="T34" fmla="*/ 4 w 69"/>
                <a:gd name="T35" fmla="*/ 164 h 388"/>
                <a:gd name="T36" fmla="*/ 4 w 69"/>
                <a:gd name="T37" fmla="*/ 165 h 388"/>
                <a:gd name="T38" fmla="*/ 4 w 69"/>
                <a:gd name="T39" fmla="*/ 166 h 388"/>
                <a:gd name="T40" fmla="*/ 5 w 69"/>
                <a:gd name="T41" fmla="*/ 167 h 388"/>
                <a:gd name="T42" fmla="*/ 5 w 69"/>
                <a:gd name="T43" fmla="*/ 168 h 388"/>
                <a:gd name="T44" fmla="*/ 5 w 69"/>
                <a:gd name="T45" fmla="*/ 169 h 388"/>
                <a:gd name="T46" fmla="*/ 5 w 69"/>
                <a:gd name="T47" fmla="*/ 170 h 388"/>
                <a:gd name="T48" fmla="*/ 5 w 69"/>
                <a:gd name="T49" fmla="*/ 170 h 388"/>
                <a:gd name="T50" fmla="*/ 5 w 69"/>
                <a:gd name="T51" fmla="*/ 171 h 388"/>
                <a:gd name="T52" fmla="*/ 5 w 69"/>
                <a:gd name="T53" fmla="*/ 172 h 388"/>
                <a:gd name="T54" fmla="*/ 5 w 69"/>
                <a:gd name="T55" fmla="*/ 173 h 388"/>
                <a:gd name="T56" fmla="*/ 5 w 69"/>
                <a:gd name="T57" fmla="*/ 174 h 388"/>
                <a:gd name="T58" fmla="*/ 5 w 69"/>
                <a:gd name="T59" fmla="*/ 175 h 388"/>
                <a:gd name="T60" fmla="*/ 5 w 69"/>
                <a:gd name="T61" fmla="*/ 175 h 388"/>
                <a:gd name="T62" fmla="*/ 5 w 69"/>
                <a:gd name="T63" fmla="*/ 176 h 388"/>
                <a:gd name="T64" fmla="*/ 5 w 69"/>
                <a:gd name="T65" fmla="*/ 177 h 388"/>
                <a:gd name="T66" fmla="*/ 6 w 69"/>
                <a:gd name="T67" fmla="*/ 178 h 388"/>
                <a:gd name="T68" fmla="*/ 6 w 69"/>
                <a:gd name="T69" fmla="*/ 179 h 388"/>
                <a:gd name="T70" fmla="*/ 6 w 69"/>
                <a:gd name="T71" fmla="*/ 180 h 388"/>
                <a:gd name="T72" fmla="*/ 6 w 69"/>
                <a:gd name="T73" fmla="*/ 181 h 388"/>
                <a:gd name="T74" fmla="*/ 6 w 69"/>
                <a:gd name="T75" fmla="*/ 182 h 388"/>
                <a:gd name="T76" fmla="*/ 6 w 69"/>
                <a:gd name="T77" fmla="*/ 182 h 388"/>
                <a:gd name="T78" fmla="*/ 6 w 69"/>
                <a:gd name="T79" fmla="*/ 183 h 388"/>
                <a:gd name="T80" fmla="*/ 6 w 69"/>
                <a:gd name="T81" fmla="*/ 184 h 388"/>
                <a:gd name="T82" fmla="*/ 6 w 69"/>
                <a:gd name="T83" fmla="*/ 185 h 388"/>
                <a:gd name="T84" fmla="*/ 6 w 69"/>
                <a:gd name="T85" fmla="*/ 186 h 388"/>
                <a:gd name="T86" fmla="*/ 6 w 69"/>
                <a:gd name="T87" fmla="*/ 187 h 388"/>
                <a:gd name="T88" fmla="*/ 6 w 69"/>
                <a:gd name="T89" fmla="*/ 188 h 388"/>
                <a:gd name="T90" fmla="*/ 6 w 69"/>
                <a:gd name="T91" fmla="*/ 188 h 388"/>
                <a:gd name="T92" fmla="*/ 6 w 69"/>
                <a:gd name="T93" fmla="*/ 189 h 388"/>
                <a:gd name="T94" fmla="*/ 6 w 69"/>
                <a:gd name="T95" fmla="*/ 190 h 388"/>
                <a:gd name="T96" fmla="*/ 6 w 69"/>
                <a:gd name="T97" fmla="*/ 191 h 388"/>
                <a:gd name="T98" fmla="*/ 6 w 69"/>
                <a:gd name="T99" fmla="*/ 192 h 388"/>
                <a:gd name="T100" fmla="*/ 6 w 69"/>
                <a:gd name="T101" fmla="*/ 193 h 388"/>
                <a:gd name="T102" fmla="*/ 6 w 69"/>
                <a:gd name="T103" fmla="*/ 193 h 388"/>
                <a:gd name="T104" fmla="*/ 6 w 69"/>
                <a:gd name="T105" fmla="*/ 194 h 388"/>
                <a:gd name="T106" fmla="*/ 6 w 69"/>
                <a:gd name="T107" fmla="*/ 195 h 388"/>
                <a:gd name="T108" fmla="*/ 6 w 69"/>
                <a:gd name="T109" fmla="*/ 196 h 388"/>
                <a:gd name="T110" fmla="*/ 6 w 69"/>
                <a:gd name="T111" fmla="*/ 197 h 388"/>
                <a:gd name="T112" fmla="*/ 1 w 69"/>
                <a:gd name="T113" fmla="*/ 243 h 388"/>
                <a:gd name="T114" fmla="*/ 14 w 69"/>
                <a:gd name="T115" fmla="*/ 378 h 388"/>
                <a:gd name="T116" fmla="*/ 14 w 69"/>
                <a:gd name="T117" fmla="*/ 378 h 388"/>
                <a:gd name="T118" fmla="*/ 69 w 69"/>
                <a:gd name="T119" fmla="*/ 233 h 388"/>
                <a:gd name="T120" fmla="*/ 67 w 69"/>
                <a:gd name="T121" fmla="*/ 196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9" h="388">
                  <a:moveTo>
                    <a:pt x="2" y="0"/>
                  </a:moveTo>
                  <a:cubicBezTo>
                    <a:pt x="1" y="144"/>
                    <a:pt x="1" y="144"/>
                    <a:pt x="1" y="144"/>
                  </a:cubicBezTo>
                  <a:cubicBezTo>
                    <a:pt x="1" y="145"/>
                    <a:pt x="1" y="145"/>
                    <a:pt x="1" y="146"/>
                  </a:cubicBezTo>
                  <a:cubicBezTo>
                    <a:pt x="1" y="146"/>
                    <a:pt x="1" y="146"/>
                    <a:pt x="1" y="146"/>
                  </a:cubicBezTo>
                  <a:cubicBezTo>
                    <a:pt x="2" y="146"/>
                    <a:pt x="2" y="146"/>
                    <a:pt x="2" y="147"/>
                  </a:cubicBezTo>
                  <a:cubicBezTo>
                    <a:pt x="2" y="147"/>
                    <a:pt x="2" y="147"/>
                    <a:pt x="2" y="147"/>
                  </a:cubicBezTo>
                  <a:cubicBezTo>
                    <a:pt x="2" y="147"/>
                    <a:pt x="2" y="147"/>
                    <a:pt x="2" y="148"/>
                  </a:cubicBezTo>
                  <a:cubicBezTo>
                    <a:pt x="2" y="148"/>
                    <a:pt x="2" y="148"/>
                    <a:pt x="2" y="148"/>
                  </a:cubicBezTo>
                  <a:cubicBezTo>
                    <a:pt x="2" y="148"/>
                    <a:pt x="2" y="149"/>
                    <a:pt x="2" y="149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0"/>
                    <a:pt x="2" y="150"/>
                    <a:pt x="2" y="150"/>
                  </a:cubicBezTo>
                  <a:cubicBezTo>
                    <a:pt x="2" y="150"/>
                    <a:pt x="2" y="150"/>
                    <a:pt x="2" y="150"/>
                  </a:cubicBezTo>
                  <a:cubicBezTo>
                    <a:pt x="2" y="151"/>
                    <a:pt x="2" y="151"/>
                    <a:pt x="2" y="151"/>
                  </a:cubicBezTo>
                  <a:cubicBezTo>
                    <a:pt x="2" y="151"/>
                    <a:pt x="2" y="151"/>
                    <a:pt x="2" y="151"/>
                  </a:cubicBezTo>
                  <a:cubicBezTo>
                    <a:pt x="2" y="152"/>
                    <a:pt x="3" y="152"/>
                    <a:pt x="3" y="153"/>
                  </a:cubicBezTo>
                  <a:cubicBezTo>
                    <a:pt x="3" y="153"/>
                    <a:pt x="3" y="153"/>
                    <a:pt x="3" y="153"/>
                  </a:cubicBezTo>
                  <a:cubicBezTo>
                    <a:pt x="3" y="153"/>
                    <a:pt x="3" y="153"/>
                    <a:pt x="3" y="154"/>
                  </a:cubicBezTo>
                  <a:cubicBezTo>
                    <a:pt x="3" y="154"/>
                    <a:pt x="3" y="154"/>
                    <a:pt x="3" y="154"/>
                  </a:cubicBezTo>
                  <a:cubicBezTo>
                    <a:pt x="3" y="154"/>
                    <a:pt x="3" y="154"/>
                    <a:pt x="3" y="155"/>
                  </a:cubicBezTo>
                  <a:cubicBezTo>
                    <a:pt x="3" y="155"/>
                    <a:pt x="3" y="155"/>
                    <a:pt x="3" y="155"/>
                  </a:cubicBezTo>
                  <a:cubicBezTo>
                    <a:pt x="3" y="155"/>
                    <a:pt x="3" y="156"/>
                    <a:pt x="3" y="156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3" y="158"/>
                    <a:pt x="3" y="158"/>
                    <a:pt x="3" y="158"/>
                  </a:cubicBezTo>
                  <a:cubicBezTo>
                    <a:pt x="3" y="158"/>
                    <a:pt x="3" y="158"/>
                    <a:pt x="3" y="158"/>
                  </a:cubicBezTo>
                  <a:cubicBezTo>
                    <a:pt x="4" y="159"/>
                    <a:pt x="4" y="159"/>
                    <a:pt x="4" y="160"/>
                  </a:cubicBezTo>
                  <a:cubicBezTo>
                    <a:pt x="4" y="160"/>
                    <a:pt x="4" y="160"/>
                    <a:pt x="4" y="160"/>
                  </a:cubicBezTo>
                  <a:cubicBezTo>
                    <a:pt x="4" y="160"/>
                    <a:pt x="4" y="160"/>
                    <a:pt x="4" y="161"/>
                  </a:cubicBezTo>
                  <a:cubicBezTo>
                    <a:pt x="4" y="161"/>
                    <a:pt x="4" y="161"/>
                    <a:pt x="4" y="161"/>
                  </a:cubicBezTo>
                  <a:cubicBezTo>
                    <a:pt x="4" y="161"/>
                    <a:pt x="4" y="161"/>
                    <a:pt x="4" y="161"/>
                  </a:cubicBezTo>
                  <a:cubicBezTo>
                    <a:pt x="4" y="161"/>
                    <a:pt x="4" y="162"/>
                    <a:pt x="4" y="162"/>
                  </a:cubicBezTo>
                  <a:cubicBezTo>
                    <a:pt x="4" y="162"/>
                    <a:pt x="4" y="163"/>
                    <a:pt x="4" y="163"/>
                  </a:cubicBezTo>
                  <a:cubicBezTo>
                    <a:pt x="4" y="163"/>
                    <a:pt x="4" y="163"/>
                    <a:pt x="4" y="163"/>
                  </a:cubicBezTo>
                  <a:cubicBezTo>
                    <a:pt x="4" y="164"/>
                    <a:pt x="4" y="164"/>
                    <a:pt x="4" y="164"/>
                  </a:cubicBezTo>
                  <a:cubicBezTo>
                    <a:pt x="4" y="164"/>
                    <a:pt x="4" y="164"/>
                    <a:pt x="4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4" y="165"/>
                    <a:pt x="4" y="166"/>
                    <a:pt x="4" y="166"/>
                  </a:cubicBezTo>
                  <a:cubicBezTo>
                    <a:pt x="4" y="166"/>
                    <a:pt x="4" y="166"/>
                    <a:pt x="4" y="166"/>
                  </a:cubicBezTo>
                  <a:cubicBezTo>
                    <a:pt x="4" y="166"/>
                    <a:pt x="4" y="166"/>
                    <a:pt x="5" y="167"/>
                  </a:cubicBezTo>
                  <a:cubicBezTo>
                    <a:pt x="5" y="167"/>
                    <a:pt x="5" y="167"/>
                    <a:pt x="5" y="167"/>
                  </a:cubicBezTo>
                  <a:cubicBezTo>
                    <a:pt x="5" y="167"/>
                    <a:pt x="5" y="167"/>
                    <a:pt x="5" y="167"/>
                  </a:cubicBezTo>
                  <a:cubicBezTo>
                    <a:pt x="5" y="168"/>
                    <a:pt x="5" y="168"/>
                    <a:pt x="5" y="168"/>
                  </a:cubicBezTo>
                  <a:cubicBezTo>
                    <a:pt x="5" y="168"/>
                    <a:pt x="5" y="168"/>
                    <a:pt x="5" y="168"/>
                  </a:cubicBezTo>
                  <a:cubicBezTo>
                    <a:pt x="5" y="168"/>
                    <a:pt x="5" y="169"/>
                    <a:pt x="5" y="169"/>
                  </a:cubicBezTo>
                  <a:cubicBezTo>
                    <a:pt x="5" y="169"/>
                    <a:pt x="5" y="169"/>
                    <a:pt x="5" y="169"/>
                  </a:cubicBezTo>
                  <a:cubicBezTo>
                    <a:pt x="5" y="169"/>
                    <a:pt x="5" y="169"/>
                    <a:pt x="5" y="170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5" y="171"/>
                    <a:pt x="5" y="171"/>
                    <a:pt x="5" y="171"/>
                  </a:cubicBezTo>
                  <a:cubicBezTo>
                    <a:pt x="5" y="171"/>
                    <a:pt x="5" y="171"/>
                    <a:pt x="5" y="171"/>
                  </a:cubicBezTo>
                  <a:cubicBezTo>
                    <a:pt x="5" y="171"/>
                    <a:pt x="5" y="172"/>
                    <a:pt x="5" y="172"/>
                  </a:cubicBezTo>
                  <a:cubicBezTo>
                    <a:pt x="5" y="172"/>
                    <a:pt x="5" y="172"/>
                    <a:pt x="5" y="172"/>
                  </a:cubicBezTo>
                  <a:cubicBezTo>
                    <a:pt x="5" y="172"/>
                    <a:pt x="5" y="172"/>
                    <a:pt x="5" y="173"/>
                  </a:cubicBezTo>
                  <a:cubicBezTo>
                    <a:pt x="5" y="173"/>
                    <a:pt x="5" y="173"/>
                    <a:pt x="5" y="173"/>
                  </a:cubicBezTo>
                  <a:cubicBezTo>
                    <a:pt x="5" y="173"/>
                    <a:pt x="5" y="173"/>
                    <a:pt x="5" y="174"/>
                  </a:cubicBezTo>
                  <a:cubicBezTo>
                    <a:pt x="5" y="174"/>
                    <a:pt x="5" y="174"/>
                    <a:pt x="5" y="174"/>
                  </a:cubicBezTo>
                  <a:cubicBezTo>
                    <a:pt x="5" y="174"/>
                    <a:pt x="5" y="174"/>
                    <a:pt x="5" y="174"/>
                  </a:cubicBezTo>
                  <a:cubicBezTo>
                    <a:pt x="5" y="174"/>
                    <a:pt x="5" y="175"/>
                    <a:pt x="5" y="175"/>
                  </a:cubicBezTo>
                  <a:cubicBezTo>
                    <a:pt x="5" y="175"/>
                    <a:pt x="5" y="175"/>
                    <a:pt x="5" y="175"/>
                  </a:cubicBezTo>
                  <a:cubicBezTo>
                    <a:pt x="5" y="175"/>
                    <a:pt x="5" y="175"/>
                    <a:pt x="5" y="175"/>
                  </a:cubicBezTo>
                  <a:cubicBezTo>
                    <a:pt x="5" y="176"/>
                    <a:pt x="5" y="176"/>
                    <a:pt x="5" y="176"/>
                  </a:cubicBezTo>
                  <a:cubicBezTo>
                    <a:pt x="5" y="176"/>
                    <a:pt x="5" y="176"/>
                    <a:pt x="5" y="176"/>
                  </a:cubicBezTo>
                  <a:cubicBezTo>
                    <a:pt x="5" y="177"/>
                    <a:pt x="5" y="177"/>
                    <a:pt x="5" y="177"/>
                  </a:cubicBezTo>
                  <a:cubicBezTo>
                    <a:pt x="5" y="177"/>
                    <a:pt x="5" y="177"/>
                    <a:pt x="5" y="177"/>
                  </a:cubicBezTo>
                  <a:cubicBezTo>
                    <a:pt x="6" y="177"/>
                    <a:pt x="6" y="178"/>
                    <a:pt x="6" y="178"/>
                  </a:cubicBezTo>
                  <a:cubicBezTo>
                    <a:pt x="6" y="178"/>
                    <a:pt x="6" y="178"/>
                    <a:pt x="6" y="178"/>
                  </a:cubicBezTo>
                  <a:cubicBezTo>
                    <a:pt x="6" y="178"/>
                    <a:pt x="6" y="178"/>
                    <a:pt x="6" y="179"/>
                  </a:cubicBezTo>
                  <a:cubicBezTo>
                    <a:pt x="6" y="179"/>
                    <a:pt x="6" y="179"/>
                    <a:pt x="6" y="179"/>
                  </a:cubicBezTo>
                  <a:cubicBezTo>
                    <a:pt x="6" y="179"/>
                    <a:pt x="6" y="179"/>
                    <a:pt x="6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6" y="181"/>
                    <a:pt x="6" y="181"/>
                    <a:pt x="6" y="181"/>
                  </a:cubicBezTo>
                  <a:cubicBezTo>
                    <a:pt x="6" y="181"/>
                    <a:pt x="6" y="181"/>
                    <a:pt x="6" y="181"/>
                  </a:cubicBezTo>
                  <a:cubicBezTo>
                    <a:pt x="6" y="181"/>
                    <a:pt x="6" y="181"/>
                    <a:pt x="6" y="182"/>
                  </a:cubicBezTo>
                  <a:cubicBezTo>
                    <a:pt x="6" y="182"/>
                    <a:pt x="6" y="182"/>
                    <a:pt x="6" y="182"/>
                  </a:cubicBezTo>
                  <a:cubicBezTo>
                    <a:pt x="6" y="182"/>
                    <a:pt x="6" y="182"/>
                    <a:pt x="6" y="182"/>
                  </a:cubicBezTo>
                  <a:cubicBezTo>
                    <a:pt x="6" y="183"/>
                    <a:pt x="6" y="183"/>
                    <a:pt x="6" y="183"/>
                  </a:cubicBezTo>
                  <a:cubicBezTo>
                    <a:pt x="6" y="183"/>
                    <a:pt x="6" y="183"/>
                    <a:pt x="6" y="183"/>
                  </a:cubicBezTo>
                  <a:cubicBezTo>
                    <a:pt x="6" y="183"/>
                    <a:pt x="6" y="184"/>
                    <a:pt x="6" y="184"/>
                  </a:cubicBezTo>
                  <a:cubicBezTo>
                    <a:pt x="6" y="184"/>
                    <a:pt x="6" y="184"/>
                    <a:pt x="6" y="184"/>
                  </a:cubicBezTo>
                  <a:cubicBezTo>
                    <a:pt x="6" y="184"/>
                    <a:pt x="6" y="184"/>
                    <a:pt x="6" y="185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6" y="186"/>
                    <a:pt x="6" y="186"/>
                    <a:pt x="6" y="186"/>
                  </a:cubicBezTo>
                  <a:cubicBezTo>
                    <a:pt x="6" y="186"/>
                    <a:pt x="6" y="186"/>
                    <a:pt x="6" y="186"/>
                  </a:cubicBezTo>
                  <a:cubicBezTo>
                    <a:pt x="6" y="186"/>
                    <a:pt x="6" y="187"/>
                    <a:pt x="6" y="187"/>
                  </a:cubicBezTo>
                  <a:cubicBezTo>
                    <a:pt x="6" y="187"/>
                    <a:pt x="6" y="187"/>
                    <a:pt x="6" y="187"/>
                  </a:cubicBezTo>
                  <a:cubicBezTo>
                    <a:pt x="6" y="187"/>
                    <a:pt x="6" y="187"/>
                    <a:pt x="6" y="188"/>
                  </a:cubicBezTo>
                  <a:cubicBezTo>
                    <a:pt x="6" y="188"/>
                    <a:pt x="6" y="188"/>
                    <a:pt x="6" y="188"/>
                  </a:cubicBezTo>
                  <a:cubicBezTo>
                    <a:pt x="6" y="188"/>
                    <a:pt x="6" y="188"/>
                    <a:pt x="6" y="188"/>
                  </a:cubicBezTo>
                  <a:cubicBezTo>
                    <a:pt x="6" y="189"/>
                    <a:pt x="6" y="189"/>
                    <a:pt x="6" y="189"/>
                  </a:cubicBezTo>
                  <a:cubicBezTo>
                    <a:pt x="6" y="189"/>
                    <a:pt x="6" y="189"/>
                    <a:pt x="6" y="189"/>
                  </a:cubicBezTo>
                  <a:cubicBezTo>
                    <a:pt x="6" y="189"/>
                    <a:pt x="6" y="190"/>
                    <a:pt x="6" y="190"/>
                  </a:cubicBezTo>
                  <a:cubicBezTo>
                    <a:pt x="6" y="190"/>
                    <a:pt x="6" y="190"/>
                    <a:pt x="6" y="190"/>
                  </a:cubicBezTo>
                  <a:cubicBezTo>
                    <a:pt x="6" y="190"/>
                    <a:pt x="6" y="190"/>
                    <a:pt x="6" y="191"/>
                  </a:cubicBezTo>
                  <a:cubicBezTo>
                    <a:pt x="6" y="191"/>
                    <a:pt x="6" y="191"/>
                    <a:pt x="6" y="191"/>
                  </a:cubicBezTo>
                  <a:cubicBezTo>
                    <a:pt x="6" y="191"/>
                    <a:pt x="6" y="191"/>
                    <a:pt x="6" y="191"/>
                  </a:cubicBezTo>
                  <a:cubicBezTo>
                    <a:pt x="6" y="192"/>
                    <a:pt x="6" y="192"/>
                    <a:pt x="6" y="192"/>
                  </a:cubicBezTo>
                  <a:cubicBezTo>
                    <a:pt x="6" y="192"/>
                    <a:pt x="6" y="192"/>
                    <a:pt x="6" y="192"/>
                  </a:cubicBezTo>
                  <a:cubicBezTo>
                    <a:pt x="6" y="192"/>
                    <a:pt x="6" y="192"/>
                    <a:pt x="6" y="193"/>
                  </a:cubicBezTo>
                  <a:cubicBezTo>
                    <a:pt x="6" y="193"/>
                    <a:pt x="6" y="193"/>
                    <a:pt x="6" y="193"/>
                  </a:cubicBezTo>
                  <a:cubicBezTo>
                    <a:pt x="6" y="193"/>
                    <a:pt x="6" y="193"/>
                    <a:pt x="6" y="193"/>
                  </a:cubicBezTo>
                  <a:cubicBezTo>
                    <a:pt x="6" y="194"/>
                    <a:pt x="6" y="194"/>
                    <a:pt x="6" y="194"/>
                  </a:cubicBezTo>
                  <a:cubicBezTo>
                    <a:pt x="6" y="194"/>
                    <a:pt x="6" y="194"/>
                    <a:pt x="6" y="194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6" y="195"/>
                    <a:pt x="6" y="195"/>
                    <a:pt x="6" y="196"/>
                  </a:cubicBezTo>
                  <a:cubicBezTo>
                    <a:pt x="6" y="196"/>
                    <a:pt x="6" y="196"/>
                    <a:pt x="6" y="196"/>
                  </a:cubicBezTo>
                  <a:cubicBezTo>
                    <a:pt x="6" y="196"/>
                    <a:pt x="6" y="196"/>
                    <a:pt x="6" y="196"/>
                  </a:cubicBezTo>
                  <a:cubicBezTo>
                    <a:pt x="6" y="196"/>
                    <a:pt x="6" y="196"/>
                    <a:pt x="6" y="197"/>
                  </a:cubicBezTo>
                  <a:cubicBezTo>
                    <a:pt x="6" y="206"/>
                    <a:pt x="6" y="215"/>
                    <a:pt x="5" y="223"/>
                  </a:cubicBezTo>
                  <a:cubicBezTo>
                    <a:pt x="4" y="230"/>
                    <a:pt x="2" y="237"/>
                    <a:pt x="1" y="243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5" y="385"/>
                    <a:pt x="10" y="381"/>
                    <a:pt x="14" y="378"/>
                  </a:cubicBezTo>
                  <a:cubicBezTo>
                    <a:pt x="14" y="376"/>
                    <a:pt x="14" y="376"/>
                    <a:pt x="14" y="376"/>
                  </a:cubicBezTo>
                  <a:cubicBezTo>
                    <a:pt x="14" y="378"/>
                    <a:pt x="14" y="378"/>
                    <a:pt x="14" y="378"/>
                  </a:cubicBezTo>
                  <a:cubicBezTo>
                    <a:pt x="42" y="354"/>
                    <a:pt x="61" y="317"/>
                    <a:pt x="67" y="267"/>
                  </a:cubicBezTo>
                  <a:cubicBezTo>
                    <a:pt x="68" y="256"/>
                    <a:pt x="69" y="245"/>
                    <a:pt x="69" y="233"/>
                  </a:cubicBezTo>
                  <a:cubicBezTo>
                    <a:pt x="69" y="230"/>
                    <a:pt x="69" y="227"/>
                    <a:pt x="69" y="225"/>
                  </a:cubicBezTo>
                  <a:cubicBezTo>
                    <a:pt x="69" y="215"/>
                    <a:pt x="68" y="206"/>
                    <a:pt x="67" y="196"/>
                  </a:cubicBezTo>
                  <a:cubicBezTo>
                    <a:pt x="61" y="131"/>
                    <a:pt x="37" y="62"/>
                    <a:pt x="2" y="0"/>
                  </a:cubicBezTo>
                </a:path>
              </a:pathLst>
            </a:custGeom>
            <a:solidFill>
              <a:srgbClr val="00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0" name="Freeform 35">
              <a:extLst>
                <a:ext uri="{FF2B5EF4-FFF2-40B4-BE49-F238E27FC236}">
                  <a16:creationId xmlns:a16="http://schemas.microsoft.com/office/drawing/2014/main" id="{F0EF4EE5-B3D9-4E29-9538-9C6D0F5122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56488" y="5533451"/>
              <a:ext cx="398463" cy="347663"/>
            </a:xfrm>
            <a:custGeom>
              <a:avLst/>
              <a:gdLst>
                <a:gd name="T0" fmla="*/ 251 w 251"/>
                <a:gd name="T1" fmla="*/ 0 h 219"/>
                <a:gd name="T2" fmla="*/ 251 w 251"/>
                <a:gd name="T3" fmla="*/ 73 h 219"/>
                <a:gd name="T4" fmla="*/ 0 w 251"/>
                <a:gd name="T5" fmla="*/ 219 h 219"/>
                <a:gd name="T6" fmla="*/ 0 w 251"/>
                <a:gd name="T7" fmla="*/ 146 h 219"/>
                <a:gd name="T8" fmla="*/ 251 w 251"/>
                <a:gd name="T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219">
                  <a:moveTo>
                    <a:pt x="251" y="0"/>
                  </a:moveTo>
                  <a:lnTo>
                    <a:pt x="251" y="73"/>
                  </a:lnTo>
                  <a:lnTo>
                    <a:pt x="0" y="219"/>
                  </a:lnTo>
                  <a:lnTo>
                    <a:pt x="0" y="146"/>
                  </a:lnTo>
                  <a:lnTo>
                    <a:pt x="251" y="0"/>
                  </a:lnTo>
                  <a:close/>
                </a:path>
              </a:pathLst>
            </a:custGeom>
            <a:solidFill>
              <a:srgbClr val="D4E1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1" name="Freeform 36">
              <a:extLst>
                <a:ext uri="{FF2B5EF4-FFF2-40B4-BE49-F238E27FC236}">
                  <a16:creationId xmlns:a16="http://schemas.microsoft.com/office/drawing/2014/main" id="{C184DB20-B479-4DF7-B3C6-2EFBC3EB62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92801" y="4863526"/>
              <a:ext cx="1563688" cy="1017588"/>
            </a:xfrm>
            <a:custGeom>
              <a:avLst/>
              <a:gdLst>
                <a:gd name="T0" fmla="*/ 985 w 985"/>
                <a:gd name="T1" fmla="*/ 568 h 641"/>
                <a:gd name="T2" fmla="*/ 985 w 985"/>
                <a:gd name="T3" fmla="*/ 641 h 641"/>
                <a:gd name="T4" fmla="*/ 0 w 985"/>
                <a:gd name="T5" fmla="*/ 73 h 641"/>
                <a:gd name="T6" fmla="*/ 0 w 985"/>
                <a:gd name="T7" fmla="*/ 0 h 641"/>
                <a:gd name="T8" fmla="*/ 985 w 985"/>
                <a:gd name="T9" fmla="*/ 568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5" h="641">
                  <a:moveTo>
                    <a:pt x="985" y="568"/>
                  </a:moveTo>
                  <a:lnTo>
                    <a:pt x="985" y="641"/>
                  </a:lnTo>
                  <a:lnTo>
                    <a:pt x="0" y="73"/>
                  </a:lnTo>
                  <a:lnTo>
                    <a:pt x="0" y="0"/>
                  </a:lnTo>
                  <a:lnTo>
                    <a:pt x="985" y="568"/>
                  </a:lnTo>
                  <a:close/>
                </a:path>
              </a:pathLst>
            </a:custGeom>
            <a:solidFill>
              <a:srgbClr val="AFB4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2" name="Freeform 37">
              <a:extLst>
                <a:ext uri="{FF2B5EF4-FFF2-40B4-BE49-F238E27FC236}">
                  <a16:creationId xmlns:a16="http://schemas.microsoft.com/office/drawing/2014/main" id="{49FD87D6-F53C-4F87-B0ED-85C73ABFE3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92801" y="4631751"/>
              <a:ext cx="1962150" cy="1133475"/>
            </a:xfrm>
            <a:custGeom>
              <a:avLst/>
              <a:gdLst>
                <a:gd name="T0" fmla="*/ 1236 w 1236"/>
                <a:gd name="T1" fmla="*/ 568 h 714"/>
                <a:gd name="T2" fmla="*/ 985 w 1236"/>
                <a:gd name="T3" fmla="*/ 714 h 714"/>
                <a:gd name="T4" fmla="*/ 0 w 1236"/>
                <a:gd name="T5" fmla="*/ 146 h 714"/>
                <a:gd name="T6" fmla="*/ 251 w 1236"/>
                <a:gd name="T7" fmla="*/ 0 h 714"/>
                <a:gd name="T8" fmla="*/ 1236 w 1236"/>
                <a:gd name="T9" fmla="*/ 568 h 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6" h="714">
                  <a:moveTo>
                    <a:pt x="1236" y="568"/>
                  </a:moveTo>
                  <a:lnTo>
                    <a:pt x="985" y="714"/>
                  </a:lnTo>
                  <a:lnTo>
                    <a:pt x="0" y="146"/>
                  </a:lnTo>
                  <a:lnTo>
                    <a:pt x="251" y="0"/>
                  </a:lnTo>
                  <a:lnTo>
                    <a:pt x="1236" y="568"/>
                  </a:lnTo>
                  <a:close/>
                </a:path>
              </a:pathLst>
            </a:custGeom>
            <a:solidFill>
              <a:srgbClr val="C0CA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3" name="Freeform 38">
              <a:extLst>
                <a:ext uri="{FF2B5EF4-FFF2-40B4-BE49-F238E27FC236}">
                  <a16:creationId xmlns:a16="http://schemas.microsoft.com/office/drawing/2014/main" id="{BCFFEFD9-B1F5-4D6E-9895-80BD36BC4E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97801" y="1324989"/>
              <a:ext cx="2720975" cy="3487738"/>
            </a:xfrm>
            <a:custGeom>
              <a:avLst/>
              <a:gdLst>
                <a:gd name="T0" fmla="*/ 1713 w 1714"/>
                <a:gd name="T1" fmla="*/ 1011 h 2200"/>
                <a:gd name="T2" fmla="*/ 1713 w 1714"/>
                <a:gd name="T3" fmla="*/ 1006 h 2200"/>
                <a:gd name="T4" fmla="*/ 1713 w 1714"/>
                <a:gd name="T5" fmla="*/ 1003 h 2200"/>
                <a:gd name="T6" fmla="*/ 1711 w 1714"/>
                <a:gd name="T7" fmla="*/ 996 h 2200"/>
                <a:gd name="T8" fmla="*/ 1710 w 1714"/>
                <a:gd name="T9" fmla="*/ 991 h 2200"/>
                <a:gd name="T10" fmla="*/ 1709 w 1714"/>
                <a:gd name="T11" fmla="*/ 988 h 2200"/>
                <a:gd name="T12" fmla="*/ 1707 w 1714"/>
                <a:gd name="T13" fmla="*/ 982 h 2200"/>
                <a:gd name="T14" fmla="*/ 1705 w 1714"/>
                <a:gd name="T15" fmla="*/ 977 h 2200"/>
                <a:gd name="T16" fmla="*/ 1704 w 1714"/>
                <a:gd name="T17" fmla="*/ 974 h 2200"/>
                <a:gd name="T18" fmla="*/ 1701 w 1714"/>
                <a:gd name="T19" fmla="*/ 968 h 2200"/>
                <a:gd name="T20" fmla="*/ 1697 w 1714"/>
                <a:gd name="T21" fmla="*/ 962 h 2200"/>
                <a:gd name="T22" fmla="*/ 1695 w 1714"/>
                <a:gd name="T23" fmla="*/ 957 h 2200"/>
                <a:gd name="T24" fmla="*/ 1688 w 1714"/>
                <a:gd name="T25" fmla="*/ 947 h 2200"/>
                <a:gd name="T26" fmla="*/ 1683 w 1714"/>
                <a:gd name="T27" fmla="*/ 941 h 2200"/>
                <a:gd name="T28" fmla="*/ 1679 w 1714"/>
                <a:gd name="T29" fmla="*/ 936 h 2200"/>
                <a:gd name="T30" fmla="*/ 1677 w 1714"/>
                <a:gd name="T31" fmla="*/ 934 h 2200"/>
                <a:gd name="T32" fmla="*/ 1673 w 1714"/>
                <a:gd name="T33" fmla="*/ 930 h 2200"/>
                <a:gd name="T34" fmla="*/ 1668 w 1714"/>
                <a:gd name="T35" fmla="*/ 926 h 2200"/>
                <a:gd name="T36" fmla="*/ 1664 w 1714"/>
                <a:gd name="T37" fmla="*/ 923 h 2200"/>
                <a:gd name="T38" fmla="*/ 1661 w 1714"/>
                <a:gd name="T39" fmla="*/ 921 h 2200"/>
                <a:gd name="T40" fmla="*/ 1656 w 1714"/>
                <a:gd name="T41" fmla="*/ 917 h 2200"/>
                <a:gd name="T42" fmla="*/ 77 w 1714"/>
                <a:gd name="T43" fmla="*/ 6 h 2200"/>
                <a:gd name="T44" fmla="*/ 75 w 1714"/>
                <a:gd name="T45" fmla="*/ 5 h 2200"/>
                <a:gd name="T46" fmla="*/ 70 w 1714"/>
                <a:gd name="T47" fmla="*/ 3 h 2200"/>
                <a:gd name="T48" fmla="*/ 65 w 1714"/>
                <a:gd name="T49" fmla="*/ 2 h 2200"/>
                <a:gd name="T50" fmla="*/ 63 w 1714"/>
                <a:gd name="T51" fmla="*/ 1 h 2200"/>
                <a:gd name="T52" fmla="*/ 58 w 1714"/>
                <a:gd name="T53" fmla="*/ 0 h 2200"/>
                <a:gd name="T54" fmla="*/ 54 w 1714"/>
                <a:gd name="T55" fmla="*/ 0 h 2200"/>
                <a:gd name="T56" fmla="*/ 49 w 1714"/>
                <a:gd name="T57" fmla="*/ 1 h 2200"/>
                <a:gd name="T58" fmla="*/ 45 w 1714"/>
                <a:gd name="T59" fmla="*/ 2 h 2200"/>
                <a:gd name="T60" fmla="*/ 0 w 1714"/>
                <a:gd name="T61" fmla="*/ 28 h 2200"/>
                <a:gd name="T62" fmla="*/ 8 w 1714"/>
                <a:gd name="T63" fmla="*/ 24 h 2200"/>
                <a:gd name="T64" fmla="*/ 18 w 1714"/>
                <a:gd name="T65" fmla="*/ 24 h 2200"/>
                <a:gd name="T66" fmla="*/ 24 w 1714"/>
                <a:gd name="T67" fmla="*/ 25 h 2200"/>
                <a:gd name="T68" fmla="*/ 35 w 1714"/>
                <a:gd name="T69" fmla="*/ 29 h 2200"/>
                <a:gd name="T70" fmla="*/ 1616 w 1714"/>
                <a:gd name="T71" fmla="*/ 941 h 2200"/>
                <a:gd name="T72" fmla="*/ 1627 w 1714"/>
                <a:gd name="T73" fmla="*/ 949 h 2200"/>
                <a:gd name="T74" fmla="*/ 1633 w 1714"/>
                <a:gd name="T75" fmla="*/ 954 h 2200"/>
                <a:gd name="T76" fmla="*/ 1643 w 1714"/>
                <a:gd name="T77" fmla="*/ 965 h 2200"/>
                <a:gd name="T78" fmla="*/ 1654 w 1714"/>
                <a:gd name="T79" fmla="*/ 980 h 2200"/>
                <a:gd name="T80" fmla="*/ 1660 w 1714"/>
                <a:gd name="T81" fmla="*/ 991 h 2200"/>
                <a:gd name="T82" fmla="*/ 1664 w 1714"/>
                <a:gd name="T83" fmla="*/ 998 h 2200"/>
                <a:gd name="T84" fmla="*/ 1669 w 1714"/>
                <a:gd name="T85" fmla="*/ 1012 h 2200"/>
                <a:gd name="T86" fmla="*/ 1671 w 1714"/>
                <a:gd name="T87" fmla="*/ 1020 h 2200"/>
                <a:gd name="T88" fmla="*/ 1673 w 1714"/>
                <a:gd name="T89" fmla="*/ 1034 h 2200"/>
                <a:gd name="T90" fmla="*/ 1670 w 1714"/>
                <a:gd name="T91" fmla="*/ 2200 h 2200"/>
                <a:gd name="T92" fmla="*/ 1714 w 1714"/>
                <a:gd name="T93" fmla="*/ 1015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14" h="2200">
                  <a:moveTo>
                    <a:pt x="1714" y="1015"/>
                  </a:moveTo>
                  <a:cubicBezTo>
                    <a:pt x="1714" y="1014"/>
                    <a:pt x="1714" y="1013"/>
                    <a:pt x="1714" y="1012"/>
                  </a:cubicBezTo>
                  <a:cubicBezTo>
                    <a:pt x="1714" y="1012"/>
                    <a:pt x="1713" y="1011"/>
                    <a:pt x="1713" y="1011"/>
                  </a:cubicBezTo>
                  <a:cubicBezTo>
                    <a:pt x="1713" y="1010"/>
                    <a:pt x="1713" y="1010"/>
                    <a:pt x="1713" y="1010"/>
                  </a:cubicBezTo>
                  <a:cubicBezTo>
                    <a:pt x="1713" y="1009"/>
                    <a:pt x="1713" y="1009"/>
                    <a:pt x="1713" y="1009"/>
                  </a:cubicBezTo>
                  <a:cubicBezTo>
                    <a:pt x="1713" y="1008"/>
                    <a:pt x="1713" y="1007"/>
                    <a:pt x="1713" y="1006"/>
                  </a:cubicBezTo>
                  <a:cubicBezTo>
                    <a:pt x="1713" y="1005"/>
                    <a:pt x="1713" y="1005"/>
                    <a:pt x="1713" y="1004"/>
                  </a:cubicBezTo>
                  <a:cubicBezTo>
                    <a:pt x="1713" y="1003"/>
                    <a:pt x="1713" y="1003"/>
                    <a:pt x="1713" y="1003"/>
                  </a:cubicBezTo>
                  <a:cubicBezTo>
                    <a:pt x="1713" y="1003"/>
                    <a:pt x="1713" y="1003"/>
                    <a:pt x="1713" y="1003"/>
                  </a:cubicBezTo>
                  <a:cubicBezTo>
                    <a:pt x="1712" y="1002"/>
                    <a:pt x="1712" y="1002"/>
                    <a:pt x="1712" y="1001"/>
                  </a:cubicBezTo>
                  <a:cubicBezTo>
                    <a:pt x="1712" y="1000"/>
                    <a:pt x="1712" y="999"/>
                    <a:pt x="1711" y="998"/>
                  </a:cubicBezTo>
                  <a:cubicBezTo>
                    <a:pt x="1711" y="997"/>
                    <a:pt x="1711" y="997"/>
                    <a:pt x="1711" y="996"/>
                  </a:cubicBezTo>
                  <a:cubicBezTo>
                    <a:pt x="1711" y="996"/>
                    <a:pt x="1711" y="996"/>
                    <a:pt x="1711" y="996"/>
                  </a:cubicBezTo>
                  <a:cubicBezTo>
                    <a:pt x="1711" y="995"/>
                    <a:pt x="1711" y="995"/>
                    <a:pt x="1711" y="995"/>
                  </a:cubicBezTo>
                  <a:cubicBezTo>
                    <a:pt x="1711" y="994"/>
                    <a:pt x="1710" y="992"/>
                    <a:pt x="1710" y="991"/>
                  </a:cubicBezTo>
                  <a:cubicBezTo>
                    <a:pt x="1710" y="991"/>
                    <a:pt x="1710" y="990"/>
                    <a:pt x="1709" y="989"/>
                  </a:cubicBezTo>
                  <a:cubicBezTo>
                    <a:pt x="1709" y="989"/>
                    <a:pt x="1709" y="989"/>
                    <a:pt x="1709" y="989"/>
                  </a:cubicBezTo>
                  <a:cubicBezTo>
                    <a:pt x="1709" y="988"/>
                    <a:pt x="1709" y="988"/>
                    <a:pt x="1709" y="988"/>
                  </a:cubicBezTo>
                  <a:cubicBezTo>
                    <a:pt x="1709" y="987"/>
                    <a:pt x="1708" y="986"/>
                    <a:pt x="1708" y="985"/>
                  </a:cubicBezTo>
                  <a:cubicBezTo>
                    <a:pt x="1708" y="984"/>
                    <a:pt x="1707" y="983"/>
                    <a:pt x="1707" y="982"/>
                  </a:cubicBezTo>
                  <a:cubicBezTo>
                    <a:pt x="1707" y="982"/>
                    <a:pt x="1707" y="982"/>
                    <a:pt x="1707" y="982"/>
                  </a:cubicBezTo>
                  <a:cubicBezTo>
                    <a:pt x="1707" y="981"/>
                    <a:pt x="1707" y="981"/>
                    <a:pt x="1707" y="981"/>
                  </a:cubicBezTo>
                  <a:cubicBezTo>
                    <a:pt x="1706" y="981"/>
                    <a:pt x="1706" y="980"/>
                    <a:pt x="1706" y="980"/>
                  </a:cubicBezTo>
                  <a:cubicBezTo>
                    <a:pt x="1706" y="979"/>
                    <a:pt x="1705" y="978"/>
                    <a:pt x="1705" y="977"/>
                  </a:cubicBezTo>
                  <a:cubicBezTo>
                    <a:pt x="1705" y="976"/>
                    <a:pt x="1704" y="975"/>
                    <a:pt x="1704" y="975"/>
                  </a:cubicBezTo>
                  <a:cubicBezTo>
                    <a:pt x="1704" y="974"/>
                    <a:pt x="1704" y="974"/>
                    <a:pt x="1704" y="974"/>
                  </a:cubicBezTo>
                  <a:cubicBezTo>
                    <a:pt x="1704" y="974"/>
                    <a:pt x="1704" y="974"/>
                    <a:pt x="1704" y="974"/>
                  </a:cubicBezTo>
                  <a:cubicBezTo>
                    <a:pt x="1703" y="973"/>
                    <a:pt x="1703" y="972"/>
                    <a:pt x="1702" y="971"/>
                  </a:cubicBezTo>
                  <a:cubicBezTo>
                    <a:pt x="1702" y="970"/>
                    <a:pt x="1701" y="969"/>
                    <a:pt x="1701" y="968"/>
                  </a:cubicBezTo>
                  <a:cubicBezTo>
                    <a:pt x="1701" y="968"/>
                    <a:pt x="1701" y="968"/>
                    <a:pt x="1701" y="968"/>
                  </a:cubicBezTo>
                  <a:cubicBezTo>
                    <a:pt x="1700" y="967"/>
                    <a:pt x="1700" y="967"/>
                    <a:pt x="1700" y="967"/>
                  </a:cubicBezTo>
                  <a:cubicBezTo>
                    <a:pt x="1700" y="966"/>
                    <a:pt x="1700" y="965"/>
                    <a:pt x="1699" y="965"/>
                  </a:cubicBezTo>
                  <a:cubicBezTo>
                    <a:pt x="1699" y="964"/>
                    <a:pt x="1698" y="963"/>
                    <a:pt x="1697" y="962"/>
                  </a:cubicBezTo>
                  <a:cubicBezTo>
                    <a:pt x="1697" y="961"/>
                    <a:pt x="1697" y="961"/>
                    <a:pt x="1697" y="960"/>
                  </a:cubicBezTo>
                  <a:cubicBezTo>
                    <a:pt x="1696" y="960"/>
                    <a:pt x="1696" y="960"/>
                    <a:pt x="1696" y="960"/>
                  </a:cubicBezTo>
                  <a:cubicBezTo>
                    <a:pt x="1696" y="959"/>
                    <a:pt x="1695" y="958"/>
                    <a:pt x="1695" y="957"/>
                  </a:cubicBezTo>
                  <a:cubicBezTo>
                    <a:pt x="1694" y="956"/>
                    <a:pt x="1693" y="955"/>
                    <a:pt x="1692" y="953"/>
                  </a:cubicBezTo>
                  <a:cubicBezTo>
                    <a:pt x="1692" y="953"/>
                    <a:pt x="1692" y="953"/>
                    <a:pt x="1692" y="953"/>
                  </a:cubicBezTo>
                  <a:cubicBezTo>
                    <a:pt x="1691" y="951"/>
                    <a:pt x="1690" y="949"/>
                    <a:pt x="1688" y="947"/>
                  </a:cubicBezTo>
                  <a:cubicBezTo>
                    <a:pt x="1687" y="946"/>
                    <a:pt x="1687" y="945"/>
                    <a:pt x="1686" y="944"/>
                  </a:cubicBezTo>
                  <a:cubicBezTo>
                    <a:pt x="1685" y="943"/>
                    <a:pt x="1684" y="942"/>
                    <a:pt x="1684" y="941"/>
                  </a:cubicBezTo>
                  <a:cubicBezTo>
                    <a:pt x="1683" y="941"/>
                    <a:pt x="1683" y="941"/>
                    <a:pt x="1683" y="941"/>
                  </a:cubicBezTo>
                  <a:cubicBezTo>
                    <a:pt x="1683" y="941"/>
                    <a:pt x="1683" y="941"/>
                    <a:pt x="1683" y="941"/>
                  </a:cubicBezTo>
                  <a:cubicBezTo>
                    <a:pt x="1683" y="940"/>
                    <a:pt x="1682" y="940"/>
                    <a:pt x="1681" y="939"/>
                  </a:cubicBezTo>
                  <a:cubicBezTo>
                    <a:pt x="1680" y="938"/>
                    <a:pt x="1680" y="937"/>
                    <a:pt x="1679" y="936"/>
                  </a:cubicBezTo>
                  <a:cubicBezTo>
                    <a:pt x="1679" y="936"/>
                    <a:pt x="1679" y="936"/>
                    <a:pt x="1679" y="936"/>
                  </a:cubicBezTo>
                  <a:cubicBezTo>
                    <a:pt x="1678" y="935"/>
                    <a:pt x="1678" y="935"/>
                    <a:pt x="1678" y="935"/>
                  </a:cubicBezTo>
                  <a:cubicBezTo>
                    <a:pt x="1678" y="935"/>
                    <a:pt x="1677" y="934"/>
                    <a:pt x="1677" y="934"/>
                  </a:cubicBezTo>
                  <a:cubicBezTo>
                    <a:pt x="1676" y="933"/>
                    <a:pt x="1675" y="932"/>
                    <a:pt x="1674" y="931"/>
                  </a:cubicBezTo>
                  <a:cubicBezTo>
                    <a:pt x="1673" y="931"/>
                    <a:pt x="1673" y="931"/>
                    <a:pt x="1673" y="931"/>
                  </a:cubicBezTo>
                  <a:cubicBezTo>
                    <a:pt x="1673" y="930"/>
                    <a:pt x="1673" y="930"/>
                    <a:pt x="1673" y="930"/>
                  </a:cubicBezTo>
                  <a:cubicBezTo>
                    <a:pt x="1672" y="930"/>
                    <a:pt x="1672" y="929"/>
                    <a:pt x="1672" y="929"/>
                  </a:cubicBezTo>
                  <a:cubicBezTo>
                    <a:pt x="1671" y="928"/>
                    <a:pt x="1670" y="927"/>
                    <a:pt x="1669" y="927"/>
                  </a:cubicBezTo>
                  <a:cubicBezTo>
                    <a:pt x="1669" y="926"/>
                    <a:pt x="1668" y="926"/>
                    <a:pt x="1668" y="926"/>
                  </a:cubicBezTo>
                  <a:cubicBezTo>
                    <a:pt x="1667" y="925"/>
                    <a:pt x="1667" y="925"/>
                    <a:pt x="1667" y="925"/>
                  </a:cubicBezTo>
                  <a:cubicBezTo>
                    <a:pt x="1666" y="925"/>
                    <a:pt x="1666" y="925"/>
                    <a:pt x="1666" y="925"/>
                  </a:cubicBezTo>
                  <a:cubicBezTo>
                    <a:pt x="1666" y="924"/>
                    <a:pt x="1665" y="923"/>
                    <a:pt x="1664" y="923"/>
                  </a:cubicBezTo>
                  <a:cubicBezTo>
                    <a:pt x="1663" y="922"/>
                    <a:pt x="1663" y="922"/>
                    <a:pt x="1662" y="921"/>
                  </a:cubicBezTo>
                  <a:cubicBezTo>
                    <a:pt x="1662" y="921"/>
                    <a:pt x="1662" y="921"/>
                    <a:pt x="1662" y="921"/>
                  </a:cubicBezTo>
                  <a:cubicBezTo>
                    <a:pt x="1661" y="921"/>
                    <a:pt x="1661" y="921"/>
                    <a:pt x="1661" y="921"/>
                  </a:cubicBezTo>
                  <a:cubicBezTo>
                    <a:pt x="1661" y="920"/>
                    <a:pt x="1660" y="920"/>
                    <a:pt x="1659" y="919"/>
                  </a:cubicBezTo>
                  <a:cubicBezTo>
                    <a:pt x="1658" y="919"/>
                    <a:pt x="1657" y="918"/>
                    <a:pt x="1656" y="918"/>
                  </a:cubicBezTo>
                  <a:cubicBezTo>
                    <a:pt x="1656" y="917"/>
                    <a:pt x="1656" y="917"/>
                    <a:pt x="1656" y="917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1" y="8"/>
                    <a:pt x="80" y="8"/>
                    <a:pt x="79" y="7"/>
                  </a:cubicBezTo>
                  <a:cubicBezTo>
                    <a:pt x="79" y="7"/>
                    <a:pt x="78" y="6"/>
                    <a:pt x="77" y="6"/>
                  </a:cubicBezTo>
                  <a:cubicBezTo>
                    <a:pt x="77" y="6"/>
                    <a:pt x="76" y="6"/>
                    <a:pt x="76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4" y="5"/>
                    <a:pt x="73" y="4"/>
                    <a:pt x="72" y="4"/>
                  </a:cubicBezTo>
                  <a:cubicBezTo>
                    <a:pt x="72" y="4"/>
                    <a:pt x="71" y="3"/>
                    <a:pt x="70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9" y="3"/>
                    <a:pt x="68" y="2"/>
                    <a:pt x="68" y="2"/>
                  </a:cubicBezTo>
                  <a:cubicBezTo>
                    <a:pt x="67" y="2"/>
                    <a:pt x="66" y="2"/>
                    <a:pt x="65" y="2"/>
                  </a:cubicBezTo>
                  <a:cubicBezTo>
                    <a:pt x="65" y="2"/>
                    <a:pt x="65" y="1"/>
                    <a:pt x="64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1" y="1"/>
                    <a:pt x="60" y="1"/>
                  </a:cubicBezTo>
                  <a:cubicBezTo>
                    <a:pt x="60" y="1"/>
                    <a:pt x="59" y="1"/>
                    <a:pt x="59" y="1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0"/>
                    <a:pt x="55" y="0"/>
                  </a:cubicBezTo>
                  <a:cubicBezTo>
                    <a:pt x="55" y="0"/>
                    <a:pt x="54" y="0"/>
                    <a:pt x="5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1" y="1"/>
                    <a:pt x="50" y="1"/>
                    <a:pt x="49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7" y="1"/>
                    <a:pt x="46" y="2"/>
                    <a:pt x="45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3" y="3"/>
                    <a:pt x="41" y="3"/>
                    <a:pt x="40" y="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" y="27"/>
                    <a:pt x="3" y="26"/>
                    <a:pt x="4" y="26"/>
                  </a:cubicBezTo>
                  <a:cubicBezTo>
                    <a:pt x="5" y="25"/>
                    <a:pt x="6" y="25"/>
                    <a:pt x="8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10" y="24"/>
                    <a:pt x="11" y="24"/>
                    <a:pt x="13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5" y="24"/>
                    <a:pt x="17" y="24"/>
                    <a:pt x="1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0" y="24"/>
                    <a:pt x="22" y="24"/>
                    <a:pt x="23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6" y="25"/>
                    <a:pt x="27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1" y="27"/>
                    <a:pt x="33" y="28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7" y="30"/>
                    <a:pt x="39" y="31"/>
                    <a:pt x="41" y="32"/>
                  </a:cubicBezTo>
                  <a:cubicBezTo>
                    <a:pt x="1616" y="941"/>
                    <a:pt x="1616" y="941"/>
                    <a:pt x="1616" y="941"/>
                  </a:cubicBezTo>
                  <a:cubicBezTo>
                    <a:pt x="1617" y="942"/>
                    <a:pt x="1619" y="943"/>
                    <a:pt x="1621" y="944"/>
                  </a:cubicBezTo>
                  <a:cubicBezTo>
                    <a:pt x="1622" y="945"/>
                    <a:pt x="1622" y="945"/>
                    <a:pt x="1622" y="945"/>
                  </a:cubicBezTo>
                  <a:cubicBezTo>
                    <a:pt x="1623" y="946"/>
                    <a:pt x="1625" y="947"/>
                    <a:pt x="1627" y="949"/>
                  </a:cubicBezTo>
                  <a:cubicBezTo>
                    <a:pt x="1628" y="949"/>
                    <a:pt x="1628" y="949"/>
                    <a:pt x="1628" y="949"/>
                  </a:cubicBezTo>
                  <a:cubicBezTo>
                    <a:pt x="1629" y="951"/>
                    <a:pt x="1631" y="952"/>
                    <a:pt x="1632" y="953"/>
                  </a:cubicBezTo>
                  <a:cubicBezTo>
                    <a:pt x="1633" y="954"/>
                    <a:pt x="1633" y="954"/>
                    <a:pt x="1633" y="954"/>
                  </a:cubicBezTo>
                  <a:cubicBezTo>
                    <a:pt x="1635" y="956"/>
                    <a:pt x="1636" y="957"/>
                    <a:pt x="1638" y="959"/>
                  </a:cubicBezTo>
                  <a:cubicBezTo>
                    <a:pt x="1638" y="959"/>
                    <a:pt x="1638" y="959"/>
                    <a:pt x="1638" y="959"/>
                  </a:cubicBezTo>
                  <a:cubicBezTo>
                    <a:pt x="1640" y="961"/>
                    <a:pt x="1642" y="963"/>
                    <a:pt x="1643" y="965"/>
                  </a:cubicBezTo>
                  <a:cubicBezTo>
                    <a:pt x="1643" y="965"/>
                    <a:pt x="1643" y="965"/>
                    <a:pt x="1643" y="965"/>
                  </a:cubicBezTo>
                  <a:cubicBezTo>
                    <a:pt x="1646" y="969"/>
                    <a:pt x="1649" y="973"/>
                    <a:pt x="1652" y="977"/>
                  </a:cubicBezTo>
                  <a:cubicBezTo>
                    <a:pt x="1653" y="978"/>
                    <a:pt x="1654" y="979"/>
                    <a:pt x="1654" y="980"/>
                  </a:cubicBezTo>
                  <a:cubicBezTo>
                    <a:pt x="1655" y="982"/>
                    <a:pt x="1656" y="983"/>
                    <a:pt x="1656" y="984"/>
                  </a:cubicBezTo>
                  <a:cubicBezTo>
                    <a:pt x="1657" y="984"/>
                    <a:pt x="1657" y="985"/>
                    <a:pt x="1657" y="985"/>
                  </a:cubicBezTo>
                  <a:cubicBezTo>
                    <a:pt x="1658" y="987"/>
                    <a:pt x="1659" y="989"/>
                    <a:pt x="1660" y="991"/>
                  </a:cubicBezTo>
                  <a:cubicBezTo>
                    <a:pt x="1660" y="991"/>
                    <a:pt x="1660" y="991"/>
                    <a:pt x="1660" y="991"/>
                  </a:cubicBezTo>
                  <a:cubicBezTo>
                    <a:pt x="1661" y="993"/>
                    <a:pt x="1663" y="996"/>
                    <a:pt x="1663" y="998"/>
                  </a:cubicBezTo>
                  <a:cubicBezTo>
                    <a:pt x="1664" y="998"/>
                    <a:pt x="1664" y="998"/>
                    <a:pt x="1664" y="998"/>
                  </a:cubicBezTo>
                  <a:cubicBezTo>
                    <a:pt x="1665" y="1000"/>
                    <a:pt x="1666" y="1003"/>
                    <a:pt x="1666" y="1005"/>
                  </a:cubicBezTo>
                  <a:cubicBezTo>
                    <a:pt x="1667" y="1005"/>
                    <a:pt x="1667" y="1005"/>
                    <a:pt x="1667" y="1005"/>
                  </a:cubicBezTo>
                  <a:cubicBezTo>
                    <a:pt x="1667" y="1008"/>
                    <a:pt x="1668" y="1010"/>
                    <a:pt x="1669" y="1012"/>
                  </a:cubicBezTo>
                  <a:cubicBezTo>
                    <a:pt x="1669" y="1013"/>
                    <a:pt x="1669" y="1013"/>
                    <a:pt x="1669" y="1013"/>
                  </a:cubicBezTo>
                  <a:cubicBezTo>
                    <a:pt x="1670" y="1015"/>
                    <a:pt x="1670" y="1017"/>
                    <a:pt x="1671" y="1019"/>
                  </a:cubicBezTo>
                  <a:cubicBezTo>
                    <a:pt x="1671" y="1020"/>
                    <a:pt x="1671" y="1020"/>
                    <a:pt x="1671" y="1020"/>
                  </a:cubicBezTo>
                  <a:cubicBezTo>
                    <a:pt x="1671" y="1022"/>
                    <a:pt x="1672" y="1025"/>
                    <a:pt x="1672" y="1027"/>
                  </a:cubicBezTo>
                  <a:cubicBezTo>
                    <a:pt x="1672" y="1027"/>
                    <a:pt x="1672" y="1027"/>
                    <a:pt x="1672" y="1027"/>
                  </a:cubicBezTo>
                  <a:cubicBezTo>
                    <a:pt x="1673" y="1029"/>
                    <a:pt x="1673" y="1031"/>
                    <a:pt x="1673" y="1034"/>
                  </a:cubicBezTo>
                  <a:cubicBezTo>
                    <a:pt x="1673" y="1034"/>
                    <a:pt x="1673" y="1034"/>
                    <a:pt x="1673" y="1034"/>
                  </a:cubicBezTo>
                  <a:cubicBezTo>
                    <a:pt x="1673" y="1037"/>
                    <a:pt x="1673" y="1039"/>
                    <a:pt x="1673" y="1041"/>
                  </a:cubicBezTo>
                  <a:cubicBezTo>
                    <a:pt x="1670" y="2200"/>
                    <a:pt x="1670" y="2200"/>
                    <a:pt x="1670" y="2200"/>
                  </a:cubicBezTo>
                  <a:cubicBezTo>
                    <a:pt x="1710" y="2177"/>
                    <a:pt x="1710" y="2177"/>
                    <a:pt x="1710" y="2177"/>
                  </a:cubicBezTo>
                  <a:cubicBezTo>
                    <a:pt x="1714" y="1018"/>
                    <a:pt x="1714" y="1018"/>
                    <a:pt x="1714" y="1018"/>
                  </a:cubicBezTo>
                  <a:cubicBezTo>
                    <a:pt x="1714" y="1017"/>
                    <a:pt x="1714" y="1016"/>
                    <a:pt x="1714" y="1015"/>
                  </a:cubicBezTo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4" name="Freeform 39">
              <a:extLst>
                <a:ext uri="{FF2B5EF4-FFF2-40B4-BE49-F238E27FC236}">
                  <a16:creationId xmlns:a16="http://schemas.microsoft.com/office/drawing/2014/main" id="{82118849-589A-48F0-9F5C-BB6E2F94AE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4463" y="1345626"/>
              <a:ext cx="2689225" cy="3467100"/>
            </a:xfrm>
            <a:custGeom>
              <a:avLst/>
              <a:gdLst>
                <a:gd name="T0" fmla="*/ 1637 w 1694"/>
                <a:gd name="T1" fmla="*/ 928 h 2187"/>
                <a:gd name="T2" fmla="*/ 1694 w 1694"/>
                <a:gd name="T3" fmla="*/ 1028 h 2187"/>
                <a:gd name="T4" fmla="*/ 1691 w 1694"/>
                <a:gd name="T5" fmla="*/ 2187 h 2187"/>
                <a:gd name="T6" fmla="*/ 0 w 1694"/>
                <a:gd name="T7" fmla="*/ 1211 h 2187"/>
                <a:gd name="T8" fmla="*/ 4 w 1694"/>
                <a:gd name="T9" fmla="*/ 52 h 2187"/>
                <a:gd name="T10" fmla="*/ 62 w 1694"/>
                <a:gd name="T11" fmla="*/ 19 h 2187"/>
                <a:gd name="T12" fmla="*/ 1637 w 1694"/>
                <a:gd name="T13" fmla="*/ 928 h 2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4" h="2187">
                  <a:moveTo>
                    <a:pt x="1637" y="928"/>
                  </a:moveTo>
                  <a:cubicBezTo>
                    <a:pt x="1669" y="946"/>
                    <a:pt x="1694" y="991"/>
                    <a:pt x="1694" y="1028"/>
                  </a:cubicBezTo>
                  <a:cubicBezTo>
                    <a:pt x="1691" y="2187"/>
                    <a:pt x="1691" y="2187"/>
                    <a:pt x="1691" y="2187"/>
                  </a:cubicBezTo>
                  <a:cubicBezTo>
                    <a:pt x="0" y="1211"/>
                    <a:pt x="0" y="1211"/>
                    <a:pt x="0" y="1211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15"/>
                    <a:pt x="30" y="0"/>
                    <a:pt x="62" y="19"/>
                  </a:cubicBezTo>
                  <a:cubicBezTo>
                    <a:pt x="1637" y="928"/>
                    <a:pt x="1637" y="928"/>
                    <a:pt x="1637" y="928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5" name="Freeform 40">
              <a:extLst>
                <a:ext uri="{FF2B5EF4-FFF2-40B4-BE49-F238E27FC236}">
                  <a16:creationId xmlns:a16="http://schemas.microsoft.com/office/drawing/2014/main" id="{5EF9AD0B-08A4-45A5-8022-D877F8BC97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77276" y="4807964"/>
              <a:ext cx="1774825" cy="1017588"/>
            </a:xfrm>
            <a:custGeom>
              <a:avLst/>
              <a:gdLst>
                <a:gd name="T0" fmla="*/ 108 w 1118"/>
                <a:gd name="T1" fmla="*/ 586 h 642"/>
                <a:gd name="T2" fmla="*/ 99 w 1118"/>
                <a:gd name="T3" fmla="*/ 589 h 642"/>
                <a:gd name="T4" fmla="*/ 93 w 1118"/>
                <a:gd name="T5" fmla="*/ 591 h 642"/>
                <a:gd name="T6" fmla="*/ 85 w 1118"/>
                <a:gd name="T7" fmla="*/ 593 h 642"/>
                <a:gd name="T8" fmla="*/ 73 w 1118"/>
                <a:gd name="T9" fmla="*/ 595 h 642"/>
                <a:gd name="T10" fmla="*/ 64 w 1118"/>
                <a:gd name="T11" fmla="*/ 596 h 642"/>
                <a:gd name="T12" fmla="*/ 56 w 1118"/>
                <a:gd name="T13" fmla="*/ 596 h 642"/>
                <a:gd name="T14" fmla="*/ 48 w 1118"/>
                <a:gd name="T15" fmla="*/ 595 h 642"/>
                <a:gd name="T16" fmla="*/ 40 w 1118"/>
                <a:gd name="T17" fmla="*/ 595 h 642"/>
                <a:gd name="T18" fmla="*/ 32 w 1118"/>
                <a:gd name="T19" fmla="*/ 593 h 642"/>
                <a:gd name="T20" fmla="*/ 24 w 1118"/>
                <a:gd name="T21" fmla="*/ 591 h 642"/>
                <a:gd name="T22" fmla="*/ 12 w 1118"/>
                <a:gd name="T23" fmla="*/ 588 h 642"/>
                <a:gd name="T24" fmla="*/ 0 w 1118"/>
                <a:gd name="T25" fmla="*/ 582 h 642"/>
                <a:gd name="T26" fmla="*/ 11 w 1118"/>
                <a:gd name="T27" fmla="*/ 634 h 642"/>
                <a:gd name="T28" fmla="*/ 12 w 1118"/>
                <a:gd name="T29" fmla="*/ 634 h 642"/>
                <a:gd name="T30" fmla="*/ 22 w 1118"/>
                <a:gd name="T31" fmla="*/ 638 h 642"/>
                <a:gd name="T32" fmla="*/ 29 w 1118"/>
                <a:gd name="T33" fmla="*/ 639 h 642"/>
                <a:gd name="T34" fmla="*/ 32 w 1118"/>
                <a:gd name="T35" fmla="*/ 640 h 642"/>
                <a:gd name="T36" fmla="*/ 38 w 1118"/>
                <a:gd name="T37" fmla="*/ 641 h 642"/>
                <a:gd name="T38" fmla="*/ 44 w 1118"/>
                <a:gd name="T39" fmla="*/ 642 h 642"/>
                <a:gd name="T40" fmla="*/ 48 w 1118"/>
                <a:gd name="T41" fmla="*/ 642 h 642"/>
                <a:gd name="T42" fmla="*/ 54 w 1118"/>
                <a:gd name="T43" fmla="*/ 642 h 642"/>
                <a:gd name="T44" fmla="*/ 60 w 1118"/>
                <a:gd name="T45" fmla="*/ 642 h 642"/>
                <a:gd name="T46" fmla="*/ 64 w 1118"/>
                <a:gd name="T47" fmla="*/ 642 h 642"/>
                <a:gd name="T48" fmla="*/ 72 w 1118"/>
                <a:gd name="T49" fmla="*/ 642 h 642"/>
                <a:gd name="T50" fmla="*/ 82 w 1118"/>
                <a:gd name="T51" fmla="*/ 640 h 642"/>
                <a:gd name="T52" fmla="*/ 85 w 1118"/>
                <a:gd name="T53" fmla="*/ 640 h 642"/>
                <a:gd name="T54" fmla="*/ 93 w 1118"/>
                <a:gd name="T55" fmla="*/ 638 h 642"/>
                <a:gd name="T56" fmla="*/ 98 w 1118"/>
                <a:gd name="T57" fmla="*/ 636 h 642"/>
                <a:gd name="T58" fmla="*/ 106 w 1118"/>
                <a:gd name="T59" fmla="*/ 633 h 642"/>
                <a:gd name="T60" fmla="*/ 116 w 1118"/>
                <a:gd name="T61" fmla="*/ 629 h 642"/>
                <a:gd name="T62" fmla="*/ 1118 w 1118"/>
                <a:gd name="T63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18" h="642">
                  <a:moveTo>
                    <a:pt x="116" y="582"/>
                  </a:moveTo>
                  <a:cubicBezTo>
                    <a:pt x="113" y="583"/>
                    <a:pt x="111" y="585"/>
                    <a:pt x="108" y="586"/>
                  </a:cubicBezTo>
                  <a:cubicBezTo>
                    <a:pt x="107" y="586"/>
                    <a:pt x="106" y="586"/>
                    <a:pt x="106" y="587"/>
                  </a:cubicBezTo>
                  <a:cubicBezTo>
                    <a:pt x="104" y="588"/>
                    <a:pt x="101" y="588"/>
                    <a:pt x="99" y="589"/>
                  </a:cubicBezTo>
                  <a:cubicBezTo>
                    <a:pt x="98" y="589"/>
                    <a:pt x="98" y="590"/>
                    <a:pt x="97" y="590"/>
                  </a:cubicBezTo>
                  <a:cubicBezTo>
                    <a:pt x="96" y="590"/>
                    <a:pt x="94" y="591"/>
                    <a:pt x="93" y="591"/>
                  </a:cubicBezTo>
                  <a:cubicBezTo>
                    <a:pt x="92" y="592"/>
                    <a:pt x="91" y="592"/>
                    <a:pt x="90" y="592"/>
                  </a:cubicBezTo>
                  <a:cubicBezTo>
                    <a:pt x="88" y="592"/>
                    <a:pt x="86" y="593"/>
                    <a:pt x="85" y="593"/>
                  </a:cubicBezTo>
                  <a:cubicBezTo>
                    <a:pt x="84" y="593"/>
                    <a:pt x="83" y="594"/>
                    <a:pt x="82" y="594"/>
                  </a:cubicBezTo>
                  <a:cubicBezTo>
                    <a:pt x="79" y="594"/>
                    <a:pt x="76" y="595"/>
                    <a:pt x="73" y="595"/>
                  </a:cubicBezTo>
                  <a:cubicBezTo>
                    <a:pt x="72" y="595"/>
                    <a:pt x="71" y="595"/>
                    <a:pt x="70" y="595"/>
                  </a:cubicBezTo>
                  <a:cubicBezTo>
                    <a:pt x="68" y="595"/>
                    <a:pt x="66" y="596"/>
                    <a:pt x="64" y="596"/>
                  </a:cubicBezTo>
                  <a:cubicBezTo>
                    <a:pt x="63" y="596"/>
                    <a:pt x="62" y="596"/>
                    <a:pt x="61" y="596"/>
                  </a:cubicBezTo>
                  <a:cubicBezTo>
                    <a:pt x="59" y="596"/>
                    <a:pt x="58" y="596"/>
                    <a:pt x="56" y="596"/>
                  </a:cubicBezTo>
                  <a:cubicBezTo>
                    <a:pt x="55" y="596"/>
                    <a:pt x="54" y="596"/>
                    <a:pt x="52" y="596"/>
                  </a:cubicBezTo>
                  <a:cubicBezTo>
                    <a:pt x="51" y="596"/>
                    <a:pt x="50" y="595"/>
                    <a:pt x="48" y="595"/>
                  </a:cubicBezTo>
                  <a:cubicBezTo>
                    <a:pt x="47" y="595"/>
                    <a:pt x="46" y="595"/>
                    <a:pt x="44" y="595"/>
                  </a:cubicBezTo>
                  <a:cubicBezTo>
                    <a:pt x="43" y="595"/>
                    <a:pt x="42" y="595"/>
                    <a:pt x="40" y="595"/>
                  </a:cubicBezTo>
                  <a:cubicBezTo>
                    <a:pt x="39" y="594"/>
                    <a:pt x="38" y="594"/>
                    <a:pt x="37" y="594"/>
                  </a:cubicBezTo>
                  <a:cubicBezTo>
                    <a:pt x="35" y="594"/>
                    <a:pt x="34" y="594"/>
                    <a:pt x="32" y="593"/>
                  </a:cubicBezTo>
                  <a:cubicBezTo>
                    <a:pt x="31" y="593"/>
                    <a:pt x="30" y="593"/>
                    <a:pt x="29" y="593"/>
                  </a:cubicBezTo>
                  <a:cubicBezTo>
                    <a:pt x="27" y="592"/>
                    <a:pt x="26" y="592"/>
                    <a:pt x="24" y="591"/>
                  </a:cubicBezTo>
                  <a:cubicBezTo>
                    <a:pt x="23" y="591"/>
                    <a:pt x="22" y="591"/>
                    <a:pt x="21" y="591"/>
                  </a:cubicBezTo>
                  <a:cubicBezTo>
                    <a:pt x="18" y="590"/>
                    <a:pt x="15" y="589"/>
                    <a:pt x="12" y="588"/>
                  </a:cubicBezTo>
                  <a:cubicBezTo>
                    <a:pt x="12" y="588"/>
                    <a:pt x="11" y="587"/>
                    <a:pt x="11" y="587"/>
                  </a:cubicBezTo>
                  <a:cubicBezTo>
                    <a:pt x="7" y="586"/>
                    <a:pt x="4" y="584"/>
                    <a:pt x="0" y="582"/>
                  </a:cubicBezTo>
                  <a:cubicBezTo>
                    <a:pt x="0" y="629"/>
                    <a:pt x="0" y="629"/>
                    <a:pt x="0" y="629"/>
                  </a:cubicBezTo>
                  <a:cubicBezTo>
                    <a:pt x="3" y="631"/>
                    <a:pt x="7" y="632"/>
                    <a:pt x="11" y="634"/>
                  </a:cubicBezTo>
                  <a:cubicBezTo>
                    <a:pt x="12" y="634"/>
                    <a:pt x="12" y="634"/>
                    <a:pt x="12" y="634"/>
                  </a:cubicBezTo>
                  <a:cubicBezTo>
                    <a:pt x="12" y="634"/>
                    <a:pt x="12" y="634"/>
                    <a:pt x="12" y="634"/>
                  </a:cubicBezTo>
                  <a:cubicBezTo>
                    <a:pt x="15" y="635"/>
                    <a:pt x="18" y="636"/>
                    <a:pt x="21" y="637"/>
                  </a:cubicBezTo>
                  <a:cubicBezTo>
                    <a:pt x="22" y="638"/>
                    <a:pt x="22" y="638"/>
                    <a:pt x="22" y="638"/>
                  </a:cubicBezTo>
                  <a:cubicBezTo>
                    <a:pt x="22" y="638"/>
                    <a:pt x="23" y="638"/>
                    <a:pt x="24" y="638"/>
                  </a:cubicBezTo>
                  <a:cubicBezTo>
                    <a:pt x="25" y="639"/>
                    <a:pt x="27" y="639"/>
                    <a:pt x="29" y="639"/>
                  </a:cubicBezTo>
                  <a:cubicBezTo>
                    <a:pt x="29" y="639"/>
                    <a:pt x="30" y="640"/>
                    <a:pt x="30" y="640"/>
                  </a:cubicBezTo>
                  <a:cubicBezTo>
                    <a:pt x="31" y="640"/>
                    <a:pt x="32" y="640"/>
                    <a:pt x="32" y="640"/>
                  </a:cubicBezTo>
                  <a:cubicBezTo>
                    <a:pt x="34" y="640"/>
                    <a:pt x="35" y="641"/>
                    <a:pt x="37" y="641"/>
                  </a:cubicBezTo>
                  <a:cubicBezTo>
                    <a:pt x="37" y="641"/>
                    <a:pt x="38" y="641"/>
                    <a:pt x="38" y="641"/>
                  </a:cubicBezTo>
                  <a:cubicBezTo>
                    <a:pt x="39" y="641"/>
                    <a:pt x="40" y="641"/>
                    <a:pt x="40" y="641"/>
                  </a:cubicBezTo>
                  <a:cubicBezTo>
                    <a:pt x="42" y="641"/>
                    <a:pt x="43" y="642"/>
                    <a:pt x="44" y="642"/>
                  </a:cubicBezTo>
                  <a:cubicBezTo>
                    <a:pt x="45" y="642"/>
                    <a:pt x="46" y="642"/>
                    <a:pt x="46" y="642"/>
                  </a:cubicBezTo>
                  <a:cubicBezTo>
                    <a:pt x="47" y="642"/>
                    <a:pt x="47" y="642"/>
                    <a:pt x="48" y="642"/>
                  </a:cubicBezTo>
                  <a:cubicBezTo>
                    <a:pt x="49" y="642"/>
                    <a:pt x="51" y="642"/>
                    <a:pt x="52" y="642"/>
                  </a:cubicBezTo>
                  <a:cubicBezTo>
                    <a:pt x="53" y="642"/>
                    <a:pt x="54" y="642"/>
                    <a:pt x="54" y="642"/>
                  </a:cubicBezTo>
                  <a:cubicBezTo>
                    <a:pt x="55" y="642"/>
                    <a:pt x="55" y="642"/>
                    <a:pt x="56" y="642"/>
                  </a:cubicBezTo>
                  <a:cubicBezTo>
                    <a:pt x="57" y="642"/>
                    <a:pt x="59" y="642"/>
                    <a:pt x="60" y="642"/>
                  </a:cubicBezTo>
                  <a:cubicBezTo>
                    <a:pt x="61" y="642"/>
                    <a:pt x="62" y="642"/>
                    <a:pt x="63" y="642"/>
                  </a:cubicBezTo>
                  <a:cubicBezTo>
                    <a:pt x="63" y="642"/>
                    <a:pt x="64" y="642"/>
                    <a:pt x="64" y="642"/>
                  </a:cubicBezTo>
                  <a:cubicBezTo>
                    <a:pt x="66" y="642"/>
                    <a:pt x="68" y="642"/>
                    <a:pt x="70" y="642"/>
                  </a:cubicBezTo>
                  <a:cubicBezTo>
                    <a:pt x="70" y="642"/>
                    <a:pt x="71" y="642"/>
                    <a:pt x="72" y="642"/>
                  </a:cubicBezTo>
                  <a:cubicBezTo>
                    <a:pt x="72" y="642"/>
                    <a:pt x="72" y="642"/>
                    <a:pt x="72" y="642"/>
                  </a:cubicBezTo>
                  <a:cubicBezTo>
                    <a:pt x="76" y="641"/>
                    <a:pt x="79" y="641"/>
                    <a:pt x="82" y="640"/>
                  </a:cubicBezTo>
                  <a:cubicBezTo>
                    <a:pt x="82" y="640"/>
                    <a:pt x="82" y="640"/>
                    <a:pt x="82" y="640"/>
                  </a:cubicBezTo>
                  <a:cubicBezTo>
                    <a:pt x="83" y="640"/>
                    <a:pt x="84" y="640"/>
                    <a:pt x="85" y="640"/>
                  </a:cubicBezTo>
                  <a:cubicBezTo>
                    <a:pt x="86" y="639"/>
                    <a:pt x="88" y="639"/>
                    <a:pt x="89" y="639"/>
                  </a:cubicBezTo>
                  <a:cubicBezTo>
                    <a:pt x="90" y="639"/>
                    <a:pt x="92" y="638"/>
                    <a:pt x="93" y="638"/>
                  </a:cubicBezTo>
                  <a:cubicBezTo>
                    <a:pt x="94" y="638"/>
                    <a:pt x="95" y="637"/>
                    <a:pt x="97" y="637"/>
                  </a:cubicBezTo>
                  <a:cubicBezTo>
                    <a:pt x="98" y="636"/>
                    <a:pt x="98" y="636"/>
                    <a:pt x="98" y="636"/>
                  </a:cubicBezTo>
                  <a:cubicBezTo>
                    <a:pt x="98" y="636"/>
                    <a:pt x="99" y="636"/>
                    <a:pt x="99" y="636"/>
                  </a:cubicBezTo>
                  <a:cubicBezTo>
                    <a:pt x="101" y="635"/>
                    <a:pt x="103" y="634"/>
                    <a:pt x="106" y="633"/>
                  </a:cubicBezTo>
                  <a:cubicBezTo>
                    <a:pt x="106" y="633"/>
                    <a:pt x="107" y="633"/>
                    <a:pt x="108" y="632"/>
                  </a:cubicBezTo>
                  <a:cubicBezTo>
                    <a:pt x="111" y="631"/>
                    <a:pt x="113" y="630"/>
                    <a:pt x="116" y="629"/>
                  </a:cubicBezTo>
                  <a:cubicBezTo>
                    <a:pt x="1118" y="46"/>
                    <a:pt x="1118" y="46"/>
                    <a:pt x="1118" y="46"/>
                  </a:cubicBezTo>
                  <a:cubicBezTo>
                    <a:pt x="1118" y="0"/>
                    <a:pt x="1118" y="0"/>
                    <a:pt x="1118" y="0"/>
                  </a:cubicBezTo>
                  <a:lnTo>
                    <a:pt x="116" y="582"/>
                  </a:lnTo>
                  <a:close/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6" name="Freeform 41">
              <a:extLst>
                <a:ext uri="{FF2B5EF4-FFF2-40B4-BE49-F238E27FC236}">
                  <a16:creationId xmlns:a16="http://schemas.microsoft.com/office/drawing/2014/main" id="{26F55328-7CDB-4770-807A-DD3F717461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38863" y="4234876"/>
              <a:ext cx="2538413" cy="1570038"/>
            </a:xfrm>
            <a:custGeom>
              <a:avLst/>
              <a:gdLst>
                <a:gd name="T0" fmla="*/ 0 w 1599"/>
                <a:gd name="T1" fmla="*/ 0 h 990"/>
                <a:gd name="T2" fmla="*/ 0 w 1599"/>
                <a:gd name="T3" fmla="*/ 47 h 990"/>
                <a:gd name="T4" fmla="*/ 24 w 1599"/>
                <a:gd name="T5" fmla="*/ 81 h 990"/>
                <a:gd name="T6" fmla="*/ 1599 w 1599"/>
                <a:gd name="T7" fmla="*/ 990 h 990"/>
                <a:gd name="T8" fmla="*/ 1599 w 1599"/>
                <a:gd name="T9" fmla="*/ 943 h 990"/>
                <a:gd name="T10" fmla="*/ 24 w 1599"/>
                <a:gd name="T11" fmla="*/ 34 h 990"/>
                <a:gd name="T12" fmla="*/ 0 w 1599"/>
                <a:gd name="T13" fmla="*/ 0 h 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9" h="990">
                  <a:moveTo>
                    <a:pt x="0" y="0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59"/>
                    <a:pt x="8" y="71"/>
                    <a:pt x="24" y="81"/>
                  </a:cubicBezTo>
                  <a:cubicBezTo>
                    <a:pt x="1599" y="990"/>
                    <a:pt x="1599" y="990"/>
                    <a:pt x="1599" y="990"/>
                  </a:cubicBezTo>
                  <a:cubicBezTo>
                    <a:pt x="1599" y="943"/>
                    <a:pt x="1599" y="943"/>
                    <a:pt x="1599" y="943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8" y="25"/>
                    <a:pt x="0" y="12"/>
                    <a:pt x="0" y="0"/>
                  </a:cubicBezTo>
                  <a:close/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7" name="Freeform 42">
              <a:extLst>
                <a:ext uri="{FF2B5EF4-FFF2-40B4-BE49-F238E27FC236}">
                  <a16:creationId xmlns:a16="http://schemas.microsoft.com/office/drawing/2014/main" id="{B9B810EC-06C8-4D5E-B076-E28DC90E72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6163" y="3258564"/>
              <a:ext cx="4325938" cy="2500313"/>
            </a:xfrm>
            <a:custGeom>
              <a:avLst/>
              <a:gdLst>
                <a:gd name="T0" fmla="*/ 2725 w 2725"/>
                <a:gd name="T1" fmla="*/ 977 h 1577"/>
                <a:gd name="T2" fmla="*/ 1723 w 2725"/>
                <a:gd name="T3" fmla="*/ 1559 h 1577"/>
                <a:gd name="T4" fmla="*/ 1607 w 2725"/>
                <a:gd name="T5" fmla="*/ 1559 h 1577"/>
                <a:gd name="T6" fmla="*/ 32 w 2725"/>
                <a:gd name="T7" fmla="*/ 650 h 1577"/>
                <a:gd name="T8" fmla="*/ 32 w 2725"/>
                <a:gd name="T9" fmla="*/ 583 h 1577"/>
                <a:gd name="T10" fmla="*/ 1034 w 2725"/>
                <a:gd name="T11" fmla="*/ 0 h 1577"/>
                <a:gd name="T12" fmla="*/ 2725 w 2725"/>
                <a:gd name="T13" fmla="*/ 977 h 1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5" h="1577">
                  <a:moveTo>
                    <a:pt x="2725" y="977"/>
                  </a:moveTo>
                  <a:cubicBezTo>
                    <a:pt x="1723" y="1559"/>
                    <a:pt x="1723" y="1559"/>
                    <a:pt x="1723" y="1559"/>
                  </a:cubicBezTo>
                  <a:cubicBezTo>
                    <a:pt x="1691" y="1577"/>
                    <a:pt x="1639" y="1577"/>
                    <a:pt x="1607" y="1559"/>
                  </a:cubicBezTo>
                  <a:cubicBezTo>
                    <a:pt x="32" y="650"/>
                    <a:pt x="32" y="650"/>
                    <a:pt x="32" y="650"/>
                  </a:cubicBezTo>
                  <a:cubicBezTo>
                    <a:pt x="0" y="631"/>
                    <a:pt x="0" y="601"/>
                    <a:pt x="32" y="583"/>
                  </a:cubicBezTo>
                  <a:cubicBezTo>
                    <a:pt x="1034" y="0"/>
                    <a:pt x="1034" y="0"/>
                    <a:pt x="1034" y="0"/>
                  </a:cubicBezTo>
                  <a:lnTo>
                    <a:pt x="2725" y="977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4" name="Freeform 43">
              <a:extLst>
                <a:ext uri="{FF2B5EF4-FFF2-40B4-BE49-F238E27FC236}">
                  <a16:creationId xmlns:a16="http://schemas.microsoft.com/office/drawing/2014/main" id="{1D75E3DB-BA68-4E4A-8BC9-14FBAB995B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77026" y="3414139"/>
              <a:ext cx="3430588" cy="1981200"/>
            </a:xfrm>
            <a:custGeom>
              <a:avLst/>
              <a:gdLst>
                <a:gd name="T0" fmla="*/ 2161 w 2161"/>
                <a:gd name="T1" fmla="*/ 854 h 1248"/>
                <a:gd name="T2" fmla="*/ 1481 w 2161"/>
                <a:gd name="T3" fmla="*/ 1248 h 1248"/>
                <a:gd name="T4" fmla="*/ 0 w 2161"/>
                <a:gd name="T5" fmla="*/ 394 h 1248"/>
                <a:gd name="T6" fmla="*/ 680 w 2161"/>
                <a:gd name="T7" fmla="*/ 0 h 1248"/>
                <a:gd name="T8" fmla="*/ 2161 w 2161"/>
                <a:gd name="T9" fmla="*/ 854 h 1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1" h="1248">
                  <a:moveTo>
                    <a:pt x="2161" y="854"/>
                  </a:moveTo>
                  <a:lnTo>
                    <a:pt x="1481" y="1248"/>
                  </a:lnTo>
                  <a:lnTo>
                    <a:pt x="0" y="394"/>
                  </a:lnTo>
                  <a:lnTo>
                    <a:pt x="680" y="0"/>
                  </a:lnTo>
                  <a:lnTo>
                    <a:pt x="2161" y="854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5" name="Freeform 44">
              <a:extLst>
                <a:ext uri="{FF2B5EF4-FFF2-40B4-BE49-F238E27FC236}">
                  <a16:creationId xmlns:a16="http://schemas.microsoft.com/office/drawing/2014/main" id="{5406E95E-E11E-46CE-9852-AFABE411E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85163" y="3633214"/>
              <a:ext cx="1222375" cy="714375"/>
            </a:xfrm>
            <a:custGeom>
              <a:avLst/>
              <a:gdLst>
                <a:gd name="T0" fmla="*/ 770 w 770"/>
                <a:gd name="T1" fmla="*/ 390 h 450"/>
                <a:gd name="T2" fmla="*/ 677 w 770"/>
                <a:gd name="T3" fmla="*/ 450 h 450"/>
                <a:gd name="T4" fmla="*/ 0 w 770"/>
                <a:gd name="T5" fmla="*/ 60 h 450"/>
                <a:gd name="T6" fmla="*/ 93 w 770"/>
                <a:gd name="T7" fmla="*/ 0 h 450"/>
                <a:gd name="T8" fmla="*/ 770 w 770"/>
                <a:gd name="T9" fmla="*/ 39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450">
                  <a:moveTo>
                    <a:pt x="770" y="390"/>
                  </a:moveTo>
                  <a:lnTo>
                    <a:pt x="677" y="450"/>
                  </a:lnTo>
                  <a:lnTo>
                    <a:pt x="0" y="60"/>
                  </a:lnTo>
                  <a:lnTo>
                    <a:pt x="93" y="0"/>
                  </a:lnTo>
                  <a:lnTo>
                    <a:pt x="770" y="39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6" name="Freeform 45">
              <a:extLst>
                <a:ext uri="{FF2B5EF4-FFF2-40B4-BE49-F238E27FC236}">
                  <a16:creationId xmlns:a16="http://schemas.microsoft.com/office/drawing/2014/main" id="{A67F0AF2-2BC4-48B7-8A04-DB48174063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88288" y="1534539"/>
              <a:ext cx="2436813" cy="3038475"/>
            </a:xfrm>
            <a:custGeom>
              <a:avLst/>
              <a:gdLst>
                <a:gd name="T0" fmla="*/ 1535 w 1535"/>
                <a:gd name="T1" fmla="*/ 883 h 1914"/>
                <a:gd name="T2" fmla="*/ 1532 w 1535"/>
                <a:gd name="T3" fmla="*/ 1914 h 1914"/>
                <a:gd name="T4" fmla="*/ 0 w 1535"/>
                <a:gd name="T5" fmla="*/ 1031 h 1914"/>
                <a:gd name="T6" fmla="*/ 3 w 1535"/>
                <a:gd name="T7" fmla="*/ 0 h 1914"/>
                <a:gd name="T8" fmla="*/ 1535 w 1535"/>
                <a:gd name="T9" fmla="*/ 883 h 1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5" h="1914">
                  <a:moveTo>
                    <a:pt x="1535" y="883"/>
                  </a:moveTo>
                  <a:lnTo>
                    <a:pt x="1532" y="1914"/>
                  </a:lnTo>
                  <a:lnTo>
                    <a:pt x="0" y="1031"/>
                  </a:lnTo>
                  <a:lnTo>
                    <a:pt x="3" y="0"/>
                  </a:lnTo>
                  <a:lnTo>
                    <a:pt x="1535" y="883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7" name="Freeform 46">
              <a:extLst>
                <a:ext uri="{FF2B5EF4-FFF2-40B4-BE49-F238E27FC236}">
                  <a16:creationId xmlns:a16="http://schemas.microsoft.com/office/drawing/2014/main" id="{7C305053-B2CC-40CE-B234-1124303EB8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88288" y="1534539"/>
              <a:ext cx="2436813" cy="3038475"/>
            </a:xfrm>
            <a:custGeom>
              <a:avLst/>
              <a:gdLst>
                <a:gd name="T0" fmla="*/ 1535 w 1535"/>
                <a:gd name="T1" fmla="*/ 883 h 1914"/>
                <a:gd name="T2" fmla="*/ 1532 w 1535"/>
                <a:gd name="T3" fmla="*/ 1914 h 1914"/>
                <a:gd name="T4" fmla="*/ 0 w 1535"/>
                <a:gd name="T5" fmla="*/ 1031 h 1914"/>
                <a:gd name="T6" fmla="*/ 3 w 1535"/>
                <a:gd name="T7" fmla="*/ 0 h 1914"/>
                <a:gd name="T8" fmla="*/ 1535 w 1535"/>
                <a:gd name="T9" fmla="*/ 883 h 1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5" h="1914">
                  <a:moveTo>
                    <a:pt x="1535" y="883"/>
                  </a:moveTo>
                  <a:lnTo>
                    <a:pt x="1532" y="1914"/>
                  </a:lnTo>
                  <a:lnTo>
                    <a:pt x="0" y="1031"/>
                  </a:lnTo>
                  <a:lnTo>
                    <a:pt x="3" y="0"/>
                  </a:lnTo>
                  <a:lnTo>
                    <a:pt x="1535" y="8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8" name="Freeform 47">
              <a:extLst>
                <a:ext uri="{FF2B5EF4-FFF2-40B4-BE49-F238E27FC236}">
                  <a16:creationId xmlns:a16="http://schemas.microsoft.com/office/drawing/2014/main" id="{E1ED1F95-BFDA-4FED-A6E9-5C92E4556A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1688" y="4582539"/>
              <a:ext cx="885825" cy="511175"/>
            </a:xfrm>
            <a:custGeom>
              <a:avLst/>
              <a:gdLst>
                <a:gd name="T0" fmla="*/ 558 w 558"/>
                <a:gd name="T1" fmla="*/ 198 h 322"/>
                <a:gd name="T2" fmla="*/ 344 w 558"/>
                <a:gd name="T3" fmla="*/ 322 h 322"/>
                <a:gd name="T4" fmla="*/ 0 w 558"/>
                <a:gd name="T5" fmla="*/ 124 h 322"/>
                <a:gd name="T6" fmla="*/ 214 w 558"/>
                <a:gd name="T7" fmla="*/ 0 h 322"/>
                <a:gd name="T8" fmla="*/ 558 w 558"/>
                <a:gd name="T9" fmla="*/ 198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8" h="322">
                  <a:moveTo>
                    <a:pt x="558" y="198"/>
                  </a:moveTo>
                  <a:lnTo>
                    <a:pt x="344" y="322"/>
                  </a:lnTo>
                  <a:lnTo>
                    <a:pt x="0" y="124"/>
                  </a:lnTo>
                  <a:lnTo>
                    <a:pt x="214" y="0"/>
                  </a:lnTo>
                  <a:lnTo>
                    <a:pt x="558" y="198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9" name="Freeform 48">
              <a:extLst>
                <a:ext uri="{FF2B5EF4-FFF2-40B4-BE49-F238E27FC236}">
                  <a16:creationId xmlns:a16="http://schemas.microsoft.com/office/drawing/2014/main" id="{D152F257-B6B3-4DF5-A19E-896D6FE97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65876" y="4242814"/>
              <a:ext cx="269875" cy="157163"/>
            </a:xfrm>
            <a:custGeom>
              <a:avLst/>
              <a:gdLst>
                <a:gd name="T0" fmla="*/ 0 w 170"/>
                <a:gd name="T1" fmla="*/ 19 h 99"/>
                <a:gd name="T2" fmla="*/ 31 w 170"/>
                <a:gd name="T3" fmla="*/ 0 h 99"/>
                <a:gd name="T4" fmla="*/ 170 w 170"/>
                <a:gd name="T5" fmla="*/ 80 h 99"/>
                <a:gd name="T6" fmla="*/ 138 w 170"/>
                <a:gd name="T7" fmla="*/ 99 h 99"/>
                <a:gd name="T8" fmla="*/ 0 w 170"/>
                <a:gd name="T9" fmla="*/ 1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9">
                  <a:moveTo>
                    <a:pt x="0" y="19"/>
                  </a:moveTo>
                  <a:lnTo>
                    <a:pt x="31" y="0"/>
                  </a:lnTo>
                  <a:lnTo>
                    <a:pt x="170" y="80"/>
                  </a:lnTo>
                  <a:lnTo>
                    <a:pt x="138" y="9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0" name="Freeform 49">
              <a:extLst>
                <a:ext uri="{FF2B5EF4-FFF2-40B4-BE49-F238E27FC236}">
                  <a16:creationId xmlns:a16="http://schemas.microsoft.com/office/drawing/2014/main" id="{CC3569AC-FB1C-4533-B679-B0435F6CC9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713" y="4184076"/>
              <a:ext cx="269875" cy="155575"/>
            </a:xfrm>
            <a:custGeom>
              <a:avLst/>
              <a:gdLst>
                <a:gd name="T0" fmla="*/ 0 w 170"/>
                <a:gd name="T1" fmla="*/ 18 h 98"/>
                <a:gd name="T2" fmla="*/ 32 w 170"/>
                <a:gd name="T3" fmla="*/ 0 h 98"/>
                <a:gd name="T4" fmla="*/ 170 w 170"/>
                <a:gd name="T5" fmla="*/ 80 h 98"/>
                <a:gd name="T6" fmla="*/ 139 w 170"/>
                <a:gd name="T7" fmla="*/ 98 h 98"/>
                <a:gd name="T8" fmla="*/ 0 w 170"/>
                <a:gd name="T9" fmla="*/ 1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8">
                  <a:moveTo>
                    <a:pt x="0" y="18"/>
                  </a:moveTo>
                  <a:lnTo>
                    <a:pt x="32" y="0"/>
                  </a:lnTo>
                  <a:lnTo>
                    <a:pt x="170" y="80"/>
                  </a:lnTo>
                  <a:lnTo>
                    <a:pt x="139" y="9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1" name="Freeform 50">
              <a:extLst>
                <a:ext uri="{FF2B5EF4-FFF2-40B4-BE49-F238E27FC236}">
                  <a16:creationId xmlns:a16="http://schemas.microsoft.com/office/drawing/2014/main" id="{AE121DF3-CD4F-4D4E-9F84-48893A56D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0026" y="3568126"/>
              <a:ext cx="85725" cy="77788"/>
            </a:xfrm>
            <a:custGeom>
              <a:avLst/>
              <a:gdLst>
                <a:gd name="T0" fmla="*/ 0 w 54"/>
                <a:gd name="T1" fmla="*/ 49 h 49"/>
                <a:gd name="T2" fmla="*/ 54 w 54"/>
                <a:gd name="T3" fmla="*/ 17 h 49"/>
                <a:gd name="T4" fmla="*/ 54 w 54"/>
                <a:gd name="T5" fmla="*/ 0 h 49"/>
                <a:gd name="T6" fmla="*/ 0 w 54"/>
                <a:gd name="T7" fmla="*/ 32 h 49"/>
                <a:gd name="T8" fmla="*/ 0 w 5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0" y="49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2" name="Freeform 51">
              <a:extLst>
                <a:ext uri="{FF2B5EF4-FFF2-40B4-BE49-F238E27FC236}">
                  <a16:creationId xmlns:a16="http://schemas.microsoft.com/office/drawing/2014/main" id="{A50F2AC5-5B25-41E8-9C90-F228503320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4613" y="354590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3" name="Freeform 52">
              <a:extLst>
                <a:ext uri="{FF2B5EF4-FFF2-40B4-BE49-F238E27FC236}">
                  <a16:creationId xmlns:a16="http://schemas.microsoft.com/office/drawing/2014/main" id="{952B037C-F9E9-4821-AA5A-57C58F9332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4613" y="3496689"/>
              <a:ext cx="211138" cy="122238"/>
            </a:xfrm>
            <a:custGeom>
              <a:avLst/>
              <a:gdLst>
                <a:gd name="T0" fmla="*/ 133 w 133"/>
                <a:gd name="T1" fmla="*/ 45 h 77"/>
                <a:gd name="T2" fmla="*/ 54 w 133"/>
                <a:gd name="T3" fmla="*/ 0 h 77"/>
                <a:gd name="T4" fmla="*/ 0 w 133"/>
                <a:gd name="T5" fmla="*/ 31 h 77"/>
                <a:gd name="T6" fmla="*/ 79 w 133"/>
                <a:gd name="T7" fmla="*/ 77 h 77"/>
                <a:gd name="T8" fmla="*/ 133 w 133"/>
                <a:gd name="T9" fmla="*/ 4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133" y="45"/>
                  </a:moveTo>
                  <a:lnTo>
                    <a:pt x="54" y="0"/>
                  </a:lnTo>
                  <a:lnTo>
                    <a:pt x="0" y="31"/>
                  </a:lnTo>
                  <a:lnTo>
                    <a:pt x="79" y="77"/>
                  </a:lnTo>
                  <a:lnTo>
                    <a:pt x="133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4" name="Freeform 53">
              <a:extLst>
                <a:ext uri="{FF2B5EF4-FFF2-40B4-BE49-F238E27FC236}">
                  <a16:creationId xmlns:a16="http://schemas.microsoft.com/office/drawing/2014/main" id="{CC7343C1-8159-4B14-A16E-DDBA93CC6E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6713" y="3664964"/>
              <a:ext cx="85725" cy="77788"/>
            </a:xfrm>
            <a:custGeom>
              <a:avLst/>
              <a:gdLst>
                <a:gd name="T0" fmla="*/ 0 w 54"/>
                <a:gd name="T1" fmla="*/ 49 h 49"/>
                <a:gd name="T2" fmla="*/ 54 w 54"/>
                <a:gd name="T3" fmla="*/ 17 h 49"/>
                <a:gd name="T4" fmla="*/ 54 w 54"/>
                <a:gd name="T5" fmla="*/ 0 h 49"/>
                <a:gd name="T6" fmla="*/ 0 w 54"/>
                <a:gd name="T7" fmla="*/ 32 h 49"/>
                <a:gd name="T8" fmla="*/ 0 w 5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0" y="49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5" name="Freeform 54">
              <a:extLst>
                <a:ext uri="{FF2B5EF4-FFF2-40B4-BE49-F238E27FC236}">
                  <a16:creationId xmlns:a16="http://schemas.microsoft.com/office/drawing/2014/main" id="{AD59C04F-FD91-4499-857F-FE88B90563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1" y="3642739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6" name="Freeform 55">
              <a:extLst>
                <a:ext uri="{FF2B5EF4-FFF2-40B4-BE49-F238E27FC236}">
                  <a16:creationId xmlns:a16="http://schemas.microsoft.com/office/drawing/2014/main" id="{56131A9A-1E2B-4333-BB75-F7F7947020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1" y="3593526"/>
              <a:ext cx="211138" cy="122238"/>
            </a:xfrm>
            <a:custGeom>
              <a:avLst/>
              <a:gdLst>
                <a:gd name="T0" fmla="*/ 0 w 133"/>
                <a:gd name="T1" fmla="*/ 31 h 77"/>
                <a:gd name="T2" fmla="*/ 79 w 133"/>
                <a:gd name="T3" fmla="*/ 77 h 77"/>
                <a:gd name="T4" fmla="*/ 133 w 133"/>
                <a:gd name="T5" fmla="*/ 45 h 77"/>
                <a:gd name="T6" fmla="*/ 54 w 133"/>
                <a:gd name="T7" fmla="*/ 0 h 77"/>
                <a:gd name="T8" fmla="*/ 0 w 133"/>
                <a:gd name="T9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1"/>
                  </a:moveTo>
                  <a:lnTo>
                    <a:pt x="79" y="77"/>
                  </a:lnTo>
                  <a:lnTo>
                    <a:pt x="133" y="45"/>
                  </a:lnTo>
                  <a:lnTo>
                    <a:pt x="5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7" name="Freeform 56">
              <a:extLst>
                <a:ext uri="{FF2B5EF4-FFF2-40B4-BE49-F238E27FC236}">
                  <a16:creationId xmlns:a16="http://schemas.microsoft.com/office/drawing/2014/main" id="{2ED96566-8A67-4D03-99A2-056283E793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4988" y="3761801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8" name="Freeform 57">
              <a:extLst>
                <a:ext uri="{FF2B5EF4-FFF2-40B4-BE49-F238E27FC236}">
                  <a16:creationId xmlns:a16="http://schemas.microsoft.com/office/drawing/2014/main" id="{66456464-21D9-4430-B4CF-57B7D630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9576" y="3739576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9" name="Freeform 58">
              <a:extLst>
                <a:ext uri="{FF2B5EF4-FFF2-40B4-BE49-F238E27FC236}">
                  <a16:creationId xmlns:a16="http://schemas.microsoft.com/office/drawing/2014/main" id="{636FDBAD-FB07-43A0-B348-6CDD856D32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9576" y="3688776"/>
              <a:ext cx="211138" cy="122238"/>
            </a:xfrm>
            <a:custGeom>
              <a:avLst/>
              <a:gdLst>
                <a:gd name="T0" fmla="*/ 0 w 133"/>
                <a:gd name="T1" fmla="*/ 32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2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0" name="Freeform 59">
              <a:extLst>
                <a:ext uri="{FF2B5EF4-FFF2-40B4-BE49-F238E27FC236}">
                  <a16:creationId xmlns:a16="http://schemas.microsoft.com/office/drawing/2014/main" id="{147B595F-851A-408C-BC46-CDD9105BFA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1676" y="3858639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1" name="Freeform 60">
              <a:extLst>
                <a:ext uri="{FF2B5EF4-FFF2-40B4-BE49-F238E27FC236}">
                  <a16:creationId xmlns:a16="http://schemas.microsoft.com/office/drawing/2014/main" id="{C9920EC3-EAFD-48F3-9224-BDBDFEC2DD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6263" y="383641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2" name="Freeform 61">
              <a:extLst>
                <a:ext uri="{FF2B5EF4-FFF2-40B4-BE49-F238E27FC236}">
                  <a16:creationId xmlns:a16="http://schemas.microsoft.com/office/drawing/2014/main" id="{BB6856E8-498E-42F6-BD1F-0DC0F2F55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6263" y="3785614"/>
              <a:ext cx="211138" cy="122238"/>
            </a:xfrm>
            <a:custGeom>
              <a:avLst/>
              <a:gdLst>
                <a:gd name="T0" fmla="*/ 0 w 133"/>
                <a:gd name="T1" fmla="*/ 32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2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3" name="Freeform 62">
              <a:extLst>
                <a:ext uri="{FF2B5EF4-FFF2-40B4-BE49-F238E27FC236}">
                  <a16:creationId xmlns:a16="http://schemas.microsoft.com/office/drawing/2014/main" id="{949C4CCB-CBA6-4644-AA40-2DC0E00C58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8363" y="3953889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4" name="Freeform 63">
              <a:extLst>
                <a:ext uri="{FF2B5EF4-FFF2-40B4-BE49-F238E27FC236}">
                  <a16:creationId xmlns:a16="http://schemas.microsoft.com/office/drawing/2014/main" id="{89066AF6-9400-4835-B8EC-3171006042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2951" y="39316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5" name="Freeform 64">
              <a:extLst>
                <a:ext uri="{FF2B5EF4-FFF2-40B4-BE49-F238E27FC236}">
                  <a16:creationId xmlns:a16="http://schemas.microsoft.com/office/drawing/2014/main" id="{A3053A71-FBD5-41D2-A792-2E613E33B8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2951" y="3882451"/>
              <a:ext cx="211138" cy="120650"/>
            </a:xfrm>
            <a:custGeom>
              <a:avLst/>
              <a:gdLst>
                <a:gd name="T0" fmla="*/ 0 w 133"/>
                <a:gd name="T1" fmla="*/ 31 h 76"/>
                <a:gd name="T2" fmla="*/ 79 w 133"/>
                <a:gd name="T3" fmla="*/ 76 h 76"/>
                <a:gd name="T4" fmla="*/ 133 w 133"/>
                <a:gd name="T5" fmla="*/ 45 h 76"/>
                <a:gd name="T6" fmla="*/ 54 w 133"/>
                <a:gd name="T7" fmla="*/ 0 h 76"/>
                <a:gd name="T8" fmla="*/ 0 w 133"/>
                <a:gd name="T9" fmla="*/ 3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6">
                  <a:moveTo>
                    <a:pt x="0" y="31"/>
                  </a:moveTo>
                  <a:lnTo>
                    <a:pt x="79" y="76"/>
                  </a:lnTo>
                  <a:lnTo>
                    <a:pt x="133" y="45"/>
                  </a:lnTo>
                  <a:lnTo>
                    <a:pt x="5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6" name="Freeform 65">
              <a:extLst>
                <a:ext uri="{FF2B5EF4-FFF2-40B4-BE49-F238E27FC236}">
                  <a16:creationId xmlns:a16="http://schemas.microsoft.com/office/drawing/2014/main" id="{59CCF678-3895-4084-A62E-26F4AF09C8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55051" y="4049139"/>
              <a:ext cx="85725" cy="77788"/>
            </a:xfrm>
            <a:custGeom>
              <a:avLst/>
              <a:gdLst>
                <a:gd name="T0" fmla="*/ 0 w 54"/>
                <a:gd name="T1" fmla="*/ 49 h 49"/>
                <a:gd name="T2" fmla="*/ 54 w 54"/>
                <a:gd name="T3" fmla="*/ 17 h 49"/>
                <a:gd name="T4" fmla="*/ 54 w 54"/>
                <a:gd name="T5" fmla="*/ 0 h 49"/>
                <a:gd name="T6" fmla="*/ 0 w 54"/>
                <a:gd name="T7" fmla="*/ 32 h 49"/>
                <a:gd name="T8" fmla="*/ 0 w 5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0" y="49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7" name="Freeform 66">
              <a:extLst>
                <a:ext uri="{FF2B5EF4-FFF2-40B4-BE49-F238E27FC236}">
                  <a16:creationId xmlns:a16="http://schemas.microsoft.com/office/drawing/2014/main" id="{BE6C087D-F1DF-437B-BB19-49D4ED7484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29638" y="4026914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8" name="Freeform 67">
              <a:extLst>
                <a:ext uri="{FF2B5EF4-FFF2-40B4-BE49-F238E27FC236}">
                  <a16:creationId xmlns:a16="http://schemas.microsoft.com/office/drawing/2014/main" id="{CBEB739C-0CAF-465B-99A8-ACF33A5921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29638" y="3979289"/>
              <a:ext cx="211138" cy="120650"/>
            </a:xfrm>
            <a:custGeom>
              <a:avLst/>
              <a:gdLst>
                <a:gd name="T0" fmla="*/ 0 w 133"/>
                <a:gd name="T1" fmla="*/ 30 h 76"/>
                <a:gd name="T2" fmla="*/ 79 w 133"/>
                <a:gd name="T3" fmla="*/ 76 h 76"/>
                <a:gd name="T4" fmla="*/ 133 w 133"/>
                <a:gd name="T5" fmla="*/ 44 h 76"/>
                <a:gd name="T6" fmla="*/ 54 w 133"/>
                <a:gd name="T7" fmla="*/ 0 h 76"/>
                <a:gd name="T8" fmla="*/ 0 w 133"/>
                <a:gd name="T9" fmla="*/ 3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6">
                  <a:moveTo>
                    <a:pt x="0" y="30"/>
                  </a:moveTo>
                  <a:lnTo>
                    <a:pt x="79" y="76"/>
                  </a:lnTo>
                  <a:lnTo>
                    <a:pt x="133" y="44"/>
                  </a:lnTo>
                  <a:lnTo>
                    <a:pt x="54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9" name="Freeform 68">
              <a:extLst>
                <a:ext uri="{FF2B5EF4-FFF2-40B4-BE49-F238E27FC236}">
                  <a16:creationId xmlns:a16="http://schemas.microsoft.com/office/drawing/2014/main" id="{E29AB7B3-3621-40DE-902B-B6480D26F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23326" y="4145976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0" name="Freeform 69">
              <a:extLst>
                <a:ext uri="{FF2B5EF4-FFF2-40B4-BE49-F238E27FC236}">
                  <a16:creationId xmlns:a16="http://schemas.microsoft.com/office/drawing/2014/main" id="{35A70146-0654-42A2-9266-5D36008BD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7913" y="412375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1" name="Freeform 70">
              <a:extLst>
                <a:ext uri="{FF2B5EF4-FFF2-40B4-BE49-F238E27FC236}">
                  <a16:creationId xmlns:a16="http://schemas.microsoft.com/office/drawing/2014/main" id="{6B47FF1F-BAD9-41D6-90B3-E4D6F0E3DB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7913" y="4072951"/>
              <a:ext cx="211138" cy="122238"/>
            </a:xfrm>
            <a:custGeom>
              <a:avLst/>
              <a:gdLst>
                <a:gd name="T0" fmla="*/ 0 w 133"/>
                <a:gd name="T1" fmla="*/ 32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2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2" name="Freeform 71">
              <a:extLst>
                <a:ext uri="{FF2B5EF4-FFF2-40B4-BE49-F238E27FC236}">
                  <a16:creationId xmlns:a16="http://schemas.microsoft.com/office/drawing/2014/main" id="{861A5314-F83B-4450-8103-2DFCA9B09D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90013" y="4242814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3" name="Freeform 72">
              <a:extLst>
                <a:ext uri="{FF2B5EF4-FFF2-40B4-BE49-F238E27FC236}">
                  <a16:creationId xmlns:a16="http://schemas.microsoft.com/office/drawing/2014/main" id="{E9517795-41F5-4031-9687-F3B6478AA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4601" y="4220589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4" name="Freeform 73">
              <a:extLst>
                <a:ext uri="{FF2B5EF4-FFF2-40B4-BE49-F238E27FC236}">
                  <a16:creationId xmlns:a16="http://schemas.microsoft.com/office/drawing/2014/main" id="{C654C785-00D2-4F4F-BA66-72A45161C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4601" y="4169789"/>
              <a:ext cx="211138" cy="122238"/>
            </a:xfrm>
            <a:custGeom>
              <a:avLst/>
              <a:gdLst>
                <a:gd name="T0" fmla="*/ 0 w 133"/>
                <a:gd name="T1" fmla="*/ 32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2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5" name="Freeform 74">
              <a:extLst>
                <a:ext uri="{FF2B5EF4-FFF2-40B4-BE49-F238E27FC236}">
                  <a16:creationId xmlns:a16="http://schemas.microsoft.com/office/drawing/2014/main" id="{648A381F-CF6E-4892-B4B1-562F4CBE52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6701" y="4339651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6" name="Freeform 75">
              <a:extLst>
                <a:ext uri="{FF2B5EF4-FFF2-40B4-BE49-F238E27FC236}">
                  <a16:creationId xmlns:a16="http://schemas.microsoft.com/office/drawing/2014/main" id="{AE56C715-0262-4E3F-AC83-FB7D0B708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1288" y="4315839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7" name="Freeform 76">
              <a:extLst>
                <a:ext uri="{FF2B5EF4-FFF2-40B4-BE49-F238E27FC236}">
                  <a16:creationId xmlns:a16="http://schemas.microsoft.com/office/drawing/2014/main" id="{908AC97F-D98E-4AF8-AFA3-998C11EF8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1288" y="4266626"/>
              <a:ext cx="211138" cy="122238"/>
            </a:xfrm>
            <a:custGeom>
              <a:avLst/>
              <a:gdLst>
                <a:gd name="T0" fmla="*/ 0 w 133"/>
                <a:gd name="T1" fmla="*/ 31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1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8" name="Freeform 77">
              <a:extLst>
                <a:ext uri="{FF2B5EF4-FFF2-40B4-BE49-F238E27FC236}">
                  <a16:creationId xmlns:a16="http://schemas.microsoft.com/office/drawing/2014/main" id="{27A955A7-E30C-4F63-882D-5AAA5E30AC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23388" y="4434901"/>
              <a:ext cx="85725" cy="77788"/>
            </a:xfrm>
            <a:custGeom>
              <a:avLst/>
              <a:gdLst>
                <a:gd name="T0" fmla="*/ 0 w 54"/>
                <a:gd name="T1" fmla="*/ 49 h 49"/>
                <a:gd name="T2" fmla="*/ 54 w 54"/>
                <a:gd name="T3" fmla="*/ 17 h 49"/>
                <a:gd name="T4" fmla="*/ 54 w 54"/>
                <a:gd name="T5" fmla="*/ 0 h 49"/>
                <a:gd name="T6" fmla="*/ 0 w 54"/>
                <a:gd name="T7" fmla="*/ 32 h 49"/>
                <a:gd name="T8" fmla="*/ 0 w 5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0" y="49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9" name="Freeform 78">
              <a:extLst>
                <a:ext uri="{FF2B5EF4-FFF2-40B4-BE49-F238E27FC236}">
                  <a16:creationId xmlns:a16="http://schemas.microsoft.com/office/drawing/2014/main" id="{BB822BA2-E821-4324-A945-D1CD0E08DC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7976" y="4412676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0" name="Freeform 79">
              <a:extLst>
                <a:ext uri="{FF2B5EF4-FFF2-40B4-BE49-F238E27FC236}">
                  <a16:creationId xmlns:a16="http://schemas.microsoft.com/office/drawing/2014/main" id="{97AC4DA0-A9A7-496D-8613-F61A42D0DD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7976" y="4363464"/>
              <a:ext cx="211138" cy="122238"/>
            </a:xfrm>
            <a:custGeom>
              <a:avLst/>
              <a:gdLst>
                <a:gd name="T0" fmla="*/ 0 w 133"/>
                <a:gd name="T1" fmla="*/ 31 h 77"/>
                <a:gd name="T2" fmla="*/ 79 w 133"/>
                <a:gd name="T3" fmla="*/ 77 h 77"/>
                <a:gd name="T4" fmla="*/ 133 w 133"/>
                <a:gd name="T5" fmla="*/ 45 h 77"/>
                <a:gd name="T6" fmla="*/ 54 w 133"/>
                <a:gd name="T7" fmla="*/ 0 h 77"/>
                <a:gd name="T8" fmla="*/ 0 w 133"/>
                <a:gd name="T9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1"/>
                  </a:moveTo>
                  <a:lnTo>
                    <a:pt x="79" y="77"/>
                  </a:lnTo>
                  <a:lnTo>
                    <a:pt x="133" y="45"/>
                  </a:lnTo>
                  <a:lnTo>
                    <a:pt x="5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1" name="Freeform 80">
              <a:extLst>
                <a:ext uri="{FF2B5EF4-FFF2-40B4-BE49-F238E27FC236}">
                  <a16:creationId xmlns:a16="http://schemas.microsoft.com/office/drawing/2014/main" id="{03FC9542-80D9-4288-A941-2166C0CDC0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90076" y="4531739"/>
              <a:ext cx="87313" cy="76200"/>
            </a:xfrm>
            <a:custGeom>
              <a:avLst/>
              <a:gdLst>
                <a:gd name="T0" fmla="*/ 0 w 55"/>
                <a:gd name="T1" fmla="*/ 48 h 48"/>
                <a:gd name="T2" fmla="*/ 55 w 55"/>
                <a:gd name="T3" fmla="*/ 17 h 48"/>
                <a:gd name="T4" fmla="*/ 55 w 55"/>
                <a:gd name="T5" fmla="*/ 0 h 48"/>
                <a:gd name="T6" fmla="*/ 0 w 55"/>
                <a:gd name="T7" fmla="*/ 31 h 48"/>
                <a:gd name="T8" fmla="*/ 0 w 55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48">
                  <a:moveTo>
                    <a:pt x="0" y="48"/>
                  </a:moveTo>
                  <a:lnTo>
                    <a:pt x="55" y="17"/>
                  </a:lnTo>
                  <a:lnTo>
                    <a:pt x="55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2" name="Freeform 81">
              <a:extLst>
                <a:ext uri="{FF2B5EF4-FFF2-40B4-BE49-F238E27FC236}">
                  <a16:creationId xmlns:a16="http://schemas.microsoft.com/office/drawing/2014/main" id="{B2E81DBA-722C-4033-BE19-6178DA5CFB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64663" y="4509514"/>
              <a:ext cx="125413" cy="98425"/>
            </a:xfrm>
            <a:custGeom>
              <a:avLst/>
              <a:gdLst>
                <a:gd name="T0" fmla="*/ 1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1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1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3" name="Freeform 82">
              <a:extLst>
                <a:ext uri="{FF2B5EF4-FFF2-40B4-BE49-F238E27FC236}">
                  <a16:creationId xmlns:a16="http://schemas.microsoft.com/office/drawing/2014/main" id="{72861BCE-5D84-4579-99FA-066FD5072F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66251" y="4458714"/>
              <a:ext cx="211138" cy="122238"/>
            </a:xfrm>
            <a:custGeom>
              <a:avLst/>
              <a:gdLst>
                <a:gd name="T0" fmla="*/ 0 w 133"/>
                <a:gd name="T1" fmla="*/ 32 h 77"/>
                <a:gd name="T2" fmla="*/ 78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2"/>
                  </a:moveTo>
                  <a:lnTo>
                    <a:pt x="78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4" name="Freeform 83">
              <a:extLst>
                <a:ext uri="{FF2B5EF4-FFF2-40B4-BE49-F238E27FC236}">
                  <a16:creationId xmlns:a16="http://schemas.microsoft.com/office/drawing/2014/main" id="{10AE2A9D-CB95-4A40-A4E5-FC3C65026B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58351" y="4628576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5" name="Freeform 84">
              <a:extLst>
                <a:ext uri="{FF2B5EF4-FFF2-40B4-BE49-F238E27FC236}">
                  <a16:creationId xmlns:a16="http://schemas.microsoft.com/office/drawing/2014/main" id="{4A65AA4D-456F-4254-A66A-1C31054E60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32938" y="460635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6" name="Freeform 85">
              <a:extLst>
                <a:ext uri="{FF2B5EF4-FFF2-40B4-BE49-F238E27FC236}">
                  <a16:creationId xmlns:a16="http://schemas.microsoft.com/office/drawing/2014/main" id="{B71FB1B3-7021-4E6C-8B0A-636487CA6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32938" y="4555551"/>
              <a:ext cx="211138" cy="122238"/>
            </a:xfrm>
            <a:custGeom>
              <a:avLst/>
              <a:gdLst>
                <a:gd name="T0" fmla="*/ 79 w 133"/>
                <a:gd name="T1" fmla="*/ 77 h 77"/>
                <a:gd name="T2" fmla="*/ 133 w 133"/>
                <a:gd name="T3" fmla="*/ 46 h 77"/>
                <a:gd name="T4" fmla="*/ 54 w 133"/>
                <a:gd name="T5" fmla="*/ 0 h 77"/>
                <a:gd name="T6" fmla="*/ 0 w 133"/>
                <a:gd name="T7" fmla="*/ 32 h 77"/>
                <a:gd name="T8" fmla="*/ 79 w 133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79" y="77"/>
                  </a:move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79" y="77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7" name="Freeform 86">
              <a:extLst>
                <a:ext uri="{FF2B5EF4-FFF2-40B4-BE49-F238E27FC236}">
                  <a16:creationId xmlns:a16="http://schemas.microsoft.com/office/drawing/2014/main" id="{774FDEE6-6654-4E1C-AB8B-4B41470B0D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25038" y="4725414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8" name="Freeform 87">
              <a:extLst>
                <a:ext uri="{FF2B5EF4-FFF2-40B4-BE49-F238E27FC236}">
                  <a16:creationId xmlns:a16="http://schemas.microsoft.com/office/drawing/2014/main" id="{0374CC35-CC3D-4AD4-8053-5E06B39BCC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626" y="4701601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9" name="Freeform 88">
              <a:extLst>
                <a:ext uri="{FF2B5EF4-FFF2-40B4-BE49-F238E27FC236}">
                  <a16:creationId xmlns:a16="http://schemas.microsoft.com/office/drawing/2014/main" id="{F1D78FAD-7026-45AB-A641-036A55E16F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626" y="4652389"/>
              <a:ext cx="211138" cy="122238"/>
            </a:xfrm>
            <a:custGeom>
              <a:avLst/>
              <a:gdLst>
                <a:gd name="T0" fmla="*/ 0 w 133"/>
                <a:gd name="T1" fmla="*/ 31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1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0" name="Freeform 89">
              <a:extLst>
                <a:ext uri="{FF2B5EF4-FFF2-40B4-BE49-F238E27FC236}">
                  <a16:creationId xmlns:a16="http://schemas.microsoft.com/office/drawing/2014/main" id="{ED80E953-5B91-4EAE-9111-9B22E6E8D7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8426" y="3679251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1" name="Freeform 90">
              <a:extLst>
                <a:ext uri="{FF2B5EF4-FFF2-40B4-BE49-F238E27FC236}">
                  <a16:creationId xmlns:a16="http://schemas.microsoft.com/office/drawing/2014/main" id="{DCA790D1-6A2C-4470-9511-AB9D347B5D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9513" y="3642739"/>
              <a:ext cx="188913" cy="136525"/>
            </a:xfrm>
            <a:custGeom>
              <a:avLst/>
              <a:gdLst>
                <a:gd name="T0" fmla="*/ 119 w 119"/>
                <a:gd name="T1" fmla="*/ 69 h 86"/>
                <a:gd name="T2" fmla="*/ 0 w 119"/>
                <a:gd name="T3" fmla="*/ 0 h 86"/>
                <a:gd name="T4" fmla="*/ 0 w 119"/>
                <a:gd name="T5" fmla="*/ 17 h 86"/>
                <a:gd name="T6" fmla="*/ 119 w 119"/>
                <a:gd name="T7" fmla="*/ 86 h 86"/>
                <a:gd name="T8" fmla="*/ 119 w 119"/>
                <a:gd name="T9" fmla="*/ 6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86">
                  <a:moveTo>
                    <a:pt x="119" y="69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119" y="86"/>
                  </a:lnTo>
                  <a:lnTo>
                    <a:pt x="119" y="69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2" name="Freeform 91">
              <a:extLst>
                <a:ext uri="{FF2B5EF4-FFF2-40B4-BE49-F238E27FC236}">
                  <a16:creationId xmlns:a16="http://schemas.microsoft.com/office/drawing/2014/main" id="{CADEE623-E6A7-44E7-A191-6A6BA77D0E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9513" y="3569714"/>
              <a:ext cx="314325" cy="182563"/>
            </a:xfrm>
            <a:custGeom>
              <a:avLst/>
              <a:gdLst>
                <a:gd name="T0" fmla="*/ 198 w 198"/>
                <a:gd name="T1" fmla="*/ 69 h 115"/>
                <a:gd name="T2" fmla="*/ 78 w 198"/>
                <a:gd name="T3" fmla="*/ 0 h 115"/>
                <a:gd name="T4" fmla="*/ 0 w 198"/>
                <a:gd name="T5" fmla="*/ 46 h 115"/>
                <a:gd name="T6" fmla="*/ 119 w 198"/>
                <a:gd name="T7" fmla="*/ 115 h 115"/>
                <a:gd name="T8" fmla="*/ 198 w 198"/>
                <a:gd name="T9" fmla="*/ 6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15">
                  <a:moveTo>
                    <a:pt x="198" y="69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119" y="115"/>
                  </a:lnTo>
                  <a:lnTo>
                    <a:pt x="198" y="69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3" name="Freeform 92">
              <a:extLst>
                <a:ext uri="{FF2B5EF4-FFF2-40B4-BE49-F238E27FC236}">
                  <a16:creationId xmlns:a16="http://schemas.microsoft.com/office/drawing/2014/main" id="{254B6AE6-132C-4910-8DF6-7E643F71A8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89876" y="377926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8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8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4" name="Freeform 93">
              <a:extLst>
                <a:ext uri="{FF2B5EF4-FFF2-40B4-BE49-F238E27FC236}">
                  <a16:creationId xmlns:a16="http://schemas.microsoft.com/office/drawing/2014/main" id="{9C0152ED-7411-48DB-B022-EF89EC9D9C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4463" y="37792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5" name="Freeform 94">
              <a:extLst>
                <a:ext uri="{FF2B5EF4-FFF2-40B4-BE49-F238E27FC236}">
                  <a16:creationId xmlns:a16="http://schemas.microsoft.com/office/drawing/2014/main" id="{D562938D-C542-485E-B0AC-33117BD044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4463" y="3706239"/>
              <a:ext cx="250825" cy="144463"/>
            </a:xfrm>
            <a:custGeom>
              <a:avLst/>
              <a:gdLst>
                <a:gd name="T0" fmla="*/ 79 w 158"/>
                <a:gd name="T1" fmla="*/ 91 h 91"/>
                <a:gd name="T2" fmla="*/ 158 w 158"/>
                <a:gd name="T3" fmla="*/ 46 h 91"/>
                <a:gd name="T4" fmla="*/ 79 w 158"/>
                <a:gd name="T5" fmla="*/ 0 h 91"/>
                <a:gd name="T6" fmla="*/ 0 w 158"/>
                <a:gd name="T7" fmla="*/ 46 h 91"/>
                <a:gd name="T8" fmla="*/ 79 w 158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79" y="91"/>
                  </a:moveTo>
                  <a:lnTo>
                    <a:pt x="158" y="46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6" name="Freeform 95">
              <a:extLst>
                <a:ext uri="{FF2B5EF4-FFF2-40B4-BE49-F238E27FC236}">
                  <a16:creationId xmlns:a16="http://schemas.microsoft.com/office/drawing/2014/main" id="{8E4FB4BC-6D41-475C-AF46-819285F073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56563" y="3874514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7" name="Freeform 96">
              <a:extLst>
                <a:ext uri="{FF2B5EF4-FFF2-40B4-BE49-F238E27FC236}">
                  <a16:creationId xmlns:a16="http://schemas.microsoft.com/office/drawing/2014/main" id="{3C30C1EF-82AA-487E-A90E-021721D293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1151" y="3874514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8" name="Freeform 97">
              <a:extLst>
                <a:ext uri="{FF2B5EF4-FFF2-40B4-BE49-F238E27FC236}">
                  <a16:creationId xmlns:a16="http://schemas.microsoft.com/office/drawing/2014/main" id="{123EEB21-7139-45E4-86BA-E811FB37A2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1151" y="3803076"/>
              <a:ext cx="250825" cy="144463"/>
            </a:xfrm>
            <a:custGeom>
              <a:avLst/>
              <a:gdLst>
                <a:gd name="T0" fmla="*/ 0 w 158"/>
                <a:gd name="T1" fmla="*/ 45 h 91"/>
                <a:gd name="T2" fmla="*/ 79 w 158"/>
                <a:gd name="T3" fmla="*/ 91 h 91"/>
                <a:gd name="T4" fmla="*/ 158 w 158"/>
                <a:gd name="T5" fmla="*/ 45 h 91"/>
                <a:gd name="T6" fmla="*/ 79 w 158"/>
                <a:gd name="T7" fmla="*/ 0 h 91"/>
                <a:gd name="T8" fmla="*/ 0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0" y="45"/>
                  </a:moveTo>
                  <a:lnTo>
                    <a:pt x="79" y="91"/>
                  </a:lnTo>
                  <a:lnTo>
                    <a:pt x="158" y="45"/>
                  </a:lnTo>
                  <a:lnTo>
                    <a:pt x="79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9" name="Freeform 98">
              <a:extLst>
                <a:ext uri="{FF2B5EF4-FFF2-40B4-BE49-F238E27FC236}">
                  <a16:creationId xmlns:a16="http://schemas.microsoft.com/office/drawing/2014/main" id="{C96F92B2-BD3E-4E71-8086-C9886511E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24838" y="3971351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6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6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0" name="Freeform 99">
              <a:extLst>
                <a:ext uri="{FF2B5EF4-FFF2-40B4-BE49-F238E27FC236}">
                  <a16:creationId xmlns:a16="http://schemas.microsoft.com/office/drawing/2014/main" id="{DC0E6DFF-5E55-4A9B-AA4B-E920034B3A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99426" y="397135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6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6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1" name="Freeform 100">
              <a:extLst>
                <a:ext uri="{FF2B5EF4-FFF2-40B4-BE49-F238E27FC236}">
                  <a16:creationId xmlns:a16="http://schemas.microsoft.com/office/drawing/2014/main" id="{5BEDF971-11F4-4FC7-A19B-6094D77DDE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99426" y="3899914"/>
              <a:ext cx="249238" cy="142875"/>
            </a:xfrm>
            <a:custGeom>
              <a:avLst/>
              <a:gdLst>
                <a:gd name="T0" fmla="*/ 0 w 157"/>
                <a:gd name="T1" fmla="*/ 45 h 90"/>
                <a:gd name="T2" fmla="*/ 79 w 157"/>
                <a:gd name="T3" fmla="*/ 90 h 90"/>
                <a:gd name="T4" fmla="*/ 157 w 157"/>
                <a:gd name="T5" fmla="*/ 45 h 90"/>
                <a:gd name="T6" fmla="*/ 78 w 157"/>
                <a:gd name="T7" fmla="*/ 0 h 90"/>
                <a:gd name="T8" fmla="*/ 0 w 157"/>
                <a:gd name="T9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0">
                  <a:moveTo>
                    <a:pt x="0" y="45"/>
                  </a:moveTo>
                  <a:lnTo>
                    <a:pt x="79" y="90"/>
                  </a:lnTo>
                  <a:lnTo>
                    <a:pt x="157" y="45"/>
                  </a:lnTo>
                  <a:lnTo>
                    <a:pt x="78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2" name="Freeform 101">
              <a:extLst>
                <a:ext uri="{FF2B5EF4-FFF2-40B4-BE49-F238E27FC236}">
                  <a16:creationId xmlns:a16="http://schemas.microsoft.com/office/drawing/2014/main" id="{61F12AB5-7116-456B-AB32-D8B8C0BBB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1526" y="4066601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3" name="Freeform 102">
              <a:extLst>
                <a:ext uri="{FF2B5EF4-FFF2-40B4-BE49-F238E27FC236}">
                  <a16:creationId xmlns:a16="http://schemas.microsoft.com/office/drawing/2014/main" id="{AF06528E-836B-4FC5-BFEB-F53EAA3658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6113" y="406660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4" name="Freeform 103">
              <a:extLst>
                <a:ext uri="{FF2B5EF4-FFF2-40B4-BE49-F238E27FC236}">
                  <a16:creationId xmlns:a16="http://schemas.microsoft.com/office/drawing/2014/main" id="{FF915AF2-E246-43F4-B722-ED1CF24D81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6113" y="3993576"/>
              <a:ext cx="249238" cy="144463"/>
            </a:xfrm>
            <a:custGeom>
              <a:avLst/>
              <a:gdLst>
                <a:gd name="T0" fmla="*/ 0 w 157"/>
                <a:gd name="T1" fmla="*/ 46 h 91"/>
                <a:gd name="T2" fmla="*/ 79 w 157"/>
                <a:gd name="T3" fmla="*/ 91 h 91"/>
                <a:gd name="T4" fmla="*/ 157 w 157"/>
                <a:gd name="T5" fmla="*/ 46 h 91"/>
                <a:gd name="T6" fmla="*/ 78 w 157"/>
                <a:gd name="T7" fmla="*/ 0 h 91"/>
                <a:gd name="T8" fmla="*/ 0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0" y="46"/>
                  </a:moveTo>
                  <a:lnTo>
                    <a:pt x="79" y="91"/>
                  </a:lnTo>
                  <a:lnTo>
                    <a:pt x="157" y="46"/>
                  </a:lnTo>
                  <a:lnTo>
                    <a:pt x="78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5" name="Freeform 104">
              <a:extLst>
                <a:ext uri="{FF2B5EF4-FFF2-40B4-BE49-F238E27FC236}">
                  <a16:creationId xmlns:a16="http://schemas.microsoft.com/office/drawing/2014/main" id="{FA25F9AA-EB3D-4C6B-B835-9B50E00B0A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58213" y="4163439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6" name="Freeform 105">
              <a:extLst>
                <a:ext uri="{FF2B5EF4-FFF2-40B4-BE49-F238E27FC236}">
                  <a16:creationId xmlns:a16="http://schemas.microsoft.com/office/drawing/2014/main" id="{854145A0-3338-49B4-AF1A-7DEC14604E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32801" y="4163439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7" name="Freeform 106">
              <a:extLst>
                <a:ext uri="{FF2B5EF4-FFF2-40B4-BE49-F238E27FC236}">
                  <a16:creationId xmlns:a16="http://schemas.microsoft.com/office/drawing/2014/main" id="{618B47C9-056F-438E-80BB-A9375631BF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32801" y="4090414"/>
              <a:ext cx="249238" cy="144463"/>
            </a:xfrm>
            <a:custGeom>
              <a:avLst/>
              <a:gdLst>
                <a:gd name="T0" fmla="*/ 0 w 157"/>
                <a:gd name="T1" fmla="*/ 46 h 91"/>
                <a:gd name="T2" fmla="*/ 79 w 157"/>
                <a:gd name="T3" fmla="*/ 91 h 91"/>
                <a:gd name="T4" fmla="*/ 157 w 157"/>
                <a:gd name="T5" fmla="*/ 46 h 91"/>
                <a:gd name="T6" fmla="*/ 78 w 157"/>
                <a:gd name="T7" fmla="*/ 0 h 91"/>
                <a:gd name="T8" fmla="*/ 0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0" y="46"/>
                  </a:moveTo>
                  <a:lnTo>
                    <a:pt x="79" y="91"/>
                  </a:lnTo>
                  <a:lnTo>
                    <a:pt x="157" y="46"/>
                  </a:lnTo>
                  <a:lnTo>
                    <a:pt x="78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8" name="Freeform 107">
              <a:extLst>
                <a:ext uri="{FF2B5EF4-FFF2-40B4-BE49-F238E27FC236}">
                  <a16:creationId xmlns:a16="http://schemas.microsoft.com/office/drawing/2014/main" id="{1BCADA2D-9177-4B07-BEB2-EE82651E46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24901" y="4258689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9" name="Freeform 108">
              <a:extLst>
                <a:ext uri="{FF2B5EF4-FFF2-40B4-BE49-F238E27FC236}">
                  <a16:creationId xmlns:a16="http://schemas.microsoft.com/office/drawing/2014/main" id="{BF66BB9C-98A1-441C-AA07-0E540E34F0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9488" y="4258689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0" name="Freeform 109">
              <a:extLst>
                <a:ext uri="{FF2B5EF4-FFF2-40B4-BE49-F238E27FC236}">
                  <a16:creationId xmlns:a16="http://schemas.microsoft.com/office/drawing/2014/main" id="{6D321CF5-FF4C-4EE2-81FE-D8854B035A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9488" y="4187251"/>
              <a:ext cx="250825" cy="144463"/>
            </a:xfrm>
            <a:custGeom>
              <a:avLst/>
              <a:gdLst>
                <a:gd name="T0" fmla="*/ 0 w 158"/>
                <a:gd name="T1" fmla="*/ 45 h 91"/>
                <a:gd name="T2" fmla="*/ 79 w 158"/>
                <a:gd name="T3" fmla="*/ 91 h 91"/>
                <a:gd name="T4" fmla="*/ 158 w 158"/>
                <a:gd name="T5" fmla="*/ 45 h 91"/>
                <a:gd name="T6" fmla="*/ 79 w 158"/>
                <a:gd name="T7" fmla="*/ 0 h 91"/>
                <a:gd name="T8" fmla="*/ 0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0" y="45"/>
                  </a:moveTo>
                  <a:lnTo>
                    <a:pt x="79" y="91"/>
                  </a:lnTo>
                  <a:lnTo>
                    <a:pt x="158" y="45"/>
                  </a:lnTo>
                  <a:lnTo>
                    <a:pt x="79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1" name="Freeform 110">
              <a:extLst>
                <a:ext uri="{FF2B5EF4-FFF2-40B4-BE49-F238E27FC236}">
                  <a16:creationId xmlns:a16="http://schemas.microsoft.com/office/drawing/2014/main" id="{36E4F201-6991-4A4B-9156-59B8EDB7FD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91588" y="4355526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2" name="Freeform 111">
              <a:extLst>
                <a:ext uri="{FF2B5EF4-FFF2-40B4-BE49-F238E27FC236}">
                  <a16:creationId xmlns:a16="http://schemas.microsoft.com/office/drawing/2014/main" id="{A6732AC3-F5DF-4FE1-BC61-4B933B03B5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176" y="4355526"/>
              <a:ext cx="125413" cy="100013"/>
            </a:xfrm>
            <a:custGeom>
              <a:avLst/>
              <a:gdLst>
                <a:gd name="T0" fmla="*/ 1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1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1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3" name="Freeform 112">
              <a:extLst>
                <a:ext uri="{FF2B5EF4-FFF2-40B4-BE49-F238E27FC236}">
                  <a16:creationId xmlns:a16="http://schemas.microsoft.com/office/drawing/2014/main" id="{B8E28E85-1E47-4010-8EA7-D088613876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7763" y="4284089"/>
              <a:ext cx="249238" cy="144463"/>
            </a:xfrm>
            <a:custGeom>
              <a:avLst/>
              <a:gdLst>
                <a:gd name="T0" fmla="*/ 0 w 157"/>
                <a:gd name="T1" fmla="*/ 45 h 91"/>
                <a:gd name="T2" fmla="*/ 78 w 157"/>
                <a:gd name="T3" fmla="*/ 91 h 91"/>
                <a:gd name="T4" fmla="*/ 157 w 157"/>
                <a:gd name="T5" fmla="*/ 45 h 91"/>
                <a:gd name="T6" fmla="*/ 78 w 157"/>
                <a:gd name="T7" fmla="*/ 0 h 91"/>
                <a:gd name="T8" fmla="*/ 0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0" y="45"/>
                  </a:moveTo>
                  <a:lnTo>
                    <a:pt x="78" y="91"/>
                  </a:lnTo>
                  <a:lnTo>
                    <a:pt x="157" y="45"/>
                  </a:lnTo>
                  <a:lnTo>
                    <a:pt x="78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4" name="Freeform 113">
              <a:extLst>
                <a:ext uri="{FF2B5EF4-FFF2-40B4-BE49-F238E27FC236}">
                  <a16:creationId xmlns:a16="http://schemas.microsoft.com/office/drawing/2014/main" id="{CADA4259-93C9-4059-BC19-4F9E73C61E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59863" y="4452364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5" name="Freeform 114">
              <a:extLst>
                <a:ext uri="{FF2B5EF4-FFF2-40B4-BE49-F238E27FC236}">
                  <a16:creationId xmlns:a16="http://schemas.microsoft.com/office/drawing/2014/main" id="{7D48DEB4-259D-41B9-BE6B-BA97996BE5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34451" y="4452364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6" name="Freeform 115">
              <a:extLst>
                <a:ext uri="{FF2B5EF4-FFF2-40B4-BE49-F238E27FC236}">
                  <a16:creationId xmlns:a16="http://schemas.microsoft.com/office/drawing/2014/main" id="{EE9A728C-A961-464A-91F0-F74A72221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34451" y="4379339"/>
              <a:ext cx="249238" cy="146050"/>
            </a:xfrm>
            <a:custGeom>
              <a:avLst/>
              <a:gdLst>
                <a:gd name="T0" fmla="*/ 0 w 157"/>
                <a:gd name="T1" fmla="*/ 46 h 92"/>
                <a:gd name="T2" fmla="*/ 79 w 157"/>
                <a:gd name="T3" fmla="*/ 92 h 92"/>
                <a:gd name="T4" fmla="*/ 157 w 157"/>
                <a:gd name="T5" fmla="*/ 46 h 92"/>
                <a:gd name="T6" fmla="*/ 78 w 157"/>
                <a:gd name="T7" fmla="*/ 0 h 92"/>
                <a:gd name="T8" fmla="*/ 0 w 157"/>
                <a:gd name="T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2">
                  <a:moveTo>
                    <a:pt x="0" y="46"/>
                  </a:moveTo>
                  <a:lnTo>
                    <a:pt x="79" y="92"/>
                  </a:lnTo>
                  <a:lnTo>
                    <a:pt x="157" y="46"/>
                  </a:lnTo>
                  <a:lnTo>
                    <a:pt x="78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7" name="Freeform 116">
              <a:extLst>
                <a:ext uri="{FF2B5EF4-FFF2-40B4-BE49-F238E27FC236}">
                  <a16:creationId xmlns:a16="http://schemas.microsoft.com/office/drawing/2014/main" id="{E5AEF667-F65A-41BC-877B-F94BF33221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26551" y="4549201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8" name="Freeform 117">
              <a:extLst>
                <a:ext uri="{FF2B5EF4-FFF2-40B4-BE49-F238E27FC236}">
                  <a16:creationId xmlns:a16="http://schemas.microsoft.com/office/drawing/2014/main" id="{4508CB0D-7926-4FC1-9432-CD05BD2BB7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01138" y="4549201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9" name="Freeform 118">
              <a:extLst>
                <a:ext uri="{FF2B5EF4-FFF2-40B4-BE49-F238E27FC236}">
                  <a16:creationId xmlns:a16="http://schemas.microsoft.com/office/drawing/2014/main" id="{7F1ECC8B-2362-44BA-B663-8CC9C4731E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01138" y="4476176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0" name="Freeform 119">
              <a:extLst>
                <a:ext uri="{FF2B5EF4-FFF2-40B4-BE49-F238E27FC236}">
                  <a16:creationId xmlns:a16="http://schemas.microsoft.com/office/drawing/2014/main" id="{524A0A19-30EF-4523-A3A4-4866037122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3238" y="4644451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1" name="Freeform 120">
              <a:extLst>
                <a:ext uri="{FF2B5EF4-FFF2-40B4-BE49-F238E27FC236}">
                  <a16:creationId xmlns:a16="http://schemas.microsoft.com/office/drawing/2014/main" id="{C4169429-EE5D-4051-80A1-01AA1442FF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67826" y="464445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2" name="Freeform 121">
              <a:extLst>
                <a:ext uri="{FF2B5EF4-FFF2-40B4-BE49-F238E27FC236}">
                  <a16:creationId xmlns:a16="http://schemas.microsoft.com/office/drawing/2014/main" id="{041CD1C3-3192-45CC-8887-E8C2F54C5D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67826" y="4573014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3" name="Freeform 122">
              <a:extLst>
                <a:ext uri="{FF2B5EF4-FFF2-40B4-BE49-F238E27FC236}">
                  <a16:creationId xmlns:a16="http://schemas.microsoft.com/office/drawing/2014/main" id="{F4E8F47A-9D4D-4DD7-8BB3-3D986EAC33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59938" y="4798439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4" name="Freeform 123">
              <a:extLst>
                <a:ext uri="{FF2B5EF4-FFF2-40B4-BE49-F238E27FC236}">
                  <a16:creationId xmlns:a16="http://schemas.microsoft.com/office/drawing/2014/main" id="{55DC85FC-36FB-4C8C-A07B-33AB384970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40863" y="4744464"/>
              <a:ext cx="219075" cy="153988"/>
            </a:xfrm>
            <a:custGeom>
              <a:avLst/>
              <a:gdLst>
                <a:gd name="T0" fmla="*/ 0 w 138"/>
                <a:gd name="T1" fmla="*/ 0 h 97"/>
                <a:gd name="T2" fmla="*/ 0 w 138"/>
                <a:gd name="T3" fmla="*/ 17 h 97"/>
                <a:gd name="T4" fmla="*/ 138 w 138"/>
                <a:gd name="T5" fmla="*/ 97 h 97"/>
                <a:gd name="T6" fmla="*/ 138 w 138"/>
                <a:gd name="T7" fmla="*/ 80 h 97"/>
                <a:gd name="T8" fmla="*/ 0 w 138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97">
                  <a:moveTo>
                    <a:pt x="0" y="0"/>
                  </a:moveTo>
                  <a:lnTo>
                    <a:pt x="0" y="17"/>
                  </a:lnTo>
                  <a:lnTo>
                    <a:pt x="138" y="97"/>
                  </a:lnTo>
                  <a:lnTo>
                    <a:pt x="138" y="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5" name="Freeform 124">
              <a:extLst>
                <a:ext uri="{FF2B5EF4-FFF2-40B4-BE49-F238E27FC236}">
                  <a16:creationId xmlns:a16="http://schemas.microsoft.com/office/drawing/2014/main" id="{32F3A980-44CF-41F9-B78C-1DC66D6ECB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40863" y="4673026"/>
              <a:ext cx="342900" cy="198438"/>
            </a:xfrm>
            <a:custGeom>
              <a:avLst/>
              <a:gdLst>
                <a:gd name="T0" fmla="*/ 0 w 216"/>
                <a:gd name="T1" fmla="*/ 45 h 125"/>
                <a:gd name="T2" fmla="*/ 138 w 216"/>
                <a:gd name="T3" fmla="*/ 125 h 125"/>
                <a:gd name="T4" fmla="*/ 216 w 216"/>
                <a:gd name="T5" fmla="*/ 79 h 125"/>
                <a:gd name="T6" fmla="*/ 79 w 216"/>
                <a:gd name="T7" fmla="*/ 0 h 125"/>
                <a:gd name="T8" fmla="*/ 0 w 216"/>
                <a:gd name="T9" fmla="*/ 4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125">
                  <a:moveTo>
                    <a:pt x="0" y="45"/>
                  </a:moveTo>
                  <a:lnTo>
                    <a:pt x="138" y="125"/>
                  </a:lnTo>
                  <a:lnTo>
                    <a:pt x="216" y="79"/>
                  </a:lnTo>
                  <a:lnTo>
                    <a:pt x="79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6" name="Freeform 125">
              <a:extLst>
                <a:ext uri="{FF2B5EF4-FFF2-40B4-BE49-F238E27FC236}">
                  <a16:creationId xmlns:a16="http://schemas.microsoft.com/office/drawing/2014/main" id="{ADF21268-4039-4288-8C0F-70908EDCED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56513" y="3834826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7" name="Freeform 126">
              <a:extLst>
                <a:ext uri="{FF2B5EF4-FFF2-40B4-BE49-F238E27FC236}">
                  <a16:creationId xmlns:a16="http://schemas.microsoft.com/office/drawing/2014/main" id="{308B3332-E96C-47ED-B6A0-51F833B246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2826" y="3739576"/>
              <a:ext cx="293688" cy="195263"/>
            </a:xfrm>
            <a:custGeom>
              <a:avLst/>
              <a:gdLst>
                <a:gd name="T0" fmla="*/ 185 w 185"/>
                <a:gd name="T1" fmla="*/ 106 h 123"/>
                <a:gd name="T2" fmla="*/ 0 w 185"/>
                <a:gd name="T3" fmla="*/ 0 h 123"/>
                <a:gd name="T4" fmla="*/ 0 w 185"/>
                <a:gd name="T5" fmla="*/ 17 h 123"/>
                <a:gd name="T6" fmla="*/ 185 w 185"/>
                <a:gd name="T7" fmla="*/ 123 h 123"/>
                <a:gd name="T8" fmla="*/ 185 w 185"/>
                <a:gd name="T9" fmla="*/ 10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123">
                  <a:moveTo>
                    <a:pt x="185" y="10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185" y="123"/>
                  </a:lnTo>
                  <a:lnTo>
                    <a:pt x="185" y="10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8" name="Freeform 127">
              <a:extLst>
                <a:ext uri="{FF2B5EF4-FFF2-40B4-BE49-F238E27FC236}">
                  <a16:creationId xmlns:a16="http://schemas.microsoft.com/office/drawing/2014/main" id="{3FE1A006-E9E0-490F-89E5-5F27EB383D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2826" y="3666551"/>
              <a:ext cx="417513" cy="241300"/>
            </a:xfrm>
            <a:custGeom>
              <a:avLst/>
              <a:gdLst>
                <a:gd name="T0" fmla="*/ 263 w 263"/>
                <a:gd name="T1" fmla="*/ 106 h 152"/>
                <a:gd name="T2" fmla="*/ 79 w 263"/>
                <a:gd name="T3" fmla="*/ 0 h 152"/>
                <a:gd name="T4" fmla="*/ 0 w 263"/>
                <a:gd name="T5" fmla="*/ 46 h 152"/>
                <a:gd name="T6" fmla="*/ 185 w 263"/>
                <a:gd name="T7" fmla="*/ 152 h 152"/>
                <a:gd name="T8" fmla="*/ 263 w 263"/>
                <a:gd name="T9" fmla="*/ 10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152">
                  <a:moveTo>
                    <a:pt x="263" y="10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185" y="152"/>
                  </a:lnTo>
                  <a:lnTo>
                    <a:pt x="263" y="10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89" name="Freeform 128">
              <a:extLst>
                <a:ext uri="{FF2B5EF4-FFF2-40B4-BE49-F238E27FC236}">
                  <a16:creationId xmlns:a16="http://schemas.microsoft.com/office/drawing/2014/main" id="{D57D556E-2DAC-4991-9409-DE1ED450D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3201" y="3931664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0" name="Freeform 129">
              <a:extLst>
                <a:ext uri="{FF2B5EF4-FFF2-40B4-BE49-F238E27FC236}">
                  <a16:creationId xmlns:a16="http://schemas.microsoft.com/office/drawing/2014/main" id="{9C3C40EA-E6DA-41DB-ACD1-0177553D48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7788" y="39316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1" name="Freeform 130">
              <a:extLst>
                <a:ext uri="{FF2B5EF4-FFF2-40B4-BE49-F238E27FC236}">
                  <a16:creationId xmlns:a16="http://schemas.microsoft.com/office/drawing/2014/main" id="{3F71C033-AB54-49DB-9128-95C13B26CE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7788" y="3860226"/>
              <a:ext cx="249238" cy="142875"/>
            </a:xfrm>
            <a:custGeom>
              <a:avLst/>
              <a:gdLst>
                <a:gd name="T0" fmla="*/ 79 w 157"/>
                <a:gd name="T1" fmla="*/ 90 h 90"/>
                <a:gd name="T2" fmla="*/ 157 w 157"/>
                <a:gd name="T3" fmla="*/ 45 h 90"/>
                <a:gd name="T4" fmla="*/ 78 w 157"/>
                <a:gd name="T5" fmla="*/ 0 h 90"/>
                <a:gd name="T6" fmla="*/ 0 w 157"/>
                <a:gd name="T7" fmla="*/ 45 h 90"/>
                <a:gd name="T8" fmla="*/ 79 w 157"/>
                <a:gd name="T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0">
                  <a:moveTo>
                    <a:pt x="79" y="90"/>
                  </a:moveTo>
                  <a:lnTo>
                    <a:pt x="157" y="45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79" y="90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2" name="Freeform 131">
              <a:extLst>
                <a:ext uri="{FF2B5EF4-FFF2-40B4-BE49-F238E27FC236}">
                  <a16:creationId xmlns:a16="http://schemas.microsoft.com/office/drawing/2014/main" id="{97FB333C-4CB2-4109-80CC-99A4A6D01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9888" y="4026914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3" name="Freeform 132">
              <a:extLst>
                <a:ext uri="{FF2B5EF4-FFF2-40B4-BE49-F238E27FC236}">
                  <a16:creationId xmlns:a16="http://schemas.microsoft.com/office/drawing/2014/main" id="{13C08AB3-9225-46FB-B58C-3FEB2D3B49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4476" y="4026914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4" name="Freeform 133">
              <a:extLst>
                <a:ext uri="{FF2B5EF4-FFF2-40B4-BE49-F238E27FC236}">
                  <a16:creationId xmlns:a16="http://schemas.microsoft.com/office/drawing/2014/main" id="{DE725E3B-05A8-42CC-B02B-6A18DF7866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4476" y="3955476"/>
              <a:ext cx="249238" cy="144463"/>
            </a:xfrm>
            <a:custGeom>
              <a:avLst/>
              <a:gdLst>
                <a:gd name="T0" fmla="*/ 79 w 157"/>
                <a:gd name="T1" fmla="*/ 91 h 91"/>
                <a:gd name="T2" fmla="*/ 157 w 157"/>
                <a:gd name="T3" fmla="*/ 45 h 91"/>
                <a:gd name="T4" fmla="*/ 79 w 157"/>
                <a:gd name="T5" fmla="*/ 0 h 91"/>
                <a:gd name="T6" fmla="*/ 0 w 157"/>
                <a:gd name="T7" fmla="*/ 45 h 91"/>
                <a:gd name="T8" fmla="*/ 79 w 15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79" y="91"/>
                  </a:moveTo>
                  <a:lnTo>
                    <a:pt x="157" y="45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5" name="Freeform 134">
              <a:extLst>
                <a:ext uri="{FF2B5EF4-FFF2-40B4-BE49-F238E27FC236}">
                  <a16:creationId xmlns:a16="http://schemas.microsoft.com/office/drawing/2014/main" id="{0FF95397-18E3-4354-9759-F2BFA3F08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6576" y="4123751"/>
              <a:ext cx="125413" cy="98425"/>
            </a:xfrm>
            <a:custGeom>
              <a:avLst/>
              <a:gdLst>
                <a:gd name="T0" fmla="*/ 79 w 79"/>
                <a:gd name="T1" fmla="*/ 0 h 62"/>
                <a:gd name="T2" fmla="*/ 0 w 79"/>
                <a:gd name="T3" fmla="*/ 45 h 62"/>
                <a:gd name="T4" fmla="*/ 0 w 79"/>
                <a:gd name="T5" fmla="*/ 62 h 62"/>
                <a:gd name="T6" fmla="*/ 79 w 79"/>
                <a:gd name="T7" fmla="*/ 17 h 62"/>
                <a:gd name="T8" fmla="*/ 79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0"/>
                  </a:moveTo>
                  <a:lnTo>
                    <a:pt x="0" y="45"/>
                  </a:lnTo>
                  <a:lnTo>
                    <a:pt x="0" y="62"/>
                  </a:lnTo>
                  <a:lnTo>
                    <a:pt x="79" y="17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6" name="Freeform 135">
              <a:extLst>
                <a:ext uri="{FF2B5EF4-FFF2-40B4-BE49-F238E27FC236}">
                  <a16:creationId xmlns:a16="http://schemas.microsoft.com/office/drawing/2014/main" id="{C8A9418C-94D9-4D95-A412-EEDD7A5C65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1163" y="412375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7" name="Freeform 136">
              <a:extLst>
                <a:ext uri="{FF2B5EF4-FFF2-40B4-BE49-F238E27FC236}">
                  <a16:creationId xmlns:a16="http://schemas.microsoft.com/office/drawing/2014/main" id="{84B6408B-B0BC-4321-9D9B-9E5D086DFC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1163" y="4050726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8" name="Freeform 137">
              <a:extLst>
                <a:ext uri="{FF2B5EF4-FFF2-40B4-BE49-F238E27FC236}">
                  <a16:creationId xmlns:a16="http://schemas.microsoft.com/office/drawing/2014/main" id="{F5D81230-09C3-44B0-8705-AD7D7391D5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3263" y="4219001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1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1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99" name="Freeform 138">
              <a:extLst>
                <a:ext uri="{FF2B5EF4-FFF2-40B4-BE49-F238E27FC236}">
                  <a16:creationId xmlns:a16="http://schemas.microsoft.com/office/drawing/2014/main" id="{EC53171A-8579-4838-B6EE-FBA1013D82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7851" y="4219001"/>
              <a:ext cx="127000" cy="100013"/>
            </a:xfrm>
            <a:custGeom>
              <a:avLst/>
              <a:gdLst>
                <a:gd name="T0" fmla="*/ 80 w 80"/>
                <a:gd name="T1" fmla="*/ 46 h 63"/>
                <a:gd name="T2" fmla="*/ 1 w 80"/>
                <a:gd name="T3" fmla="*/ 0 h 63"/>
                <a:gd name="T4" fmla="*/ 0 w 80"/>
                <a:gd name="T5" fmla="*/ 17 h 63"/>
                <a:gd name="T6" fmla="*/ 79 w 80"/>
                <a:gd name="T7" fmla="*/ 63 h 63"/>
                <a:gd name="T8" fmla="*/ 80 w 80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3">
                  <a:moveTo>
                    <a:pt x="80" y="46"/>
                  </a:moveTo>
                  <a:lnTo>
                    <a:pt x="1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80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0" name="Freeform 139">
              <a:extLst>
                <a:ext uri="{FF2B5EF4-FFF2-40B4-BE49-F238E27FC236}">
                  <a16:creationId xmlns:a16="http://schemas.microsoft.com/office/drawing/2014/main" id="{3040AEF6-DFDC-46D5-B051-EF59D24EA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9438" y="4147564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1" name="Freeform 140">
              <a:extLst>
                <a:ext uri="{FF2B5EF4-FFF2-40B4-BE49-F238E27FC236}">
                  <a16:creationId xmlns:a16="http://schemas.microsoft.com/office/drawing/2014/main" id="{88D4549C-D988-48E1-A953-EEFCA8FEBF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538" y="4315839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2" name="Freeform 141">
              <a:extLst>
                <a:ext uri="{FF2B5EF4-FFF2-40B4-BE49-F238E27FC236}">
                  <a16:creationId xmlns:a16="http://schemas.microsoft.com/office/drawing/2014/main" id="{7A2B1E12-612D-4C32-AB82-1FF8EC024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126" y="4315839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3" name="Freeform 142">
              <a:extLst>
                <a:ext uri="{FF2B5EF4-FFF2-40B4-BE49-F238E27FC236}">
                  <a16:creationId xmlns:a16="http://schemas.microsoft.com/office/drawing/2014/main" id="{133A0518-55D3-49A6-AFF4-2E1784894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126" y="4244401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4" name="Freeform 143">
              <a:extLst>
                <a:ext uri="{FF2B5EF4-FFF2-40B4-BE49-F238E27FC236}">
                  <a16:creationId xmlns:a16="http://schemas.microsoft.com/office/drawing/2014/main" id="{6EC31DDB-1702-454C-A141-E09F75178B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58226" y="4412676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5" name="Freeform 144">
              <a:extLst>
                <a:ext uri="{FF2B5EF4-FFF2-40B4-BE49-F238E27FC236}">
                  <a16:creationId xmlns:a16="http://schemas.microsoft.com/office/drawing/2014/main" id="{EEB2B82D-72E6-4F3E-9F62-FA04B4544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2813" y="4412676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6" name="Freeform 145">
              <a:extLst>
                <a:ext uri="{FF2B5EF4-FFF2-40B4-BE49-F238E27FC236}">
                  <a16:creationId xmlns:a16="http://schemas.microsoft.com/office/drawing/2014/main" id="{9868E56F-3561-455D-B508-D59F03B3D0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2813" y="4339651"/>
              <a:ext cx="249238" cy="146050"/>
            </a:xfrm>
            <a:custGeom>
              <a:avLst/>
              <a:gdLst>
                <a:gd name="T0" fmla="*/ 157 w 157"/>
                <a:gd name="T1" fmla="*/ 46 h 92"/>
                <a:gd name="T2" fmla="*/ 78 w 157"/>
                <a:gd name="T3" fmla="*/ 0 h 92"/>
                <a:gd name="T4" fmla="*/ 0 w 157"/>
                <a:gd name="T5" fmla="*/ 46 h 92"/>
                <a:gd name="T6" fmla="*/ 79 w 157"/>
                <a:gd name="T7" fmla="*/ 92 h 92"/>
                <a:gd name="T8" fmla="*/ 157 w 157"/>
                <a:gd name="T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2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2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7" name="Freeform 146">
              <a:extLst>
                <a:ext uri="{FF2B5EF4-FFF2-40B4-BE49-F238E27FC236}">
                  <a16:creationId xmlns:a16="http://schemas.microsoft.com/office/drawing/2014/main" id="{0872EBF8-31D3-4D65-87FB-8E352143E8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24913" y="450951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8" name="Freeform 147">
              <a:extLst>
                <a:ext uri="{FF2B5EF4-FFF2-40B4-BE49-F238E27FC236}">
                  <a16:creationId xmlns:a16="http://schemas.microsoft.com/office/drawing/2014/main" id="{20A253EA-823A-47D8-A07C-A979E95178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9501" y="4509514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09" name="Freeform 148">
              <a:extLst>
                <a:ext uri="{FF2B5EF4-FFF2-40B4-BE49-F238E27FC236}">
                  <a16:creationId xmlns:a16="http://schemas.microsoft.com/office/drawing/2014/main" id="{A3D700E9-31E6-418D-9868-3F824363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9501" y="4436489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0" name="Freeform 149">
              <a:extLst>
                <a:ext uri="{FF2B5EF4-FFF2-40B4-BE49-F238E27FC236}">
                  <a16:creationId xmlns:a16="http://schemas.microsoft.com/office/drawing/2014/main" id="{406CD759-69AF-4AA4-B8DF-813109186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91601" y="4604764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1" name="Freeform 150">
              <a:extLst>
                <a:ext uri="{FF2B5EF4-FFF2-40B4-BE49-F238E27FC236}">
                  <a16:creationId xmlns:a16="http://schemas.microsoft.com/office/drawing/2014/main" id="{73592400-86BD-4E2B-B16C-BD99D9B84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6188" y="4604764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2" name="Freeform 151">
              <a:extLst>
                <a:ext uri="{FF2B5EF4-FFF2-40B4-BE49-F238E27FC236}">
                  <a16:creationId xmlns:a16="http://schemas.microsoft.com/office/drawing/2014/main" id="{635F620A-2AC7-4EF4-ADB2-08EB4D47D3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6188" y="4533326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3" name="Freeform 152">
              <a:extLst>
                <a:ext uri="{FF2B5EF4-FFF2-40B4-BE49-F238E27FC236}">
                  <a16:creationId xmlns:a16="http://schemas.microsoft.com/office/drawing/2014/main" id="{69A28097-3BF7-4F61-A787-F5EFC46B59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9876" y="4701601"/>
              <a:ext cx="123825" cy="100013"/>
            </a:xfrm>
            <a:custGeom>
              <a:avLst/>
              <a:gdLst>
                <a:gd name="T0" fmla="*/ 78 w 78"/>
                <a:gd name="T1" fmla="*/ 0 h 63"/>
                <a:gd name="T2" fmla="*/ 0 w 78"/>
                <a:gd name="T3" fmla="*/ 46 h 63"/>
                <a:gd name="T4" fmla="*/ 0 w 78"/>
                <a:gd name="T5" fmla="*/ 63 h 63"/>
                <a:gd name="T6" fmla="*/ 78 w 78"/>
                <a:gd name="T7" fmla="*/ 17 h 63"/>
                <a:gd name="T8" fmla="*/ 78 w 78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78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4" name="Freeform 153">
              <a:extLst>
                <a:ext uri="{FF2B5EF4-FFF2-40B4-BE49-F238E27FC236}">
                  <a16:creationId xmlns:a16="http://schemas.microsoft.com/office/drawing/2014/main" id="{632C9F6F-0914-4B6A-AEA7-0DC32EB45C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4463" y="4701601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5" name="Freeform 154">
              <a:extLst>
                <a:ext uri="{FF2B5EF4-FFF2-40B4-BE49-F238E27FC236}">
                  <a16:creationId xmlns:a16="http://schemas.microsoft.com/office/drawing/2014/main" id="{94F784F3-D4D0-4215-AC91-1CD8266D78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4463" y="4630164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6" name="Freeform 155">
              <a:extLst>
                <a:ext uri="{FF2B5EF4-FFF2-40B4-BE49-F238E27FC236}">
                  <a16:creationId xmlns:a16="http://schemas.microsoft.com/office/drawing/2014/main" id="{ECB4A92A-A155-4F5A-8566-B3F8CE5BA9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23138" y="3834826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7" name="Freeform 156">
              <a:extLst>
                <a:ext uri="{FF2B5EF4-FFF2-40B4-BE49-F238E27FC236}">
                  <a16:creationId xmlns:a16="http://schemas.microsoft.com/office/drawing/2014/main" id="{78C32726-BC35-4FDD-BC39-A427ACC3C3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7726" y="3834826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8" name="Freeform 157">
              <a:extLst>
                <a:ext uri="{FF2B5EF4-FFF2-40B4-BE49-F238E27FC236}">
                  <a16:creationId xmlns:a16="http://schemas.microsoft.com/office/drawing/2014/main" id="{3E28A74C-2C83-41C8-BAB1-F9DB51EAC1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7726" y="3763389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19" name="Freeform 158">
              <a:extLst>
                <a:ext uri="{FF2B5EF4-FFF2-40B4-BE49-F238E27FC236}">
                  <a16:creationId xmlns:a16="http://schemas.microsoft.com/office/drawing/2014/main" id="{9B856E69-04AB-4239-95B7-6EF9AD267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89826" y="393166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0" name="Freeform 159">
              <a:extLst>
                <a:ext uri="{FF2B5EF4-FFF2-40B4-BE49-F238E27FC236}">
                  <a16:creationId xmlns:a16="http://schemas.microsoft.com/office/drawing/2014/main" id="{FA8CC8A4-0805-41FF-8F4A-322D68AA1D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413" y="39316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1" name="Freeform 160">
              <a:extLst>
                <a:ext uri="{FF2B5EF4-FFF2-40B4-BE49-F238E27FC236}">
                  <a16:creationId xmlns:a16="http://schemas.microsoft.com/office/drawing/2014/main" id="{44862FB1-CA10-4002-BDD9-EF215D39FC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413" y="3858639"/>
              <a:ext cx="250825" cy="144463"/>
            </a:xfrm>
            <a:custGeom>
              <a:avLst/>
              <a:gdLst>
                <a:gd name="T0" fmla="*/ 0 w 158"/>
                <a:gd name="T1" fmla="*/ 46 h 91"/>
                <a:gd name="T2" fmla="*/ 79 w 158"/>
                <a:gd name="T3" fmla="*/ 91 h 91"/>
                <a:gd name="T4" fmla="*/ 158 w 158"/>
                <a:gd name="T5" fmla="*/ 46 h 91"/>
                <a:gd name="T6" fmla="*/ 79 w 158"/>
                <a:gd name="T7" fmla="*/ 0 h 91"/>
                <a:gd name="T8" fmla="*/ 0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0" y="46"/>
                  </a:moveTo>
                  <a:lnTo>
                    <a:pt x="79" y="91"/>
                  </a:lnTo>
                  <a:lnTo>
                    <a:pt x="158" y="46"/>
                  </a:lnTo>
                  <a:lnTo>
                    <a:pt x="79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2" name="Freeform 161">
              <a:extLst>
                <a:ext uri="{FF2B5EF4-FFF2-40B4-BE49-F238E27FC236}">
                  <a16:creationId xmlns:a16="http://schemas.microsoft.com/office/drawing/2014/main" id="{27502073-C09C-4684-8502-9C9F6B7FCA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56513" y="402691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3" name="Freeform 162">
              <a:extLst>
                <a:ext uri="{FF2B5EF4-FFF2-40B4-BE49-F238E27FC236}">
                  <a16:creationId xmlns:a16="http://schemas.microsoft.com/office/drawing/2014/main" id="{106D77DE-7544-479B-BC60-5C75735667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1101" y="402691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4" name="Freeform 163">
              <a:extLst>
                <a:ext uri="{FF2B5EF4-FFF2-40B4-BE49-F238E27FC236}">
                  <a16:creationId xmlns:a16="http://schemas.microsoft.com/office/drawing/2014/main" id="{A132F896-755F-4F17-9578-154A207771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1101" y="3955476"/>
              <a:ext cx="250825" cy="142875"/>
            </a:xfrm>
            <a:custGeom>
              <a:avLst/>
              <a:gdLst>
                <a:gd name="T0" fmla="*/ 0 w 158"/>
                <a:gd name="T1" fmla="*/ 45 h 90"/>
                <a:gd name="T2" fmla="*/ 79 w 158"/>
                <a:gd name="T3" fmla="*/ 90 h 90"/>
                <a:gd name="T4" fmla="*/ 158 w 158"/>
                <a:gd name="T5" fmla="*/ 45 h 90"/>
                <a:gd name="T6" fmla="*/ 79 w 158"/>
                <a:gd name="T7" fmla="*/ 0 h 90"/>
                <a:gd name="T8" fmla="*/ 0 w 158"/>
                <a:gd name="T9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0">
                  <a:moveTo>
                    <a:pt x="0" y="45"/>
                  </a:moveTo>
                  <a:lnTo>
                    <a:pt x="79" y="90"/>
                  </a:lnTo>
                  <a:lnTo>
                    <a:pt x="158" y="45"/>
                  </a:lnTo>
                  <a:lnTo>
                    <a:pt x="79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5" name="Freeform 164">
              <a:extLst>
                <a:ext uri="{FF2B5EF4-FFF2-40B4-BE49-F238E27FC236}">
                  <a16:creationId xmlns:a16="http://schemas.microsoft.com/office/drawing/2014/main" id="{6170FDF2-AD90-475D-B484-C64AFB9C1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4788" y="4123751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6" name="Freeform 165">
              <a:extLst>
                <a:ext uri="{FF2B5EF4-FFF2-40B4-BE49-F238E27FC236}">
                  <a16:creationId xmlns:a16="http://schemas.microsoft.com/office/drawing/2014/main" id="{F27369C8-345E-4072-865C-D48FA75E47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9376" y="412375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7" name="Freeform 166">
              <a:extLst>
                <a:ext uri="{FF2B5EF4-FFF2-40B4-BE49-F238E27FC236}">
                  <a16:creationId xmlns:a16="http://schemas.microsoft.com/office/drawing/2014/main" id="{BF1DFD36-052C-4F11-A646-F739A72F77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9376" y="4050726"/>
              <a:ext cx="249238" cy="144463"/>
            </a:xfrm>
            <a:custGeom>
              <a:avLst/>
              <a:gdLst>
                <a:gd name="T0" fmla="*/ 0 w 157"/>
                <a:gd name="T1" fmla="*/ 46 h 91"/>
                <a:gd name="T2" fmla="*/ 79 w 157"/>
                <a:gd name="T3" fmla="*/ 91 h 91"/>
                <a:gd name="T4" fmla="*/ 157 w 157"/>
                <a:gd name="T5" fmla="*/ 46 h 91"/>
                <a:gd name="T6" fmla="*/ 78 w 157"/>
                <a:gd name="T7" fmla="*/ 0 h 91"/>
                <a:gd name="T8" fmla="*/ 0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0" y="46"/>
                  </a:moveTo>
                  <a:lnTo>
                    <a:pt x="79" y="91"/>
                  </a:lnTo>
                  <a:lnTo>
                    <a:pt x="157" y="46"/>
                  </a:lnTo>
                  <a:lnTo>
                    <a:pt x="78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8" name="Freeform 167">
              <a:extLst>
                <a:ext uri="{FF2B5EF4-FFF2-40B4-BE49-F238E27FC236}">
                  <a16:creationId xmlns:a16="http://schemas.microsoft.com/office/drawing/2014/main" id="{807C5CD0-59D5-4AC1-A5C6-BBB6812464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91476" y="4219001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29" name="Freeform 168">
              <a:extLst>
                <a:ext uri="{FF2B5EF4-FFF2-40B4-BE49-F238E27FC236}">
                  <a16:creationId xmlns:a16="http://schemas.microsoft.com/office/drawing/2014/main" id="{CE0AF6C3-6DB2-4212-B8D5-2EAF6CED8F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6063" y="421900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0" name="Freeform 169">
              <a:extLst>
                <a:ext uri="{FF2B5EF4-FFF2-40B4-BE49-F238E27FC236}">
                  <a16:creationId xmlns:a16="http://schemas.microsoft.com/office/drawing/2014/main" id="{112AB002-2FD3-4007-B559-7B3A0469EB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6063" y="4147564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1" name="Freeform 170">
              <a:extLst>
                <a:ext uri="{FF2B5EF4-FFF2-40B4-BE49-F238E27FC236}">
                  <a16:creationId xmlns:a16="http://schemas.microsoft.com/office/drawing/2014/main" id="{D9FF6647-43E7-4CBA-A9D2-83CF10E4E3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8163" y="4315839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2" name="Freeform 171">
              <a:extLst>
                <a:ext uri="{FF2B5EF4-FFF2-40B4-BE49-F238E27FC236}">
                  <a16:creationId xmlns:a16="http://schemas.microsoft.com/office/drawing/2014/main" id="{A959D78E-8D88-40AC-B785-7CDC2F3C5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2751" y="4315839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3" name="Freeform 172">
              <a:extLst>
                <a:ext uri="{FF2B5EF4-FFF2-40B4-BE49-F238E27FC236}">
                  <a16:creationId xmlns:a16="http://schemas.microsoft.com/office/drawing/2014/main" id="{5ADDDBB6-F6D1-43DB-9D58-2F7BAE9352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2751" y="4242814"/>
              <a:ext cx="250825" cy="146050"/>
            </a:xfrm>
            <a:custGeom>
              <a:avLst/>
              <a:gdLst>
                <a:gd name="T0" fmla="*/ 158 w 158"/>
                <a:gd name="T1" fmla="*/ 46 h 92"/>
                <a:gd name="T2" fmla="*/ 79 w 158"/>
                <a:gd name="T3" fmla="*/ 0 h 92"/>
                <a:gd name="T4" fmla="*/ 0 w 158"/>
                <a:gd name="T5" fmla="*/ 46 h 92"/>
                <a:gd name="T6" fmla="*/ 79 w 158"/>
                <a:gd name="T7" fmla="*/ 92 h 92"/>
                <a:gd name="T8" fmla="*/ 158 w 158"/>
                <a:gd name="T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2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2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4" name="Freeform 173">
              <a:extLst>
                <a:ext uri="{FF2B5EF4-FFF2-40B4-BE49-F238E27FC236}">
                  <a16:creationId xmlns:a16="http://schemas.microsoft.com/office/drawing/2014/main" id="{5399FCF6-2116-48F3-8663-E8C7C1221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4851" y="4412676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5" name="Freeform 174">
              <a:extLst>
                <a:ext uri="{FF2B5EF4-FFF2-40B4-BE49-F238E27FC236}">
                  <a16:creationId xmlns:a16="http://schemas.microsoft.com/office/drawing/2014/main" id="{93336107-9770-4B21-9AA2-06E90A556D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9438" y="4412676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6" name="Freeform 175">
              <a:extLst>
                <a:ext uri="{FF2B5EF4-FFF2-40B4-BE49-F238E27FC236}">
                  <a16:creationId xmlns:a16="http://schemas.microsoft.com/office/drawing/2014/main" id="{01F427BD-504E-468E-AAEE-26014B85D7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9438" y="4339651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7" name="Freeform 176">
              <a:extLst>
                <a:ext uri="{FF2B5EF4-FFF2-40B4-BE49-F238E27FC236}">
                  <a16:creationId xmlns:a16="http://schemas.microsoft.com/office/drawing/2014/main" id="{8009DE59-5B2E-43E5-9211-7E3C8BBC63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3126" y="4509514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8" name="Freeform 177">
              <a:extLst>
                <a:ext uri="{FF2B5EF4-FFF2-40B4-BE49-F238E27FC236}">
                  <a16:creationId xmlns:a16="http://schemas.microsoft.com/office/drawing/2014/main" id="{3119E447-4973-4765-8A84-F21AA6F369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7713" y="4509514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39" name="Freeform 178">
              <a:extLst>
                <a:ext uri="{FF2B5EF4-FFF2-40B4-BE49-F238E27FC236}">
                  <a16:creationId xmlns:a16="http://schemas.microsoft.com/office/drawing/2014/main" id="{5BD0FF3C-7D19-49AE-9AF0-3574A1B5AC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7713" y="4436489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0" name="Freeform 179">
              <a:extLst>
                <a:ext uri="{FF2B5EF4-FFF2-40B4-BE49-F238E27FC236}">
                  <a16:creationId xmlns:a16="http://schemas.microsoft.com/office/drawing/2014/main" id="{41A3E6BA-4165-459A-9801-2B2CA017D3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59813" y="4604764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1" name="Freeform 180">
              <a:extLst>
                <a:ext uri="{FF2B5EF4-FFF2-40B4-BE49-F238E27FC236}">
                  <a16:creationId xmlns:a16="http://schemas.microsoft.com/office/drawing/2014/main" id="{612372A8-9D1A-4696-8EAE-F0F3384332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4401" y="4604764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2" name="Freeform 181">
              <a:extLst>
                <a:ext uri="{FF2B5EF4-FFF2-40B4-BE49-F238E27FC236}">
                  <a16:creationId xmlns:a16="http://schemas.microsoft.com/office/drawing/2014/main" id="{7BD307F3-10C5-423A-B655-B6E450F4C4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4401" y="4533326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3" name="Freeform 182">
              <a:extLst>
                <a:ext uri="{FF2B5EF4-FFF2-40B4-BE49-F238E27FC236}">
                  <a16:creationId xmlns:a16="http://schemas.microsoft.com/office/drawing/2014/main" id="{D511196C-965F-449A-AB37-7644E4E5F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26501" y="4701601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8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8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4" name="Freeform 183">
              <a:extLst>
                <a:ext uri="{FF2B5EF4-FFF2-40B4-BE49-F238E27FC236}">
                  <a16:creationId xmlns:a16="http://schemas.microsoft.com/office/drawing/2014/main" id="{92F02BAE-6E10-4E02-99F3-3160E600B7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1088" y="470160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5" name="Freeform 184">
              <a:extLst>
                <a:ext uri="{FF2B5EF4-FFF2-40B4-BE49-F238E27FC236}">
                  <a16:creationId xmlns:a16="http://schemas.microsoft.com/office/drawing/2014/main" id="{3FA874FD-61CE-4E04-8CD3-B7C05064C8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1088" y="4630164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6" name="Freeform 185">
              <a:extLst>
                <a:ext uri="{FF2B5EF4-FFF2-40B4-BE49-F238E27FC236}">
                  <a16:creationId xmlns:a16="http://schemas.microsoft.com/office/drawing/2014/main" id="{8C308207-6FB6-48E5-8F75-7A5D781CAE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93188" y="4798439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7" name="Freeform 186">
              <a:extLst>
                <a:ext uri="{FF2B5EF4-FFF2-40B4-BE49-F238E27FC236}">
                  <a16:creationId xmlns:a16="http://schemas.microsoft.com/office/drawing/2014/main" id="{FEFE9D11-7A20-40C2-8FCF-A437D83DEC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7776" y="4798439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8" name="Freeform 187">
              <a:extLst>
                <a:ext uri="{FF2B5EF4-FFF2-40B4-BE49-F238E27FC236}">
                  <a16:creationId xmlns:a16="http://schemas.microsoft.com/office/drawing/2014/main" id="{30DD079F-1ADA-45C1-9211-55D0D34744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7776" y="4725414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49" name="Freeform 188">
              <a:extLst>
                <a:ext uri="{FF2B5EF4-FFF2-40B4-BE49-F238E27FC236}">
                  <a16:creationId xmlns:a16="http://schemas.microsoft.com/office/drawing/2014/main" id="{F042D2BC-21E5-4DF6-80D9-225C64D5E5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4798439"/>
              <a:ext cx="174625" cy="112713"/>
            </a:xfrm>
            <a:custGeom>
              <a:avLst/>
              <a:gdLst>
                <a:gd name="T0" fmla="*/ 0 w 110"/>
                <a:gd name="T1" fmla="*/ 0 h 71"/>
                <a:gd name="T2" fmla="*/ 0 w 110"/>
                <a:gd name="T3" fmla="*/ 17 h 71"/>
                <a:gd name="T4" fmla="*/ 95 w 110"/>
                <a:gd name="T5" fmla="*/ 71 h 71"/>
                <a:gd name="T6" fmla="*/ 110 w 110"/>
                <a:gd name="T7" fmla="*/ 63 h 71"/>
                <a:gd name="T8" fmla="*/ 0 w 110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71">
                  <a:moveTo>
                    <a:pt x="0" y="0"/>
                  </a:moveTo>
                  <a:lnTo>
                    <a:pt x="0" y="17"/>
                  </a:lnTo>
                  <a:lnTo>
                    <a:pt x="95" y="71"/>
                  </a:lnTo>
                  <a:lnTo>
                    <a:pt x="11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0" name="Freeform 189">
              <a:extLst>
                <a:ext uri="{FF2B5EF4-FFF2-40B4-BE49-F238E27FC236}">
                  <a16:creationId xmlns:a16="http://schemas.microsoft.com/office/drawing/2014/main" id="{7DD8E1E4-99A6-41E2-8A56-0475621491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9876" y="4895276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1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1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1" name="Freeform 190">
              <a:extLst>
                <a:ext uri="{FF2B5EF4-FFF2-40B4-BE49-F238E27FC236}">
                  <a16:creationId xmlns:a16="http://schemas.microsoft.com/office/drawing/2014/main" id="{B1248643-3B52-4BE2-ADCB-484D656651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6051" y="4895276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8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8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2" name="Freeform 191">
              <a:extLst>
                <a:ext uri="{FF2B5EF4-FFF2-40B4-BE49-F238E27FC236}">
                  <a16:creationId xmlns:a16="http://schemas.microsoft.com/office/drawing/2014/main" id="{B6442745-B75D-441D-B0C4-D7464A6DF0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6051" y="4822251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3" name="Freeform 192">
              <a:extLst>
                <a:ext uri="{FF2B5EF4-FFF2-40B4-BE49-F238E27FC236}">
                  <a16:creationId xmlns:a16="http://schemas.microsoft.com/office/drawing/2014/main" id="{49964BA3-F9E3-4D04-9875-D89DB26CD4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58326" y="4901626"/>
              <a:ext cx="160338" cy="120650"/>
            </a:xfrm>
            <a:custGeom>
              <a:avLst/>
              <a:gdLst>
                <a:gd name="T0" fmla="*/ 0 w 101"/>
                <a:gd name="T1" fmla="*/ 76 h 76"/>
                <a:gd name="T2" fmla="*/ 101 w 101"/>
                <a:gd name="T3" fmla="*/ 17 h 76"/>
                <a:gd name="T4" fmla="*/ 101 w 101"/>
                <a:gd name="T5" fmla="*/ 0 h 76"/>
                <a:gd name="T6" fmla="*/ 0 w 101"/>
                <a:gd name="T7" fmla="*/ 59 h 76"/>
                <a:gd name="T8" fmla="*/ 0 w 101"/>
                <a:gd name="T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76">
                  <a:moveTo>
                    <a:pt x="0" y="76"/>
                  </a:moveTo>
                  <a:lnTo>
                    <a:pt x="101" y="17"/>
                  </a:lnTo>
                  <a:lnTo>
                    <a:pt x="101" y="0"/>
                  </a:lnTo>
                  <a:lnTo>
                    <a:pt x="0" y="59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4" name="Freeform 193">
              <a:extLst>
                <a:ext uri="{FF2B5EF4-FFF2-40B4-BE49-F238E27FC236}">
                  <a16:creationId xmlns:a16="http://schemas.microsoft.com/office/drawing/2014/main" id="{A1D92549-D654-4851-8522-6C0F91CDE5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6413" y="4995289"/>
              <a:ext cx="61913" cy="61913"/>
            </a:xfrm>
            <a:custGeom>
              <a:avLst/>
              <a:gdLst>
                <a:gd name="T0" fmla="*/ 0 w 39"/>
                <a:gd name="T1" fmla="*/ 22 h 39"/>
                <a:gd name="T2" fmla="*/ 0 w 39"/>
                <a:gd name="T3" fmla="*/ 39 h 39"/>
                <a:gd name="T4" fmla="*/ 39 w 39"/>
                <a:gd name="T5" fmla="*/ 17 h 39"/>
                <a:gd name="T6" fmla="*/ 39 w 39"/>
                <a:gd name="T7" fmla="*/ 0 h 39"/>
                <a:gd name="T8" fmla="*/ 0 w 39"/>
                <a:gd name="T9" fmla="*/ 2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0" y="22"/>
                  </a:moveTo>
                  <a:lnTo>
                    <a:pt x="0" y="39"/>
                  </a:lnTo>
                  <a:lnTo>
                    <a:pt x="39" y="17"/>
                  </a:lnTo>
                  <a:lnTo>
                    <a:pt x="39" y="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5" name="Freeform 194">
              <a:extLst>
                <a:ext uri="{FF2B5EF4-FFF2-40B4-BE49-F238E27FC236}">
                  <a16:creationId xmlns:a16="http://schemas.microsoft.com/office/drawing/2014/main" id="{7F757FD8-E76D-4454-AD94-2D81BCAB56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02738" y="4995289"/>
              <a:ext cx="127000" cy="101600"/>
            </a:xfrm>
            <a:custGeom>
              <a:avLst/>
              <a:gdLst>
                <a:gd name="T0" fmla="*/ 0 w 80"/>
                <a:gd name="T1" fmla="*/ 0 h 64"/>
                <a:gd name="T2" fmla="*/ 0 w 80"/>
                <a:gd name="T3" fmla="*/ 17 h 64"/>
                <a:gd name="T4" fmla="*/ 80 w 80"/>
                <a:gd name="T5" fmla="*/ 64 h 64"/>
                <a:gd name="T6" fmla="*/ 80 w 80"/>
                <a:gd name="T7" fmla="*/ 47 h 64"/>
                <a:gd name="T8" fmla="*/ 0 w 80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4">
                  <a:moveTo>
                    <a:pt x="0" y="0"/>
                  </a:moveTo>
                  <a:lnTo>
                    <a:pt x="0" y="17"/>
                  </a:lnTo>
                  <a:lnTo>
                    <a:pt x="80" y="64"/>
                  </a:lnTo>
                  <a:lnTo>
                    <a:pt x="80" y="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6" name="Freeform 195">
              <a:extLst>
                <a:ext uri="{FF2B5EF4-FFF2-40B4-BE49-F238E27FC236}">
                  <a16:creationId xmlns:a16="http://schemas.microsoft.com/office/drawing/2014/main" id="{EFFABF78-B28B-453B-B284-4839A183A0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29738" y="5030214"/>
              <a:ext cx="66675" cy="66675"/>
            </a:xfrm>
            <a:custGeom>
              <a:avLst/>
              <a:gdLst>
                <a:gd name="T0" fmla="*/ 0 w 42"/>
                <a:gd name="T1" fmla="*/ 25 h 42"/>
                <a:gd name="T2" fmla="*/ 0 w 42"/>
                <a:gd name="T3" fmla="*/ 42 h 42"/>
                <a:gd name="T4" fmla="*/ 42 w 42"/>
                <a:gd name="T5" fmla="*/ 17 h 42"/>
                <a:gd name="T6" fmla="*/ 42 w 42"/>
                <a:gd name="T7" fmla="*/ 0 h 42"/>
                <a:gd name="T8" fmla="*/ 0 w 42"/>
                <a:gd name="T9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0" y="25"/>
                  </a:moveTo>
                  <a:lnTo>
                    <a:pt x="0" y="42"/>
                  </a:lnTo>
                  <a:lnTo>
                    <a:pt x="42" y="17"/>
                  </a:lnTo>
                  <a:lnTo>
                    <a:pt x="42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7" name="Freeform 196">
              <a:extLst>
                <a:ext uri="{FF2B5EF4-FFF2-40B4-BE49-F238E27FC236}">
                  <a16:creationId xmlns:a16="http://schemas.microsoft.com/office/drawing/2014/main" id="{FFD26B1B-59EF-4AA9-BCFE-028AC861F5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4727001"/>
              <a:ext cx="422275" cy="342900"/>
            </a:xfrm>
            <a:custGeom>
              <a:avLst/>
              <a:gdLst>
                <a:gd name="T0" fmla="*/ 185 w 266"/>
                <a:gd name="T1" fmla="*/ 62 h 216"/>
                <a:gd name="T2" fmla="*/ 77 w 266"/>
                <a:gd name="T3" fmla="*/ 0 h 216"/>
                <a:gd name="T4" fmla="*/ 0 w 266"/>
                <a:gd name="T5" fmla="*/ 45 h 216"/>
                <a:gd name="T6" fmla="*/ 110 w 266"/>
                <a:gd name="T7" fmla="*/ 108 h 216"/>
                <a:gd name="T8" fmla="*/ 95 w 266"/>
                <a:gd name="T9" fmla="*/ 116 h 216"/>
                <a:gd name="T10" fmla="*/ 85 w 266"/>
                <a:gd name="T11" fmla="*/ 122 h 216"/>
                <a:gd name="T12" fmla="*/ 46 w 266"/>
                <a:gd name="T13" fmla="*/ 145 h 216"/>
                <a:gd name="T14" fmla="*/ 4 w 266"/>
                <a:gd name="T15" fmla="*/ 169 h 216"/>
                <a:gd name="T16" fmla="*/ 84 w 266"/>
                <a:gd name="T17" fmla="*/ 216 h 216"/>
                <a:gd name="T18" fmla="*/ 126 w 266"/>
                <a:gd name="T19" fmla="*/ 191 h 216"/>
                <a:gd name="T20" fmla="*/ 165 w 266"/>
                <a:gd name="T21" fmla="*/ 169 h 216"/>
                <a:gd name="T22" fmla="*/ 266 w 266"/>
                <a:gd name="T23" fmla="*/ 110 h 216"/>
                <a:gd name="T24" fmla="*/ 207 w 266"/>
                <a:gd name="T25" fmla="*/ 75 h 216"/>
                <a:gd name="T26" fmla="*/ 185 w 266"/>
                <a:gd name="T27" fmla="*/ 6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216">
                  <a:moveTo>
                    <a:pt x="185" y="62"/>
                  </a:moveTo>
                  <a:lnTo>
                    <a:pt x="77" y="0"/>
                  </a:lnTo>
                  <a:lnTo>
                    <a:pt x="0" y="45"/>
                  </a:lnTo>
                  <a:lnTo>
                    <a:pt x="110" y="108"/>
                  </a:lnTo>
                  <a:lnTo>
                    <a:pt x="95" y="116"/>
                  </a:lnTo>
                  <a:lnTo>
                    <a:pt x="85" y="122"/>
                  </a:lnTo>
                  <a:lnTo>
                    <a:pt x="46" y="145"/>
                  </a:lnTo>
                  <a:lnTo>
                    <a:pt x="4" y="169"/>
                  </a:lnTo>
                  <a:lnTo>
                    <a:pt x="84" y="216"/>
                  </a:lnTo>
                  <a:lnTo>
                    <a:pt x="126" y="191"/>
                  </a:lnTo>
                  <a:lnTo>
                    <a:pt x="165" y="169"/>
                  </a:lnTo>
                  <a:lnTo>
                    <a:pt x="266" y="110"/>
                  </a:lnTo>
                  <a:lnTo>
                    <a:pt x="207" y="75"/>
                  </a:lnTo>
                  <a:lnTo>
                    <a:pt x="185" y="6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8" name="Freeform 197">
              <a:extLst>
                <a:ext uri="{FF2B5EF4-FFF2-40B4-BE49-F238E27FC236}">
                  <a16:creationId xmlns:a16="http://schemas.microsoft.com/office/drawing/2014/main" id="{2619DF1F-40E9-41A6-ACE4-FCD2A95BC0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21538" y="3968176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6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6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59" name="Freeform 198">
              <a:extLst>
                <a:ext uri="{FF2B5EF4-FFF2-40B4-BE49-F238E27FC236}">
                  <a16:creationId xmlns:a16="http://schemas.microsoft.com/office/drawing/2014/main" id="{FEB0BAED-3A27-4549-9C18-D14B0D87E2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2626" y="3931664"/>
              <a:ext cx="188913" cy="134938"/>
            </a:xfrm>
            <a:custGeom>
              <a:avLst/>
              <a:gdLst>
                <a:gd name="T0" fmla="*/ 119 w 119"/>
                <a:gd name="T1" fmla="*/ 68 h 85"/>
                <a:gd name="T2" fmla="*/ 0 w 119"/>
                <a:gd name="T3" fmla="*/ 0 h 85"/>
                <a:gd name="T4" fmla="*/ 0 w 119"/>
                <a:gd name="T5" fmla="*/ 17 h 85"/>
                <a:gd name="T6" fmla="*/ 119 w 119"/>
                <a:gd name="T7" fmla="*/ 85 h 85"/>
                <a:gd name="T8" fmla="*/ 119 w 119"/>
                <a:gd name="T9" fmla="*/ 6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85">
                  <a:moveTo>
                    <a:pt x="119" y="68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119" y="85"/>
                  </a:lnTo>
                  <a:lnTo>
                    <a:pt x="119" y="6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60" name="Freeform 199">
              <a:extLst>
                <a:ext uri="{FF2B5EF4-FFF2-40B4-BE49-F238E27FC236}">
                  <a16:creationId xmlns:a16="http://schemas.microsoft.com/office/drawing/2014/main" id="{C700AE49-D180-4B17-9B8F-A3B70AA9C2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2626" y="3858639"/>
              <a:ext cx="312738" cy="180975"/>
            </a:xfrm>
            <a:custGeom>
              <a:avLst/>
              <a:gdLst>
                <a:gd name="T0" fmla="*/ 197 w 197"/>
                <a:gd name="T1" fmla="*/ 69 h 114"/>
                <a:gd name="T2" fmla="*/ 78 w 197"/>
                <a:gd name="T3" fmla="*/ 0 h 114"/>
                <a:gd name="T4" fmla="*/ 0 w 197"/>
                <a:gd name="T5" fmla="*/ 46 h 114"/>
                <a:gd name="T6" fmla="*/ 119 w 197"/>
                <a:gd name="T7" fmla="*/ 114 h 114"/>
                <a:gd name="T8" fmla="*/ 197 w 197"/>
                <a:gd name="T9" fmla="*/ 6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14">
                  <a:moveTo>
                    <a:pt x="197" y="69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119" y="114"/>
                  </a:lnTo>
                  <a:lnTo>
                    <a:pt x="197" y="69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61" name="Freeform 200">
              <a:extLst>
                <a:ext uri="{FF2B5EF4-FFF2-40B4-BE49-F238E27FC236}">
                  <a16:creationId xmlns:a16="http://schemas.microsoft.com/office/drawing/2014/main" id="{B8AD7B90-2EB5-4BE8-8738-BA6AC414E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8226" y="4063426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62" name="Freeform 201">
              <a:extLst>
                <a:ext uri="{FF2B5EF4-FFF2-40B4-BE49-F238E27FC236}">
                  <a16:creationId xmlns:a16="http://schemas.microsoft.com/office/drawing/2014/main" id="{63F9F488-086F-47C4-A7DC-841CC4CE01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2813" y="4063426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63" name="Freeform 202">
              <a:extLst>
                <a:ext uri="{FF2B5EF4-FFF2-40B4-BE49-F238E27FC236}">
                  <a16:creationId xmlns:a16="http://schemas.microsoft.com/office/drawing/2014/main" id="{2549AEEB-BCBD-4859-BF4A-77929A42CF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2813" y="3990401"/>
              <a:ext cx="250825" cy="146050"/>
            </a:xfrm>
            <a:custGeom>
              <a:avLst/>
              <a:gdLst>
                <a:gd name="T0" fmla="*/ 79 w 158"/>
                <a:gd name="T1" fmla="*/ 92 h 92"/>
                <a:gd name="T2" fmla="*/ 158 w 158"/>
                <a:gd name="T3" fmla="*/ 46 h 92"/>
                <a:gd name="T4" fmla="*/ 79 w 158"/>
                <a:gd name="T5" fmla="*/ 0 h 92"/>
                <a:gd name="T6" fmla="*/ 0 w 158"/>
                <a:gd name="T7" fmla="*/ 46 h 92"/>
                <a:gd name="T8" fmla="*/ 79 w 158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2">
                  <a:moveTo>
                    <a:pt x="79" y="92"/>
                  </a:moveTo>
                  <a:lnTo>
                    <a:pt x="158" y="46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79" y="9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64" name="Freeform 203">
              <a:extLst>
                <a:ext uri="{FF2B5EF4-FFF2-40B4-BE49-F238E27FC236}">
                  <a16:creationId xmlns:a16="http://schemas.microsoft.com/office/drawing/2014/main" id="{4C0C51B5-2087-4B72-9E6F-0D2572F41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4913" y="416026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65" name="Freeform 204">
              <a:extLst>
                <a:ext uri="{FF2B5EF4-FFF2-40B4-BE49-F238E27FC236}">
                  <a16:creationId xmlns:a16="http://schemas.microsoft.com/office/drawing/2014/main" id="{EE8EF641-22C9-42BB-B196-80CB46C0A7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29501" y="4160264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8" name="Freeform 206">
              <a:extLst>
                <a:ext uri="{FF2B5EF4-FFF2-40B4-BE49-F238E27FC236}">
                  <a16:creationId xmlns:a16="http://schemas.microsoft.com/office/drawing/2014/main" id="{D7A2A6CE-38EC-4043-A13F-237D3DC294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29501" y="4087239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9" name="Freeform 207">
              <a:extLst>
                <a:ext uri="{FF2B5EF4-FFF2-40B4-BE49-F238E27FC236}">
                  <a16:creationId xmlns:a16="http://schemas.microsoft.com/office/drawing/2014/main" id="{A08A89A5-8246-4941-90FB-9C72AB40A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23188" y="4257101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0" name="Freeform 208">
              <a:extLst>
                <a:ext uri="{FF2B5EF4-FFF2-40B4-BE49-F238E27FC236}">
                  <a16:creationId xmlns:a16="http://schemas.microsoft.com/office/drawing/2014/main" id="{DA718691-B5CA-4BAC-97AE-BE9AF7EDB0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97776" y="4257101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1" name="Freeform 209">
              <a:extLst>
                <a:ext uri="{FF2B5EF4-FFF2-40B4-BE49-F238E27FC236}">
                  <a16:creationId xmlns:a16="http://schemas.microsoft.com/office/drawing/2014/main" id="{1466799F-5DAF-4060-B31B-F68E34EB30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97776" y="4184076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2" name="Freeform 210">
              <a:extLst>
                <a:ext uri="{FF2B5EF4-FFF2-40B4-BE49-F238E27FC236}">
                  <a16:creationId xmlns:a16="http://schemas.microsoft.com/office/drawing/2014/main" id="{5139FFA9-6DAF-4B98-B928-96090DBABC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89876" y="4352351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3" name="Freeform 211">
              <a:extLst>
                <a:ext uri="{FF2B5EF4-FFF2-40B4-BE49-F238E27FC236}">
                  <a16:creationId xmlns:a16="http://schemas.microsoft.com/office/drawing/2014/main" id="{EC289B3A-01F3-48C7-95EB-0B08132F9D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4463" y="435235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4" name="Freeform 212">
              <a:extLst>
                <a:ext uri="{FF2B5EF4-FFF2-40B4-BE49-F238E27FC236}">
                  <a16:creationId xmlns:a16="http://schemas.microsoft.com/office/drawing/2014/main" id="{F081B31A-4DD1-47A5-8155-B86E0C3630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4463" y="4280914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5" name="Freeform 213">
              <a:extLst>
                <a:ext uri="{FF2B5EF4-FFF2-40B4-BE49-F238E27FC236}">
                  <a16:creationId xmlns:a16="http://schemas.microsoft.com/office/drawing/2014/main" id="{B5155F4A-9B42-4F7B-8FEB-19D964A236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56563" y="4449189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6" name="Freeform 214">
              <a:extLst>
                <a:ext uri="{FF2B5EF4-FFF2-40B4-BE49-F238E27FC236}">
                  <a16:creationId xmlns:a16="http://schemas.microsoft.com/office/drawing/2014/main" id="{17C60A2D-0A22-4D4B-821F-FDEEF99163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1151" y="4449189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7" name="Freeform 215">
              <a:extLst>
                <a:ext uri="{FF2B5EF4-FFF2-40B4-BE49-F238E27FC236}">
                  <a16:creationId xmlns:a16="http://schemas.microsoft.com/office/drawing/2014/main" id="{4327D3F9-EAF1-4819-B247-BCABB45234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1151" y="4377751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8" name="Freeform 216">
              <a:extLst>
                <a:ext uri="{FF2B5EF4-FFF2-40B4-BE49-F238E27FC236}">
                  <a16:creationId xmlns:a16="http://schemas.microsoft.com/office/drawing/2014/main" id="{90B00615-6DFB-42E4-8AED-1D778C7D7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23251" y="4546026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9" name="Freeform 217">
              <a:extLst>
                <a:ext uri="{FF2B5EF4-FFF2-40B4-BE49-F238E27FC236}">
                  <a16:creationId xmlns:a16="http://schemas.microsoft.com/office/drawing/2014/main" id="{8C9E4DBF-1C0C-436E-A665-661291BEA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97838" y="4546026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0" name="Freeform 218">
              <a:extLst>
                <a:ext uri="{FF2B5EF4-FFF2-40B4-BE49-F238E27FC236}">
                  <a16:creationId xmlns:a16="http://schemas.microsoft.com/office/drawing/2014/main" id="{18E7AA37-3F71-4A28-95CB-17549AFE6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97838" y="4473001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1" name="Freeform 219">
              <a:extLst>
                <a:ext uri="{FF2B5EF4-FFF2-40B4-BE49-F238E27FC236}">
                  <a16:creationId xmlns:a16="http://schemas.microsoft.com/office/drawing/2014/main" id="{E8A58004-006D-46BD-BCA1-06D0B895C3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1526" y="4642864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2" name="Freeform 220">
              <a:extLst>
                <a:ext uri="{FF2B5EF4-FFF2-40B4-BE49-F238E27FC236}">
                  <a16:creationId xmlns:a16="http://schemas.microsoft.com/office/drawing/2014/main" id="{F2FB6F16-CC6C-4D13-97B3-FB086762C9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6113" y="4642864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3" name="Freeform 221">
              <a:extLst>
                <a:ext uri="{FF2B5EF4-FFF2-40B4-BE49-F238E27FC236}">
                  <a16:creationId xmlns:a16="http://schemas.microsoft.com/office/drawing/2014/main" id="{98178D32-6C5C-4A13-BEB5-545AFE96AD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6113" y="4569839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4" name="Freeform 222">
              <a:extLst>
                <a:ext uri="{FF2B5EF4-FFF2-40B4-BE49-F238E27FC236}">
                  <a16:creationId xmlns:a16="http://schemas.microsoft.com/office/drawing/2014/main" id="{C7081A6A-BEA4-4E2B-A6C7-B68E8DFA88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58213" y="4738114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5" name="Freeform 223">
              <a:extLst>
                <a:ext uri="{FF2B5EF4-FFF2-40B4-BE49-F238E27FC236}">
                  <a16:creationId xmlns:a16="http://schemas.microsoft.com/office/drawing/2014/main" id="{C539CD5D-6C56-4572-A622-B5B023E9B5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32801" y="4738114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77" name="Freeform 224">
              <a:extLst>
                <a:ext uri="{FF2B5EF4-FFF2-40B4-BE49-F238E27FC236}">
                  <a16:creationId xmlns:a16="http://schemas.microsoft.com/office/drawing/2014/main" id="{932DAC1D-606F-44AE-884E-7D243B937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32801" y="4666676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78" name="Freeform 225">
              <a:extLst>
                <a:ext uri="{FF2B5EF4-FFF2-40B4-BE49-F238E27FC236}">
                  <a16:creationId xmlns:a16="http://schemas.microsoft.com/office/drawing/2014/main" id="{2F395D01-3AAF-4940-9F26-97F2FE9EE5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24901" y="4834951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8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8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79" name="Freeform 226">
              <a:extLst>
                <a:ext uri="{FF2B5EF4-FFF2-40B4-BE49-F238E27FC236}">
                  <a16:creationId xmlns:a16="http://schemas.microsoft.com/office/drawing/2014/main" id="{8C6ED107-EEAC-4361-A9C5-ECB7CF2C47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9488" y="483495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0" name="Freeform 227">
              <a:extLst>
                <a:ext uri="{FF2B5EF4-FFF2-40B4-BE49-F238E27FC236}">
                  <a16:creationId xmlns:a16="http://schemas.microsoft.com/office/drawing/2014/main" id="{971B8519-12F5-431D-92F1-5735829AC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9488" y="4763514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1" name="Freeform 228">
              <a:extLst>
                <a:ext uri="{FF2B5EF4-FFF2-40B4-BE49-F238E27FC236}">
                  <a16:creationId xmlns:a16="http://schemas.microsoft.com/office/drawing/2014/main" id="{8BA0A934-3379-4908-BB57-4B0A572B48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94776" y="4990526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2" name="Freeform 229">
              <a:extLst>
                <a:ext uri="{FF2B5EF4-FFF2-40B4-BE49-F238E27FC236}">
                  <a16:creationId xmlns:a16="http://schemas.microsoft.com/office/drawing/2014/main" id="{99DC912F-3BAE-463E-B523-2648C709EB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4588" y="4930201"/>
              <a:ext cx="230188" cy="160338"/>
            </a:xfrm>
            <a:custGeom>
              <a:avLst/>
              <a:gdLst>
                <a:gd name="T0" fmla="*/ 145 w 145"/>
                <a:gd name="T1" fmla="*/ 84 h 101"/>
                <a:gd name="T2" fmla="*/ 0 w 145"/>
                <a:gd name="T3" fmla="*/ 0 h 101"/>
                <a:gd name="T4" fmla="*/ 0 w 145"/>
                <a:gd name="T5" fmla="*/ 17 h 101"/>
                <a:gd name="T6" fmla="*/ 145 w 145"/>
                <a:gd name="T7" fmla="*/ 101 h 101"/>
                <a:gd name="T8" fmla="*/ 145 w 145"/>
                <a:gd name="T9" fmla="*/ 8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01">
                  <a:moveTo>
                    <a:pt x="145" y="84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145" y="101"/>
                  </a:lnTo>
                  <a:lnTo>
                    <a:pt x="145" y="84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3" name="Freeform 230">
              <a:extLst>
                <a:ext uri="{FF2B5EF4-FFF2-40B4-BE49-F238E27FC236}">
                  <a16:creationId xmlns:a16="http://schemas.microsoft.com/office/drawing/2014/main" id="{498D0EE3-6D81-4C61-8A55-32D4B09CF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4588" y="4858764"/>
              <a:ext cx="355600" cy="204788"/>
            </a:xfrm>
            <a:custGeom>
              <a:avLst/>
              <a:gdLst>
                <a:gd name="T0" fmla="*/ 224 w 224"/>
                <a:gd name="T1" fmla="*/ 83 h 129"/>
                <a:gd name="T2" fmla="*/ 79 w 224"/>
                <a:gd name="T3" fmla="*/ 0 h 129"/>
                <a:gd name="T4" fmla="*/ 0 w 224"/>
                <a:gd name="T5" fmla="*/ 45 h 129"/>
                <a:gd name="T6" fmla="*/ 145 w 224"/>
                <a:gd name="T7" fmla="*/ 129 h 129"/>
                <a:gd name="T8" fmla="*/ 224 w 224"/>
                <a:gd name="T9" fmla="*/ 8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129">
                  <a:moveTo>
                    <a:pt x="224" y="83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145" y="129"/>
                  </a:lnTo>
                  <a:lnTo>
                    <a:pt x="224" y="83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4" name="Freeform 231">
              <a:extLst>
                <a:ext uri="{FF2B5EF4-FFF2-40B4-BE49-F238E27FC236}">
                  <a16:creationId xmlns:a16="http://schemas.microsoft.com/office/drawing/2014/main" id="{92A2D8EC-1144-4E02-A1E0-F23E68FAD2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61463" y="508736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5" name="Freeform 232">
              <a:extLst>
                <a:ext uri="{FF2B5EF4-FFF2-40B4-BE49-F238E27FC236}">
                  <a16:creationId xmlns:a16="http://schemas.microsoft.com/office/drawing/2014/main" id="{4E637536-2822-4C48-A663-CC7733737D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6051" y="50873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6" name="Freeform 233">
              <a:extLst>
                <a:ext uri="{FF2B5EF4-FFF2-40B4-BE49-F238E27FC236}">
                  <a16:creationId xmlns:a16="http://schemas.microsoft.com/office/drawing/2014/main" id="{4CB91EA2-BBC4-46E3-A679-82A604CE1E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6051" y="5014339"/>
              <a:ext cx="250825" cy="144463"/>
            </a:xfrm>
            <a:custGeom>
              <a:avLst/>
              <a:gdLst>
                <a:gd name="T0" fmla="*/ 0 w 158"/>
                <a:gd name="T1" fmla="*/ 46 h 91"/>
                <a:gd name="T2" fmla="*/ 79 w 158"/>
                <a:gd name="T3" fmla="*/ 91 h 91"/>
                <a:gd name="T4" fmla="*/ 158 w 158"/>
                <a:gd name="T5" fmla="*/ 46 h 91"/>
                <a:gd name="T6" fmla="*/ 79 w 158"/>
                <a:gd name="T7" fmla="*/ 0 h 91"/>
                <a:gd name="T8" fmla="*/ 0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0" y="46"/>
                  </a:moveTo>
                  <a:lnTo>
                    <a:pt x="79" y="91"/>
                  </a:lnTo>
                  <a:lnTo>
                    <a:pt x="158" y="46"/>
                  </a:lnTo>
                  <a:lnTo>
                    <a:pt x="79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7" name="Freeform 234">
              <a:extLst>
                <a:ext uri="{FF2B5EF4-FFF2-40B4-BE49-F238E27FC236}">
                  <a16:creationId xmlns:a16="http://schemas.microsoft.com/office/drawing/2014/main" id="{02E5114D-FDA6-48DD-BAD6-BF8014E3DD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1351" y="4026914"/>
              <a:ext cx="125413" cy="98425"/>
            </a:xfrm>
            <a:custGeom>
              <a:avLst/>
              <a:gdLst>
                <a:gd name="T0" fmla="*/ 79 w 79"/>
                <a:gd name="T1" fmla="*/ 0 h 62"/>
                <a:gd name="T2" fmla="*/ 0 w 79"/>
                <a:gd name="T3" fmla="*/ 45 h 62"/>
                <a:gd name="T4" fmla="*/ 0 w 79"/>
                <a:gd name="T5" fmla="*/ 62 h 62"/>
                <a:gd name="T6" fmla="*/ 79 w 79"/>
                <a:gd name="T7" fmla="*/ 17 h 62"/>
                <a:gd name="T8" fmla="*/ 79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0"/>
                  </a:moveTo>
                  <a:lnTo>
                    <a:pt x="0" y="45"/>
                  </a:lnTo>
                  <a:lnTo>
                    <a:pt x="0" y="62"/>
                  </a:lnTo>
                  <a:lnTo>
                    <a:pt x="79" y="17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8" name="Freeform 235">
              <a:extLst>
                <a:ext uri="{FF2B5EF4-FFF2-40B4-BE49-F238E27FC236}">
                  <a16:creationId xmlns:a16="http://schemas.microsoft.com/office/drawing/2014/main" id="{E61EDE3F-8BD6-4BBC-8A75-5CCA40B1DA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938" y="402691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89" name="Freeform 236">
              <a:extLst>
                <a:ext uri="{FF2B5EF4-FFF2-40B4-BE49-F238E27FC236}">
                  <a16:creationId xmlns:a16="http://schemas.microsoft.com/office/drawing/2014/main" id="{92D2E72F-D12C-4EE7-9FFA-1C3108D4DC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938" y="3955476"/>
              <a:ext cx="250825" cy="142875"/>
            </a:xfrm>
            <a:custGeom>
              <a:avLst/>
              <a:gdLst>
                <a:gd name="T0" fmla="*/ 158 w 158"/>
                <a:gd name="T1" fmla="*/ 45 h 90"/>
                <a:gd name="T2" fmla="*/ 79 w 158"/>
                <a:gd name="T3" fmla="*/ 0 h 90"/>
                <a:gd name="T4" fmla="*/ 0 w 158"/>
                <a:gd name="T5" fmla="*/ 45 h 90"/>
                <a:gd name="T6" fmla="*/ 79 w 158"/>
                <a:gd name="T7" fmla="*/ 90 h 90"/>
                <a:gd name="T8" fmla="*/ 158 w 158"/>
                <a:gd name="T9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0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0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0" name="Freeform 237">
              <a:extLst>
                <a:ext uri="{FF2B5EF4-FFF2-40B4-BE49-F238E27FC236}">
                  <a16:creationId xmlns:a16="http://schemas.microsoft.com/office/drawing/2014/main" id="{FCFED3D6-1FB1-41B2-AD72-2907606FDA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8038" y="4122164"/>
              <a:ext cx="125413" cy="100013"/>
            </a:xfrm>
            <a:custGeom>
              <a:avLst/>
              <a:gdLst>
                <a:gd name="T0" fmla="*/ 79 w 79"/>
                <a:gd name="T1" fmla="*/ 0 h 63"/>
                <a:gd name="T2" fmla="*/ 0 w 79"/>
                <a:gd name="T3" fmla="*/ 46 h 63"/>
                <a:gd name="T4" fmla="*/ 0 w 79"/>
                <a:gd name="T5" fmla="*/ 63 h 63"/>
                <a:gd name="T6" fmla="*/ 79 w 79"/>
                <a:gd name="T7" fmla="*/ 17 h 63"/>
                <a:gd name="T8" fmla="*/ 79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9" y="17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1" name="Freeform 238">
              <a:extLst>
                <a:ext uri="{FF2B5EF4-FFF2-40B4-BE49-F238E27FC236}">
                  <a16:creationId xmlns:a16="http://schemas.microsoft.com/office/drawing/2014/main" id="{7FD06002-C448-4951-8FD8-FCA5172BC6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2626" y="4122164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2" name="Freeform 239">
              <a:extLst>
                <a:ext uri="{FF2B5EF4-FFF2-40B4-BE49-F238E27FC236}">
                  <a16:creationId xmlns:a16="http://schemas.microsoft.com/office/drawing/2014/main" id="{F13A22D9-C35A-4FF1-AA44-390641CF72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2626" y="4050726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3" name="Freeform 240">
              <a:extLst>
                <a:ext uri="{FF2B5EF4-FFF2-40B4-BE49-F238E27FC236}">
                  <a16:creationId xmlns:a16="http://schemas.microsoft.com/office/drawing/2014/main" id="{7C3946BB-6F78-4C1A-833B-DA88664632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26313" y="4219001"/>
              <a:ext cx="123825" cy="100013"/>
            </a:xfrm>
            <a:custGeom>
              <a:avLst/>
              <a:gdLst>
                <a:gd name="T0" fmla="*/ 78 w 78"/>
                <a:gd name="T1" fmla="*/ 0 h 63"/>
                <a:gd name="T2" fmla="*/ 0 w 78"/>
                <a:gd name="T3" fmla="*/ 46 h 63"/>
                <a:gd name="T4" fmla="*/ 0 w 78"/>
                <a:gd name="T5" fmla="*/ 63 h 63"/>
                <a:gd name="T6" fmla="*/ 78 w 78"/>
                <a:gd name="T7" fmla="*/ 17 h 63"/>
                <a:gd name="T8" fmla="*/ 78 w 78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78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4" name="Freeform 241">
              <a:extLst>
                <a:ext uri="{FF2B5EF4-FFF2-40B4-BE49-F238E27FC236}">
                  <a16:creationId xmlns:a16="http://schemas.microsoft.com/office/drawing/2014/main" id="{80B26C4B-E99D-4E9E-AF2D-3772CEB96F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0901" y="4219001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5" name="Freeform 242">
              <a:extLst>
                <a:ext uri="{FF2B5EF4-FFF2-40B4-BE49-F238E27FC236}">
                  <a16:creationId xmlns:a16="http://schemas.microsoft.com/office/drawing/2014/main" id="{72FEB10F-22C1-442A-942B-F697C9C36A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0901" y="4147564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6" name="Freeform 243">
              <a:extLst>
                <a:ext uri="{FF2B5EF4-FFF2-40B4-BE49-F238E27FC236}">
                  <a16:creationId xmlns:a16="http://schemas.microsoft.com/office/drawing/2014/main" id="{116A19AF-9A41-44B3-ADFE-A5C6108247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93001" y="4315839"/>
              <a:ext cx="123825" cy="100013"/>
            </a:xfrm>
            <a:custGeom>
              <a:avLst/>
              <a:gdLst>
                <a:gd name="T0" fmla="*/ 78 w 78"/>
                <a:gd name="T1" fmla="*/ 0 h 63"/>
                <a:gd name="T2" fmla="*/ 0 w 78"/>
                <a:gd name="T3" fmla="*/ 46 h 63"/>
                <a:gd name="T4" fmla="*/ 0 w 78"/>
                <a:gd name="T5" fmla="*/ 63 h 63"/>
                <a:gd name="T6" fmla="*/ 78 w 78"/>
                <a:gd name="T7" fmla="*/ 17 h 63"/>
                <a:gd name="T8" fmla="*/ 78 w 78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78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7" name="Freeform 244">
              <a:extLst>
                <a:ext uri="{FF2B5EF4-FFF2-40B4-BE49-F238E27FC236}">
                  <a16:creationId xmlns:a16="http://schemas.microsoft.com/office/drawing/2014/main" id="{8BE50B5B-BAFC-42A2-9794-F710E05E24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315839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8" name="Freeform 245">
              <a:extLst>
                <a:ext uri="{FF2B5EF4-FFF2-40B4-BE49-F238E27FC236}">
                  <a16:creationId xmlns:a16="http://schemas.microsoft.com/office/drawing/2014/main" id="{1EBE4138-C3E8-4016-8010-7BD2550BBE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242814"/>
              <a:ext cx="249238" cy="146050"/>
            </a:xfrm>
            <a:custGeom>
              <a:avLst/>
              <a:gdLst>
                <a:gd name="T0" fmla="*/ 157 w 157"/>
                <a:gd name="T1" fmla="*/ 46 h 92"/>
                <a:gd name="T2" fmla="*/ 78 w 157"/>
                <a:gd name="T3" fmla="*/ 0 h 92"/>
                <a:gd name="T4" fmla="*/ 0 w 157"/>
                <a:gd name="T5" fmla="*/ 46 h 92"/>
                <a:gd name="T6" fmla="*/ 79 w 157"/>
                <a:gd name="T7" fmla="*/ 92 h 92"/>
                <a:gd name="T8" fmla="*/ 157 w 157"/>
                <a:gd name="T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2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2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99" name="Freeform 246">
              <a:extLst>
                <a:ext uri="{FF2B5EF4-FFF2-40B4-BE49-F238E27FC236}">
                  <a16:creationId xmlns:a16="http://schemas.microsoft.com/office/drawing/2014/main" id="{0364E5D8-B13C-439D-88FD-CD829E3055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8026" y="4798439"/>
              <a:ext cx="123825" cy="98425"/>
            </a:xfrm>
            <a:custGeom>
              <a:avLst/>
              <a:gdLst>
                <a:gd name="T0" fmla="*/ 78 w 78"/>
                <a:gd name="T1" fmla="*/ 0 h 62"/>
                <a:gd name="T2" fmla="*/ 0 w 78"/>
                <a:gd name="T3" fmla="*/ 45 h 62"/>
                <a:gd name="T4" fmla="*/ 0 w 78"/>
                <a:gd name="T5" fmla="*/ 62 h 62"/>
                <a:gd name="T6" fmla="*/ 78 w 78"/>
                <a:gd name="T7" fmla="*/ 17 h 62"/>
                <a:gd name="T8" fmla="*/ 78 w 78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78" y="0"/>
                  </a:moveTo>
                  <a:lnTo>
                    <a:pt x="0" y="45"/>
                  </a:lnTo>
                  <a:lnTo>
                    <a:pt x="0" y="62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0" name="Freeform 247">
              <a:extLst>
                <a:ext uri="{FF2B5EF4-FFF2-40B4-BE49-F238E27FC236}">
                  <a16:creationId xmlns:a16="http://schemas.microsoft.com/office/drawing/2014/main" id="{1CA4D491-B5A3-4984-9883-B4D3C3B106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4276" y="4412676"/>
              <a:ext cx="793750" cy="484188"/>
            </a:xfrm>
            <a:custGeom>
              <a:avLst/>
              <a:gdLst>
                <a:gd name="T0" fmla="*/ 0 w 500"/>
                <a:gd name="T1" fmla="*/ 0 h 305"/>
                <a:gd name="T2" fmla="*/ 0 w 500"/>
                <a:gd name="T3" fmla="*/ 17 h 305"/>
                <a:gd name="T4" fmla="*/ 500 w 500"/>
                <a:gd name="T5" fmla="*/ 305 h 305"/>
                <a:gd name="T6" fmla="*/ 500 w 500"/>
                <a:gd name="T7" fmla="*/ 288 h 305"/>
                <a:gd name="T8" fmla="*/ 0 w 500"/>
                <a:gd name="T9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0" h="305">
                  <a:moveTo>
                    <a:pt x="0" y="0"/>
                  </a:moveTo>
                  <a:lnTo>
                    <a:pt x="0" y="17"/>
                  </a:lnTo>
                  <a:lnTo>
                    <a:pt x="500" y="305"/>
                  </a:lnTo>
                  <a:lnTo>
                    <a:pt x="50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1" name="Freeform 248">
              <a:extLst>
                <a:ext uri="{FF2B5EF4-FFF2-40B4-BE49-F238E27FC236}">
                  <a16:creationId xmlns:a16="http://schemas.microsoft.com/office/drawing/2014/main" id="{49A065AB-1704-4592-8FF7-81B50C3B3B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4276" y="4339651"/>
              <a:ext cx="917575" cy="530225"/>
            </a:xfrm>
            <a:custGeom>
              <a:avLst/>
              <a:gdLst>
                <a:gd name="T0" fmla="*/ 578 w 578"/>
                <a:gd name="T1" fmla="*/ 289 h 334"/>
                <a:gd name="T2" fmla="*/ 79 w 578"/>
                <a:gd name="T3" fmla="*/ 0 h 334"/>
                <a:gd name="T4" fmla="*/ 0 w 578"/>
                <a:gd name="T5" fmla="*/ 46 h 334"/>
                <a:gd name="T6" fmla="*/ 500 w 578"/>
                <a:gd name="T7" fmla="*/ 334 h 334"/>
                <a:gd name="T8" fmla="*/ 578 w 578"/>
                <a:gd name="T9" fmla="*/ 28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8" h="334">
                  <a:moveTo>
                    <a:pt x="578" y="289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500" y="334"/>
                  </a:lnTo>
                  <a:lnTo>
                    <a:pt x="578" y="289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2" name="Freeform 249">
              <a:extLst>
                <a:ext uri="{FF2B5EF4-FFF2-40B4-BE49-F238E27FC236}">
                  <a16:creationId xmlns:a16="http://schemas.microsoft.com/office/drawing/2014/main" id="{FFF45565-B605-4C52-B8A7-CD4468944A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4713" y="4893689"/>
              <a:ext cx="125413" cy="100013"/>
            </a:xfrm>
            <a:custGeom>
              <a:avLst/>
              <a:gdLst>
                <a:gd name="T0" fmla="*/ 79 w 79"/>
                <a:gd name="T1" fmla="*/ 0 h 63"/>
                <a:gd name="T2" fmla="*/ 0 w 79"/>
                <a:gd name="T3" fmla="*/ 46 h 63"/>
                <a:gd name="T4" fmla="*/ 0 w 79"/>
                <a:gd name="T5" fmla="*/ 63 h 63"/>
                <a:gd name="T6" fmla="*/ 79 w 79"/>
                <a:gd name="T7" fmla="*/ 17 h 63"/>
                <a:gd name="T8" fmla="*/ 79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9" y="17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3" name="Freeform 250">
              <a:extLst>
                <a:ext uri="{FF2B5EF4-FFF2-40B4-BE49-F238E27FC236}">
                  <a16:creationId xmlns:a16="http://schemas.microsoft.com/office/drawing/2014/main" id="{C7A99816-BD91-4441-A90D-C9E89FEE36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9301" y="4893689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4" name="Freeform 251">
              <a:extLst>
                <a:ext uri="{FF2B5EF4-FFF2-40B4-BE49-F238E27FC236}">
                  <a16:creationId xmlns:a16="http://schemas.microsoft.com/office/drawing/2014/main" id="{31D5FFDC-B285-4EF6-B7A4-21AE96B189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9301" y="4822251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5" name="Freeform 252">
              <a:extLst>
                <a:ext uri="{FF2B5EF4-FFF2-40B4-BE49-F238E27FC236}">
                  <a16:creationId xmlns:a16="http://schemas.microsoft.com/office/drawing/2014/main" id="{875BF7AE-2D3E-473D-8455-E11102C323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61401" y="4990526"/>
              <a:ext cx="125413" cy="100013"/>
            </a:xfrm>
            <a:custGeom>
              <a:avLst/>
              <a:gdLst>
                <a:gd name="T0" fmla="*/ 79 w 79"/>
                <a:gd name="T1" fmla="*/ 0 h 63"/>
                <a:gd name="T2" fmla="*/ 0 w 79"/>
                <a:gd name="T3" fmla="*/ 46 h 63"/>
                <a:gd name="T4" fmla="*/ 0 w 79"/>
                <a:gd name="T5" fmla="*/ 63 h 63"/>
                <a:gd name="T6" fmla="*/ 79 w 79"/>
                <a:gd name="T7" fmla="*/ 17 h 63"/>
                <a:gd name="T8" fmla="*/ 79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9" y="17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6" name="Freeform 253">
              <a:extLst>
                <a:ext uri="{FF2B5EF4-FFF2-40B4-BE49-F238E27FC236}">
                  <a16:creationId xmlns:a16="http://schemas.microsoft.com/office/drawing/2014/main" id="{CA9BF941-FEF8-424A-9092-03671E2201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5988" y="4990526"/>
              <a:ext cx="125413" cy="100013"/>
            </a:xfrm>
            <a:custGeom>
              <a:avLst/>
              <a:gdLst>
                <a:gd name="T0" fmla="*/ 1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1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1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7" name="Freeform 254">
              <a:extLst>
                <a:ext uri="{FF2B5EF4-FFF2-40B4-BE49-F238E27FC236}">
                  <a16:creationId xmlns:a16="http://schemas.microsoft.com/office/drawing/2014/main" id="{1EC12624-2B42-4E9B-8472-A897402B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7576" y="4919089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8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8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2" name="Freeform 255">
              <a:extLst>
                <a:ext uri="{FF2B5EF4-FFF2-40B4-BE49-F238E27FC236}">
                  <a16:creationId xmlns:a16="http://schemas.microsoft.com/office/drawing/2014/main" id="{A37CE4B5-C11F-4008-87AC-F34364025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29676" y="5087364"/>
              <a:ext cx="123825" cy="98425"/>
            </a:xfrm>
            <a:custGeom>
              <a:avLst/>
              <a:gdLst>
                <a:gd name="T0" fmla="*/ 78 w 78"/>
                <a:gd name="T1" fmla="*/ 0 h 62"/>
                <a:gd name="T2" fmla="*/ 0 w 78"/>
                <a:gd name="T3" fmla="*/ 45 h 62"/>
                <a:gd name="T4" fmla="*/ 0 w 78"/>
                <a:gd name="T5" fmla="*/ 62 h 62"/>
                <a:gd name="T6" fmla="*/ 78 w 78"/>
                <a:gd name="T7" fmla="*/ 17 h 62"/>
                <a:gd name="T8" fmla="*/ 78 w 78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78" y="0"/>
                  </a:moveTo>
                  <a:lnTo>
                    <a:pt x="0" y="45"/>
                  </a:lnTo>
                  <a:lnTo>
                    <a:pt x="0" y="62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3" name="Freeform 256">
              <a:extLst>
                <a:ext uri="{FF2B5EF4-FFF2-40B4-BE49-F238E27FC236}">
                  <a16:creationId xmlns:a16="http://schemas.microsoft.com/office/drawing/2014/main" id="{54946000-3D67-4B1B-9F77-0AC3A6B59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4263" y="50873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4" name="Freeform 257">
              <a:extLst>
                <a:ext uri="{FF2B5EF4-FFF2-40B4-BE49-F238E27FC236}">
                  <a16:creationId xmlns:a16="http://schemas.microsoft.com/office/drawing/2014/main" id="{A8B191B9-CBBC-413F-8606-81D3C8614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4263" y="5014339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5" name="Freeform 258">
              <a:extLst>
                <a:ext uri="{FF2B5EF4-FFF2-40B4-BE49-F238E27FC236}">
                  <a16:creationId xmlns:a16="http://schemas.microsoft.com/office/drawing/2014/main" id="{2760455D-CD36-4000-ABB3-0398BDE5F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96363" y="5182614"/>
              <a:ext cx="123825" cy="98425"/>
            </a:xfrm>
            <a:custGeom>
              <a:avLst/>
              <a:gdLst>
                <a:gd name="T0" fmla="*/ 78 w 78"/>
                <a:gd name="T1" fmla="*/ 0 h 62"/>
                <a:gd name="T2" fmla="*/ 0 w 78"/>
                <a:gd name="T3" fmla="*/ 45 h 62"/>
                <a:gd name="T4" fmla="*/ 0 w 78"/>
                <a:gd name="T5" fmla="*/ 62 h 62"/>
                <a:gd name="T6" fmla="*/ 78 w 78"/>
                <a:gd name="T7" fmla="*/ 17 h 62"/>
                <a:gd name="T8" fmla="*/ 78 w 78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78" y="0"/>
                  </a:moveTo>
                  <a:lnTo>
                    <a:pt x="0" y="45"/>
                  </a:lnTo>
                  <a:lnTo>
                    <a:pt x="0" y="62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6" name="Freeform 259">
              <a:extLst>
                <a:ext uri="{FF2B5EF4-FFF2-40B4-BE49-F238E27FC236}">
                  <a16:creationId xmlns:a16="http://schemas.microsoft.com/office/drawing/2014/main" id="{793AAB59-C446-4D60-9B05-E25FD88BE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70951" y="518261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7" name="Freeform 260">
              <a:extLst>
                <a:ext uri="{FF2B5EF4-FFF2-40B4-BE49-F238E27FC236}">
                  <a16:creationId xmlns:a16="http://schemas.microsoft.com/office/drawing/2014/main" id="{AD315D5B-0370-4200-BE17-D1855E4D76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70951" y="5111176"/>
              <a:ext cx="249238" cy="142875"/>
            </a:xfrm>
            <a:custGeom>
              <a:avLst/>
              <a:gdLst>
                <a:gd name="T0" fmla="*/ 157 w 157"/>
                <a:gd name="T1" fmla="*/ 45 h 90"/>
                <a:gd name="T2" fmla="*/ 78 w 157"/>
                <a:gd name="T3" fmla="*/ 0 h 90"/>
                <a:gd name="T4" fmla="*/ 0 w 157"/>
                <a:gd name="T5" fmla="*/ 45 h 90"/>
                <a:gd name="T6" fmla="*/ 79 w 157"/>
                <a:gd name="T7" fmla="*/ 90 h 90"/>
                <a:gd name="T8" fmla="*/ 157 w 157"/>
                <a:gd name="T9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0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0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8" name="Freeform 261">
              <a:extLst>
                <a:ext uri="{FF2B5EF4-FFF2-40B4-BE49-F238E27FC236}">
                  <a16:creationId xmlns:a16="http://schemas.microsoft.com/office/drawing/2014/main" id="{9707AAB6-64D7-4F85-8B2D-5DDABE0CB6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288726"/>
              <a:ext cx="342900" cy="592138"/>
            </a:xfrm>
            <a:custGeom>
              <a:avLst/>
              <a:gdLst>
                <a:gd name="T0" fmla="*/ 0 w 216"/>
                <a:gd name="T1" fmla="*/ 0 h 373"/>
                <a:gd name="T2" fmla="*/ 0 w 216"/>
                <a:gd name="T3" fmla="*/ 213 h 373"/>
                <a:gd name="T4" fmla="*/ 147 w 216"/>
                <a:gd name="T5" fmla="*/ 298 h 373"/>
                <a:gd name="T6" fmla="*/ 147 w 216"/>
                <a:gd name="T7" fmla="*/ 334 h 373"/>
                <a:gd name="T8" fmla="*/ 216 w 216"/>
                <a:gd name="T9" fmla="*/ 373 h 373"/>
                <a:gd name="T10" fmla="*/ 216 w 216"/>
                <a:gd name="T11" fmla="*/ 202 h 373"/>
                <a:gd name="T12" fmla="*/ 212 w 216"/>
                <a:gd name="T13" fmla="*/ 199 h 373"/>
                <a:gd name="T14" fmla="*/ 45 w 216"/>
                <a:gd name="T15" fmla="*/ 26 h 373"/>
                <a:gd name="T16" fmla="*/ 0 w 216"/>
                <a:gd name="T17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373">
                  <a:moveTo>
                    <a:pt x="0" y="0"/>
                  </a:moveTo>
                  <a:cubicBezTo>
                    <a:pt x="0" y="213"/>
                    <a:pt x="0" y="213"/>
                    <a:pt x="0" y="213"/>
                  </a:cubicBezTo>
                  <a:cubicBezTo>
                    <a:pt x="147" y="298"/>
                    <a:pt x="147" y="298"/>
                    <a:pt x="147" y="298"/>
                  </a:cubicBezTo>
                  <a:cubicBezTo>
                    <a:pt x="147" y="334"/>
                    <a:pt x="147" y="334"/>
                    <a:pt x="147" y="334"/>
                  </a:cubicBezTo>
                  <a:cubicBezTo>
                    <a:pt x="216" y="373"/>
                    <a:pt x="216" y="373"/>
                    <a:pt x="216" y="373"/>
                  </a:cubicBezTo>
                  <a:cubicBezTo>
                    <a:pt x="216" y="202"/>
                    <a:pt x="216" y="202"/>
                    <a:pt x="216" y="202"/>
                  </a:cubicBezTo>
                  <a:cubicBezTo>
                    <a:pt x="215" y="201"/>
                    <a:pt x="213" y="200"/>
                    <a:pt x="212" y="199"/>
                  </a:cubicBezTo>
                  <a:cubicBezTo>
                    <a:pt x="147" y="162"/>
                    <a:pt x="88" y="99"/>
                    <a:pt x="45" y="2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9" name="Freeform 262">
              <a:extLst>
                <a:ext uri="{FF2B5EF4-FFF2-40B4-BE49-F238E27FC236}">
                  <a16:creationId xmlns:a16="http://schemas.microsoft.com/office/drawing/2014/main" id="{6F42D6AD-EFE9-4BA5-BC32-FFA4863F38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72676" y="3330001"/>
              <a:ext cx="271463" cy="279400"/>
            </a:xfrm>
            <a:custGeom>
              <a:avLst/>
              <a:gdLst>
                <a:gd name="T0" fmla="*/ 0 w 171"/>
                <a:gd name="T1" fmla="*/ 0 h 176"/>
                <a:gd name="T2" fmla="*/ 167 w 171"/>
                <a:gd name="T3" fmla="*/ 173 h 176"/>
                <a:gd name="T4" fmla="*/ 171 w 171"/>
                <a:gd name="T5" fmla="*/ 176 h 176"/>
                <a:gd name="T6" fmla="*/ 171 w 171"/>
                <a:gd name="T7" fmla="*/ 103 h 176"/>
                <a:gd name="T8" fmla="*/ 167 w 171"/>
                <a:gd name="T9" fmla="*/ 101 h 176"/>
                <a:gd name="T10" fmla="*/ 167 w 171"/>
                <a:gd name="T11" fmla="*/ 101 h 176"/>
                <a:gd name="T12" fmla="*/ 129 w 171"/>
                <a:gd name="T13" fmla="*/ 75 h 176"/>
                <a:gd name="T14" fmla="*/ 0 w 171"/>
                <a:gd name="T15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176">
                  <a:moveTo>
                    <a:pt x="0" y="0"/>
                  </a:moveTo>
                  <a:cubicBezTo>
                    <a:pt x="43" y="73"/>
                    <a:pt x="102" y="136"/>
                    <a:pt x="167" y="173"/>
                  </a:cubicBezTo>
                  <a:cubicBezTo>
                    <a:pt x="168" y="174"/>
                    <a:pt x="170" y="175"/>
                    <a:pt x="171" y="176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0" y="103"/>
                    <a:pt x="168" y="102"/>
                    <a:pt x="167" y="101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54" y="94"/>
                    <a:pt x="141" y="85"/>
                    <a:pt x="129" y="7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0" name="Freeform 263">
              <a:extLst>
                <a:ext uri="{FF2B5EF4-FFF2-40B4-BE49-F238E27FC236}">
                  <a16:creationId xmlns:a16="http://schemas.microsoft.com/office/drawing/2014/main" id="{1A69B8D3-9613-4EBB-B063-EC425F1114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77188" y="1963164"/>
              <a:ext cx="460375" cy="792163"/>
            </a:xfrm>
            <a:custGeom>
              <a:avLst/>
              <a:gdLst>
                <a:gd name="T0" fmla="*/ 1 w 290"/>
                <a:gd name="T1" fmla="*/ 171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385 h 499"/>
                <a:gd name="T8" fmla="*/ 254 w 290"/>
                <a:gd name="T9" fmla="*/ 365 h 499"/>
                <a:gd name="T10" fmla="*/ 254 w 290"/>
                <a:gd name="T11" fmla="*/ 318 h 499"/>
                <a:gd name="T12" fmla="*/ 1 w 290"/>
                <a:gd name="T13" fmla="*/ 171 h 499"/>
                <a:gd name="T14" fmla="*/ 1 w 290"/>
                <a:gd name="T15" fmla="*/ 0 h 499"/>
                <a:gd name="T16" fmla="*/ 1 w 290"/>
                <a:gd name="T17" fmla="*/ 150 h 499"/>
                <a:gd name="T18" fmla="*/ 254 w 290"/>
                <a:gd name="T19" fmla="*/ 296 h 499"/>
                <a:gd name="T20" fmla="*/ 255 w 290"/>
                <a:gd name="T21" fmla="*/ 146 h 499"/>
                <a:gd name="T22" fmla="*/ 1 w 290"/>
                <a:gd name="T23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0" h="499">
                  <a:moveTo>
                    <a:pt x="1" y="171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385"/>
                  </a:lnTo>
                  <a:lnTo>
                    <a:pt x="254" y="365"/>
                  </a:lnTo>
                  <a:lnTo>
                    <a:pt x="254" y="318"/>
                  </a:lnTo>
                  <a:lnTo>
                    <a:pt x="1" y="171"/>
                  </a:lnTo>
                  <a:close/>
                  <a:moveTo>
                    <a:pt x="1" y="0"/>
                  </a:moveTo>
                  <a:lnTo>
                    <a:pt x="1" y="150"/>
                  </a:lnTo>
                  <a:lnTo>
                    <a:pt x="254" y="296"/>
                  </a:lnTo>
                  <a:lnTo>
                    <a:pt x="255" y="14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3" name="Freeform 264">
              <a:extLst>
                <a:ext uri="{FF2B5EF4-FFF2-40B4-BE49-F238E27FC236}">
                  <a16:creationId xmlns:a16="http://schemas.microsoft.com/office/drawing/2014/main" id="{9743B3C1-5C28-406F-99AB-8AB7E3D281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77188" y="1963164"/>
              <a:ext cx="460375" cy="792163"/>
            </a:xfrm>
            <a:custGeom>
              <a:avLst/>
              <a:gdLst>
                <a:gd name="T0" fmla="*/ 1 w 290"/>
                <a:gd name="T1" fmla="*/ 171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385 h 499"/>
                <a:gd name="T8" fmla="*/ 254 w 290"/>
                <a:gd name="T9" fmla="*/ 365 h 499"/>
                <a:gd name="T10" fmla="*/ 254 w 290"/>
                <a:gd name="T11" fmla="*/ 318 h 499"/>
                <a:gd name="T12" fmla="*/ 1 w 290"/>
                <a:gd name="T13" fmla="*/ 171 h 499"/>
                <a:gd name="T14" fmla="*/ 1 w 290"/>
                <a:gd name="T15" fmla="*/ 0 h 499"/>
                <a:gd name="T16" fmla="*/ 1 w 290"/>
                <a:gd name="T17" fmla="*/ 150 h 499"/>
                <a:gd name="T18" fmla="*/ 254 w 290"/>
                <a:gd name="T19" fmla="*/ 296 h 499"/>
                <a:gd name="T20" fmla="*/ 255 w 290"/>
                <a:gd name="T21" fmla="*/ 146 h 499"/>
                <a:gd name="T22" fmla="*/ 1 w 290"/>
                <a:gd name="T23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0" h="499">
                  <a:moveTo>
                    <a:pt x="1" y="171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385"/>
                  </a:lnTo>
                  <a:lnTo>
                    <a:pt x="254" y="365"/>
                  </a:lnTo>
                  <a:lnTo>
                    <a:pt x="254" y="318"/>
                  </a:lnTo>
                  <a:lnTo>
                    <a:pt x="1" y="171"/>
                  </a:lnTo>
                  <a:moveTo>
                    <a:pt x="1" y="0"/>
                  </a:moveTo>
                  <a:lnTo>
                    <a:pt x="1" y="150"/>
                  </a:lnTo>
                  <a:lnTo>
                    <a:pt x="254" y="296"/>
                  </a:lnTo>
                  <a:lnTo>
                    <a:pt x="255" y="146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4" name="Freeform 265">
              <a:extLst>
                <a:ext uri="{FF2B5EF4-FFF2-40B4-BE49-F238E27FC236}">
                  <a16:creationId xmlns:a16="http://schemas.microsoft.com/office/drawing/2014/main" id="{4F5BCD2B-B624-4233-A8CE-259575BDFB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42401" y="3174426"/>
              <a:ext cx="460375" cy="792163"/>
            </a:xfrm>
            <a:custGeom>
              <a:avLst/>
              <a:gdLst>
                <a:gd name="T0" fmla="*/ 1 w 290"/>
                <a:gd name="T1" fmla="*/ 0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167 h 499"/>
                <a:gd name="T8" fmla="*/ 1 w 29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9">
                  <a:moveTo>
                    <a:pt x="1" y="0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16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5" name="Freeform 266">
              <a:extLst>
                <a:ext uri="{FF2B5EF4-FFF2-40B4-BE49-F238E27FC236}">
                  <a16:creationId xmlns:a16="http://schemas.microsoft.com/office/drawing/2014/main" id="{2EDBA5C1-B64A-4C85-B940-1BF2C6C84F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42401" y="3174426"/>
              <a:ext cx="460375" cy="792163"/>
            </a:xfrm>
            <a:custGeom>
              <a:avLst/>
              <a:gdLst>
                <a:gd name="T0" fmla="*/ 1 w 290"/>
                <a:gd name="T1" fmla="*/ 0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167 h 499"/>
                <a:gd name="T8" fmla="*/ 1 w 29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9">
                  <a:moveTo>
                    <a:pt x="1" y="0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16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6" name="Freeform 267">
              <a:extLst>
                <a:ext uri="{FF2B5EF4-FFF2-40B4-BE49-F238E27FC236}">
                  <a16:creationId xmlns:a16="http://schemas.microsoft.com/office/drawing/2014/main" id="{E039CEA0-F070-4C2A-BC16-317BDE35CC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9001" y="2866451"/>
              <a:ext cx="460375" cy="792163"/>
            </a:xfrm>
            <a:custGeom>
              <a:avLst/>
              <a:gdLst>
                <a:gd name="T0" fmla="*/ 1 w 290"/>
                <a:gd name="T1" fmla="*/ 0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167 h 499"/>
                <a:gd name="T8" fmla="*/ 1 w 29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9">
                  <a:moveTo>
                    <a:pt x="1" y="0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16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7" name="Freeform 268">
              <a:extLst>
                <a:ext uri="{FF2B5EF4-FFF2-40B4-BE49-F238E27FC236}">
                  <a16:creationId xmlns:a16="http://schemas.microsoft.com/office/drawing/2014/main" id="{DDC299DB-BE9B-4737-B79C-4B4B404CCA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9001" y="2866451"/>
              <a:ext cx="460375" cy="792163"/>
            </a:xfrm>
            <a:custGeom>
              <a:avLst/>
              <a:gdLst>
                <a:gd name="T0" fmla="*/ 1 w 290"/>
                <a:gd name="T1" fmla="*/ 0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167 h 499"/>
                <a:gd name="T8" fmla="*/ 1 w 29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9">
                  <a:moveTo>
                    <a:pt x="1" y="0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16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8" name="Freeform 269">
              <a:extLst>
                <a:ext uri="{FF2B5EF4-FFF2-40B4-BE49-F238E27FC236}">
                  <a16:creationId xmlns:a16="http://schemas.microsoft.com/office/drawing/2014/main" id="{609602E1-91B4-46BC-92C8-539724DF26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69251" y="1666301"/>
              <a:ext cx="1531938" cy="1112838"/>
            </a:xfrm>
            <a:custGeom>
              <a:avLst/>
              <a:gdLst>
                <a:gd name="T0" fmla="*/ 1 w 965"/>
                <a:gd name="T1" fmla="*/ 0 h 701"/>
                <a:gd name="T2" fmla="*/ 0 w 965"/>
                <a:gd name="T3" fmla="*/ 143 h 701"/>
                <a:gd name="T4" fmla="*/ 260 w 965"/>
                <a:gd name="T5" fmla="*/ 293 h 701"/>
                <a:gd name="T6" fmla="*/ 260 w 965"/>
                <a:gd name="T7" fmla="*/ 220 h 701"/>
                <a:gd name="T8" fmla="*/ 549 w 965"/>
                <a:gd name="T9" fmla="*/ 387 h 701"/>
                <a:gd name="T10" fmla="*/ 549 w 965"/>
                <a:gd name="T11" fmla="*/ 460 h 701"/>
                <a:gd name="T12" fmla="*/ 965 w 965"/>
                <a:gd name="T13" fmla="*/ 701 h 701"/>
                <a:gd name="T14" fmla="*/ 965 w 965"/>
                <a:gd name="T15" fmla="*/ 556 h 701"/>
                <a:gd name="T16" fmla="*/ 1 w 965"/>
                <a:gd name="T17" fmla="*/ 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5" h="701">
                  <a:moveTo>
                    <a:pt x="1" y="0"/>
                  </a:moveTo>
                  <a:lnTo>
                    <a:pt x="0" y="143"/>
                  </a:lnTo>
                  <a:lnTo>
                    <a:pt x="260" y="293"/>
                  </a:lnTo>
                  <a:lnTo>
                    <a:pt x="260" y="220"/>
                  </a:lnTo>
                  <a:lnTo>
                    <a:pt x="549" y="387"/>
                  </a:lnTo>
                  <a:lnTo>
                    <a:pt x="549" y="460"/>
                  </a:lnTo>
                  <a:lnTo>
                    <a:pt x="965" y="701"/>
                  </a:lnTo>
                  <a:lnTo>
                    <a:pt x="965" y="55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9" name="Freeform 270">
              <a:extLst>
                <a:ext uri="{FF2B5EF4-FFF2-40B4-BE49-F238E27FC236}">
                  <a16:creationId xmlns:a16="http://schemas.microsoft.com/office/drawing/2014/main" id="{2E0767CD-95E7-4FDF-B382-14BCB6865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69251" y="1666301"/>
              <a:ext cx="1531938" cy="1112838"/>
            </a:xfrm>
            <a:custGeom>
              <a:avLst/>
              <a:gdLst>
                <a:gd name="T0" fmla="*/ 1 w 965"/>
                <a:gd name="T1" fmla="*/ 0 h 701"/>
                <a:gd name="T2" fmla="*/ 0 w 965"/>
                <a:gd name="T3" fmla="*/ 143 h 701"/>
                <a:gd name="T4" fmla="*/ 260 w 965"/>
                <a:gd name="T5" fmla="*/ 293 h 701"/>
                <a:gd name="T6" fmla="*/ 260 w 965"/>
                <a:gd name="T7" fmla="*/ 220 h 701"/>
                <a:gd name="T8" fmla="*/ 549 w 965"/>
                <a:gd name="T9" fmla="*/ 387 h 701"/>
                <a:gd name="T10" fmla="*/ 549 w 965"/>
                <a:gd name="T11" fmla="*/ 460 h 701"/>
                <a:gd name="T12" fmla="*/ 965 w 965"/>
                <a:gd name="T13" fmla="*/ 701 h 701"/>
                <a:gd name="T14" fmla="*/ 965 w 965"/>
                <a:gd name="T15" fmla="*/ 556 h 701"/>
                <a:gd name="T16" fmla="*/ 1 w 965"/>
                <a:gd name="T17" fmla="*/ 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5" h="701">
                  <a:moveTo>
                    <a:pt x="1" y="0"/>
                  </a:moveTo>
                  <a:lnTo>
                    <a:pt x="0" y="143"/>
                  </a:lnTo>
                  <a:lnTo>
                    <a:pt x="260" y="293"/>
                  </a:lnTo>
                  <a:lnTo>
                    <a:pt x="260" y="220"/>
                  </a:lnTo>
                  <a:lnTo>
                    <a:pt x="549" y="387"/>
                  </a:lnTo>
                  <a:lnTo>
                    <a:pt x="549" y="460"/>
                  </a:lnTo>
                  <a:lnTo>
                    <a:pt x="965" y="701"/>
                  </a:lnTo>
                  <a:lnTo>
                    <a:pt x="965" y="556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0" name="Freeform 271">
              <a:extLst>
                <a:ext uri="{FF2B5EF4-FFF2-40B4-BE49-F238E27FC236}">
                  <a16:creationId xmlns:a16="http://schemas.microsoft.com/office/drawing/2014/main" id="{AE466CC5-54DE-4735-9CFE-B9380F13EF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77188" y="2863276"/>
              <a:ext cx="460375" cy="487363"/>
            </a:xfrm>
            <a:custGeom>
              <a:avLst/>
              <a:gdLst>
                <a:gd name="T0" fmla="*/ 1 w 290"/>
                <a:gd name="T1" fmla="*/ 0 h 307"/>
                <a:gd name="T2" fmla="*/ 0 w 290"/>
                <a:gd name="T3" fmla="*/ 140 h 307"/>
                <a:gd name="T4" fmla="*/ 289 w 290"/>
                <a:gd name="T5" fmla="*/ 307 h 307"/>
                <a:gd name="T6" fmla="*/ 290 w 290"/>
                <a:gd name="T7" fmla="*/ 167 h 307"/>
                <a:gd name="T8" fmla="*/ 1 w 290"/>
                <a:gd name="T9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307">
                  <a:moveTo>
                    <a:pt x="1" y="0"/>
                  </a:moveTo>
                  <a:lnTo>
                    <a:pt x="0" y="140"/>
                  </a:lnTo>
                  <a:lnTo>
                    <a:pt x="289" y="307"/>
                  </a:lnTo>
                  <a:lnTo>
                    <a:pt x="290" y="16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1" name="Freeform 272">
              <a:extLst>
                <a:ext uri="{FF2B5EF4-FFF2-40B4-BE49-F238E27FC236}">
                  <a16:creationId xmlns:a16="http://schemas.microsoft.com/office/drawing/2014/main" id="{877975F4-76D3-4041-899D-DD07065AFF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77188" y="2863276"/>
              <a:ext cx="460375" cy="487363"/>
            </a:xfrm>
            <a:custGeom>
              <a:avLst/>
              <a:gdLst>
                <a:gd name="T0" fmla="*/ 1 w 290"/>
                <a:gd name="T1" fmla="*/ 0 h 307"/>
                <a:gd name="T2" fmla="*/ 0 w 290"/>
                <a:gd name="T3" fmla="*/ 140 h 307"/>
                <a:gd name="T4" fmla="*/ 289 w 290"/>
                <a:gd name="T5" fmla="*/ 307 h 307"/>
                <a:gd name="T6" fmla="*/ 290 w 290"/>
                <a:gd name="T7" fmla="*/ 167 h 307"/>
                <a:gd name="T8" fmla="*/ 1 w 290"/>
                <a:gd name="T9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307">
                  <a:moveTo>
                    <a:pt x="1" y="0"/>
                  </a:moveTo>
                  <a:lnTo>
                    <a:pt x="0" y="140"/>
                  </a:lnTo>
                  <a:lnTo>
                    <a:pt x="289" y="307"/>
                  </a:lnTo>
                  <a:lnTo>
                    <a:pt x="290" y="16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2" name="Freeform 273">
              <a:extLst>
                <a:ext uri="{FF2B5EF4-FFF2-40B4-BE49-F238E27FC236}">
                  <a16:creationId xmlns:a16="http://schemas.microsoft.com/office/drawing/2014/main" id="{5A0C80C5-D717-466F-B6CE-93DAF92E0A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1513" y="2602926"/>
              <a:ext cx="271463" cy="1531938"/>
            </a:xfrm>
            <a:custGeom>
              <a:avLst/>
              <a:gdLst>
                <a:gd name="T0" fmla="*/ 0 w 171"/>
                <a:gd name="T1" fmla="*/ 0 h 965"/>
                <a:gd name="T2" fmla="*/ 0 w 171"/>
                <a:gd name="T3" fmla="*/ 869 h 965"/>
                <a:gd name="T4" fmla="*/ 171 w 171"/>
                <a:gd name="T5" fmla="*/ 965 h 965"/>
                <a:gd name="T6" fmla="*/ 171 w 171"/>
                <a:gd name="T7" fmla="*/ 868 h 965"/>
                <a:gd name="T8" fmla="*/ 145 w 171"/>
                <a:gd name="T9" fmla="*/ 853 h 965"/>
                <a:gd name="T10" fmla="*/ 146 w 171"/>
                <a:gd name="T11" fmla="*/ 605 h 965"/>
                <a:gd name="T12" fmla="*/ 171 w 171"/>
                <a:gd name="T13" fmla="*/ 620 h 965"/>
                <a:gd name="T14" fmla="*/ 171 w 171"/>
                <a:gd name="T15" fmla="*/ 99 h 965"/>
                <a:gd name="T16" fmla="*/ 0 w 171"/>
                <a:gd name="T17" fmla="*/ 0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1" h="965">
                  <a:moveTo>
                    <a:pt x="0" y="0"/>
                  </a:moveTo>
                  <a:lnTo>
                    <a:pt x="0" y="869"/>
                  </a:lnTo>
                  <a:lnTo>
                    <a:pt x="171" y="965"/>
                  </a:lnTo>
                  <a:lnTo>
                    <a:pt x="171" y="868"/>
                  </a:lnTo>
                  <a:lnTo>
                    <a:pt x="145" y="853"/>
                  </a:lnTo>
                  <a:lnTo>
                    <a:pt x="146" y="605"/>
                  </a:lnTo>
                  <a:lnTo>
                    <a:pt x="171" y="620"/>
                  </a:lnTo>
                  <a:lnTo>
                    <a:pt x="171" y="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3" name="Freeform 274">
              <a:extLst>
                <a:ext uri="{FF2B5EF4-FFF2-40B4-BE49-F238E27FC236}">
                  <a16:creationId xmlns:a16="http://schemas.microsoft.com/office/drawing/2014/main" id="{8115E5C1-E514-4FD6-9BA6-44CA451863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1513" y="2602926"/>
              <a:ext cx="271463" cy="1531938"/>
            </a:xfrm>
            <a:custGeom>
              <a:avLst/>
              <a:gdLst>
                <a:gd name="T0" fmla="*/ 0 w 171"/>
                <a:gd name="T1" fmla="*/ 0 h 965"/>
                <a:gd name="T2" fmla="*/ 0 w 171"/>
                <a:gd name="T3" fmla="*/ 869 h 965"/>
                <a:gd name="T4" fmla="*/ 171 w 171"/>
                <a:gd name="T5" fmla="*/ 965 h 965"/>
                <a:gd name="T6" fmla="*/ 171 w 171"/>
                <a:gd name="T7" fmla="*/ 868 h 965"/>
                <a:gd name="T8" fmla="*/ 145 w 171"/>
                <a:gd name="T9" fmla="*/ 853 h 965"/>
                <a:gd name="T10" fmla="*/ 146 w 171"/>
                <a:gd name="T11" fmla="*/ 605 h 965"/>
                <a:gd name="T12" fmla="*/ 171 w 171"/>
                <a:gd name="T13" fmla="*/ 620 h 965"/>
                <a:gd name="T14" fmla="*/ 171 w 171"/>
                <a:gd name="T15" fmla="*/ 99 h 965"/>
                <a:gd name="T16" fmla="*/ 0 w 171"/>
                <a:gd name="T17" fmla="*/ 0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1" h="965">
                  <a:moveTo>
                    <a:pt x="0" y="0"/>
                  </a:moveTo>
                  <a:lnTo>
                    <a:pt x="0" y="869"/>
                  </a:lnTo>
                  <a:lnTo>
                    <a:pt x="171" y="965"/>
                  </a:lnTo>
                  <a:lnTo>
                    <a:pt x="171" y="868"/>
                  </a:lnTo>
                  <a:lnTo>
                    <a:pt x="145" y="853"/>
                  </a:lnTo>
                  <a:lnTo>
                    <a:pt x="146" y="605"/>
                  </a:lnTo>
                  <a:lnTo>
                    <a:pt x="171" y="620"/>
                  </a:lnTo>
                  <a:lnTo>
                    <a:pt x="171" y="9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4" name="Freeform 275">
              <a:extLst>
                <a:ext uri="{FF2B5EF4-FFF2-40B4-BE49-F238E27FC236}">
                  <a16:creationId xmlns:a16="http://schemas.microsoft.com/office/drawing/2014/main" id="{750573CC-8F1E-411F-8F2A-F75D73A0B1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80613" y="2818826"/>
              <a:ext cx="44450" cy="49213"/>
            </a:xfrm>
            <a:custGeom>
              <a:avLst/>
              <a:gdLst>
                <a:gd name="T0" fmla="*/ 28 w 28"/>
                <a:gd name="T1" fmla="*/ 0 h 32"/>
                <a:gd name="T2" fmla="*/ 0 w 28"/>
                <a:gd name="T3" fmla="*/ 32 h 32"/>
                <a:gd name="T4" fmla="*/ 0 w 28"/>
                <a:gd name="T5" fmla="*/ 32 h 32"/>
                <a:gd name="T6" fmla="*/ 0 w 28"/>
                <a:gd name="T7" fmla="*/ 32 h 32"/>
                <a:gd name="T8" fmla="*/ 0 w 28"/>
                <a:gd name="T9" fmla="*/ 32 h 32"/>
                <a:gd name="T10" fmla="*/ 1 w 28"/>
                <a:gd name="T11" fmla="*/ 31 h 32"/>
                <a:gd name="T12" fmla="*/ 1 w 28"/>
                <a:gd name="T13" fmla="*/ 30 h 32"/>
                <a:gd name="T14" fmla="*/ 1 w 28"/>
                <a:gd name="T15" fmla="*/ 29 h 32"/>
                <a:gd name="T16" fmla="*/ 2 w 28"/>
                <a:gd name="T17" fmla="*/ 29 h 32"/>
                <a:gd name="T18" fmla="*/ 2 w 28"/>
                <a:gd name="T19" fmla="*/ 29 h 32"/>
                <a:gd name="T20" fmla="*/ 2 w 28"/>
                <a:gd name="T21" fmla="*/ 29 h 32"/>
                <a:gd name="T22" fmla="*/ 2 w 28"/>
                <a:gd name="T23" fmla="*/ 28 h 32"/>
                <a:gd name="T24" fmla="*/ 2 w 28"/>
                <a:gd name="T25" fmla="*/ 28 h 32"/>
                <a:gd name="T26" fmla="*/ 2 w 28"/>
                <a:gd name="T27" fmla="*/ 28 h 32"/>
                <a:gd name="T28" fmla="*/ 3 w 28"/>
                <a:gd name="T29" fmla="*/ 28 h 32"/>
                <a:gd name="T30" fmla="*/ 3 w 28"/>
                <a:gd name="T31" fmla="*/ 26 h 32"/>
                <a:gd name="T32" fmla="*/ 3 w 28"/>
                <a:gd name="T33" fmla="*/ 26 h 32"/>
                <a:gd name="T34" fmla="*/ 4 w 28"/>
                <a:gd name="T35" fmla="*/ 25 h 32"/>
                <a:gd name="T36" fmla="*/ 4 w 28"/>
                <a:gd name="T37" fmla="*/ 25 h 32"/>
                <a:gd name="T38" fmla="*/ 4 w 28"/>
                <a:gd name="T39" fmla="*/ 25 h 32"/>
                <a:gd name="T40" fmla="*/ 4 w 28"/>
                <a:gd name="T41" fmla="*/ 25 h 32"/>
                <a:gd name="T42" fmla="*/ 5 w 28"/>
                <a:gd name="T43" fmla="*/ 24 h 32"/>
                <a:gd name="T44" fmla="*/ 5 w 28"/>
                <a:gd name="T45" fmla="*/ 24 h 32"/>
                <a:gd name="T46" fmla="*/ 6 w 28"/>
                <a:gd name="T47" fmla="*/ 22 h 32"/>
                <a:gd name="T48" fmla="*/ 6 w 28"/>
                <a:gd name="T49" fmla="*/ 22 h 32"/>
                <a:gd name="T50" fmla="*/ 6 w 28"/>
                <a:gd name="T51" fmla="*/ 22 h 32"/>
                <a:gd name="T52" fmla="*/ 6 w 28"/>
                <a:gd name="T53" fmla="*/ 22 h 32"/>
                <a:gd name="T54" fmla="*/ 7 w 28"/>
                <a:gd name="T55" fmla="*/ 21 h 32"/>
                <a:gd name="T56" fmla="*/ 7 w 28"/>
                <a:gd name="T57" fmla="*/ 21 h 32"/>
                <a:gd name="T58" fmla="*/ 7 w 28"/>
                <a:gd name="T59" fmla="*/ 21 h 32"/>
                <a:gd name="T60" fmla="*/ 7 w 28"/>
                <a:gd name="T61" fmla="*/ 21 h 32"/>
                <a:gd name="T62" fmla="*/ 8 w 28"/>
                <a:gd name="T63" fmla="*/ 20 h 32"/>
                <a:gd name="T64" fmla="*/ 8 w 28"/>
                <a:gd name="T65" fmla="*/ 20 h 32"/>
                <a:gd name="T66" fmla="*/ 9 w 28"/>
                <a:gd name="T67" fmla="*/ 19 h 32"/>
                <a:gd name="T68" fmla="*/ 9 w 28"/>
                <a:gd name="T69" fmla="*/ 19 h 32"/>
                <a:gd name="T70" fmla="*/ 10 w 28"/>
                <a:gd name="T71" fmla="*/ 18 h 32"/>
                <a:gd name="T72" fmla="*/ 10 w 28"/>
                <a:gd name="T73" fmla="*/ 18 h 32"/>
                <a:gd name="T74" fmla="*/ 10 w 28"/>
                <a:gd name="T75" fmla="*/ 17 h 32"/>
                <a:gd name="T76" fmla="*/ 10 w 28"/>
                <a:gd name="T77" fmla="*/ 17 h 32"/>
                <a:gd name="T78" fmla="*/ 11 w 28"/>
                <a:gd name="T79" fmla="*/ 16 h 32"/>
                <a:gd name="T80" fmla="*/ 11 w 28"/>
                <a:gd name="T81" fmla="*/ 16 h 32"/>
                <a:gd name="T82" fmla="*/ 12 w 28"/>
                <a:gd name="T83" fmla="*/ 15 h 32"/>
                <a:gd name="T84" fmla="*/ 12 w 28"/>
                <a:gd name="T85" fmla="*/ 15 h 32"/>
                <a:gd name="T86" fmla="*/ 28 w 28"/>
                <a:gd name="T87" fmla="*/ 0 h 32"/>
                <a:gd name="T88" fmla="*/ 28 w 28"/>
                <a:gd name="T8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8" h="32">
                  <a:moveTo>
                    <a:pt x="28" y="0"/>
                  </a:moveTo>
                  <a:cubicBezTo>
                    <a:pt x="17" y="8"/>
                    <a:pt x="7" y="19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0" y="31"/>
                    <a:pt x="1" y="31"/>
                  </a:cubicBezTo>
                  <a:cubicBezTo>
                    <a:pt x="1" y="31"/>
                    <a:pt x="1" y="30"/>
                    <a:pt x="1" y="30"/>
                  </a:cubicBezTo>
                  <a:cubicBezTo>
                    <a:pt x="1" y="30"/>
                    <a:pt x="1" y="30"/>
                    <a:pt x="1" y="29"/>
                  </a:cubicBezTo>
                  <a:cubicBezTo>
                    <a:pt x="1" y="29"/>
                    <a:pt x="1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7"/>
                    <a:pt x="3" y="27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3"/>
                    <a:pt x="6" y="23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7" y="22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19"/>
                    <a:pt x="8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8"/>
                    <a:pt x="9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7" y="9"/>
                    <a:pt x="22" y="4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5" name="Freeform 276">
              <a:extLst>
                <a:ext uri="{FF2B5EF4-FFF2-40B4-BE49-F238E27FC236}">
                  <a16:creationId xmlns:a16="http://schemas.microsoft.com/office/drawing/2014/main" id="{6F6BDB30-33FA-4AB4-9259-070E5E1F2B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80613" y="2841051"/>
              <a:ext cx="19050" cy="26988"/>
            </a:xfrm>
            <a:custGeom>
              <a:avLst/>
              <a:gdLst>
                <a:gd name="T0" fmla="*/ 0 w 12"/>
                <a:gd name="T1" fmla="*/ 17 h 17"/>
                <a:gd name="T2" fmla="*/ 0 w 12"/>
                <a:gd name="T3" fmla="*/ 17 h 17"/>
                <a:gd name="T4" fmla="*/ 0 w 12"/>
                <a:gd name="T5" fmla="*/ 17 h 17"/>
                <a:gd name="T6" fmla="*/ 1 w 12"/>
                <a:gd name="T7" fmla="*/ 15 h 17"/>
                <a:gd name="T8" fmla="*/ 1 w 12"/>
                <a:gd name="T9" fmla="*/ 16 h 17"/>
                <a:gd name="T10" fmla="*/ 1 w 12"/>
                <a:gd name="T11" fmla="*/ 15 h 17"/>
                <a:gd name="T12" fmla="*/ 2 w 12"/>
                <a:gd name="T13" fmla="*/ 14 h 17"/>
                <a:gd name="T14" fmla="*/ 1 w 12"/>
                <a:gd name="T15" fmla="*/ 14 h 17"/>
                <a:gd name="T16" fmla="*/ 2 w 12"/>
                <a:gd name="T17" fmla="*/ 14 h 17"/>
                <a:gd name="T18" fmla="*/ 2 w 12"/>
                <a:gd name="T19" fmla="*/ 14 h 17"/>
                <a:gd name="T20" fmla="*/ 2 w 12"/>
                <a:gd name="T21" fmla="*/ 14 h 17"/>
                <a:gd name="T22" fmla="*/ 2 w 12"/>
                <a:gd name="T23" fmla="*/ 14 h 17"/>
                <a:gd name="T24" fmla="*/ 2 w 12"/>
                <a:gd name="T25" fmla="*/ 13 h 17"/>
                <a:gd name="T26" fmla="*/ 2 w 12"/>
                <a:gd name="T27" fmla="*/ 13 h 17"/>
                <a:gd name="T28" fmla="*/ 2 w 12"/>
                <a:gd name="T29" fmla="*/ 13 h 17"/>
                <a:gd name="T30" fmla="*/ 3 w 12"/>
                <a:gd name="T31" fmla="*/ 13 h 17"/>
                <a:gd name="T32" fmla="*/ 2 w 12"/>
                <a:gd name="T33" fmla="*/ 13 h 17"/>
                <a:gd name="T34" fmla="*/ 3 w 12"/>
                <a:gd name="T35" fmla="*/ 13 h 17"/>
                <a:gd name="T36" fmla="*/ 3 w 12"/>
                <a:gd name="T37" fmla="*/ 11 h 17"/>
                <a:gd name="T38" fmla="*/ 3 w 12"/>
                <a:gd name="T39" fmla="*/ 11 h 17"/>
                <a:gd name="T40" fmla="*/ 3 w 12"/>
                <a:gd name="T41" fmla="*/ 11 h 17"/>
                <a:gd name="T42" fmla="*/ 4 w 12"/>
                <a:gd name="T43" fmla="*/ 10 h 17"/>
                <a:gd name="T44" fmla="*/ 4 w 12"/>
                <a:gd name="T45" fmla="*/ 10 h 17"/>
                <a:gd name="T46" fmla="*/ 4 w 12"/>
                <a:gd name="T47" fmla="*/ 10 h 17"/>
                <a:gd name="T48" fmla="*/ 4 w 12"/>
                <a:gd name="T49" fmla="*/ 10 h 17"/>
                <a:gd name="T50" fmla="*/ 4 w 12"/>
                <a:gd name="T51" fmla="*/ 10 h 17"/>
                <a:gd name="T52" fmla="*/ 4 w 12"/>
                <a:gd name="T53" fmla="*/ 10 h 17"/>
                <a:gd name="T54" fmla="*/ 5 w 12"/>
                <a:gd name="T55" fmla="*/ 9 h 17"/>
                <a:gd name="T56" fmla="*/ 5 w 12"/>
                <a:gd name="T57" fmla="*/ 9 h 17"/>
                <a:gd name="T58" fmla="*/ 5 w 12"/>
                <a:gd name="T59" fmla="*/ 9 h 17"/>
                <a:gd name="T60" fmla="*/ 6 w 12"/>
                <a:gd name="T61" fmla="*/ 7 h 17"/>
                <a:gd name="T62" fmla="*/ 6 w 12"/>
                <a:gd name="T63" fmla="*/ 7 h 17"/>
                <a:gd name="T64" fmla="*/ 6 w 12"/>
                <a:gd name="T65" fmla="*/ 7 h 17"/>
                <a:gd name="T66" fmla="*/ 6 w 12"/>
                <a:gd name="T67" fmla="*/ 7 h 17"/>
                <a:gd name="T68" fmla="*/ 6 w 12"/>
                <a:gd name="T69" fmla="*/ 7 h 17"/>
                <a:gd name="T70" fmla="*/ 6 w 12"/>
                <a:gd name="T71" fmla="*/ 7 h 17"/>
                <a:gd name="T72" fmla="*/ 7 w 12"/>
                <a:gd name="T73" fmla="*/ 6 h 17"/>
                <a:gd name="T74" fmla="*/ 7 w 12"/>
                <a:gd name="T75" fmla="*/ 6 h 17"/>
                <a:gd name="T76" fmla="*/ 7 w 12"/>
                <a:gd name="T77" fmla="*/ 6 h 17"/>
                <a:gd name="T78" fmla="*/ 7 w 12"/>
                <a:gd name="T79" fmla="*/ 6 h 17"/>
                <a:gd name="T80" fmla="*/ 7 w 12"/>
                <a:gd name="T81" fmla="*/ 6 h 17"/>
                <a:gd name="T82" fmla="*/ 7 w 12"/>
                <a:gd name="T83" fmla="*/ 6 h 17"/>
                <a:gd name="T84" fmla="*/ 8 w 12"/>
                <a:gd name="T85" fmla="*/ 5 h 17"/>
                <a:gd name="T86" fmla="*/ 8 w 12"/>
                <a:gd name="T87" fmla="*/ 5 h 17"/>
                <a:gd name="T88" fmla="*/ 8 w 12"/>
                <a:gd name="T89" fmla="*/ 5 h 17"/>
                <a:gd name="T90" fmla="*/ 9 w 12"/>
                <a:gd name="T91" fmla="*/ 4 h 17"/>
                <a:gd name="T92" fmla="*/ 9 w 12"/>
                <a:gd name="T93" fmla="*/ 4 h 17"/>
                <a:gd name="T94" fmla="*/ 9 w 12"/>
                <a:gd name="T95" fmla="*/ 4 h 17"/>
                <a:gd name="T96" fmla="*/ 10 w 12"/>
                <a:gd name="T97" fmla="*/ 3 h 17"/>
                <a:gd name="T98" fmla="*/ 10 w 12"/>
                <a:gd name="T99" fmla="*/ 3 h 17"/>
                <a:gd name="T100" fmla="*/ 10 w 12"/>
                <a:gd name="T101" fmla="*/ 3 h 17"/>
                <a:gd name="T102" fmla="*/ 10 w 12"/>
                <a:gd name="T103" fmla="*/ 2 h 17"/>
                <a:gd name="T104" fmla="*/ 10 w 12"/>
                <a:gd name="T105" fmla="*/ 2 h 17"/>
                <a:gd name="T106" fmla="*/ 10 w 12"/>
                <a:gd name="T107" fmla="*/ 2 h 17"/>
                <a:gd name="T108" fmla="*/ 11 w 12"/>
                <a:gd name="T109" fmla="*/ 1 h 17"/>
                <a:gd name="T110" fmla="*/ 11 w 12"/>
                <a:gd name="T111" fmla="*/ 1 h 17"/>
                <a:gd name="T112" fmla="*/ 11 w 12"/>
                <a:gd name="T113" fmla="*/ 1 h 17"/>
                <a:gd name="T114" fmla="*/ 12 w 12"/>
                <a:gd name="T115" fmla="*/ 0 h 17"/>
                <a:gd name="T116" fmla="*/ 12 w 12"/>
                <a:gd name="T117" fmla="*/ 0 h 17"/>
                <a:gd name="T118" fmla="*/ 12 w 12"/>
                <a:gd name="T11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" h="17">
                  <a:moveTo>
                    <a:pt x="0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moveTo>
                    <a:pt x="1" y="15"/>
                  </a:moveTo>
                  <a:cubicBezTo>
                    <a:pt x="1" y="15"/>
                    <a:pt x="1" y="16"/>
                    <a:pt x="1" y="16"/>
                  </a:cubicBezTo>
                  <a:cubicBezTo>
                    <a:pt x="1" y="16"/>
                    <a:pt x="1" y="15"/>
                    <a:pt x="1" y="15"/>
                  </a:cubicBezTo>
                  <a:moveTo>
                    <a:pt x="2" y="14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4"/>
                    <a:pt x="2" y="14"/>
                  </a:cubicBezTo>
                  <a:moveTo>
                    <a:pt x="2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moveTo>
                    <a:pt x="2" y="13"/>
                  </a:move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moveTo>
                    <a:pt x="3" y="13"/>
                  </a:moveTo>
                  <a:cubicBezTo>
                    <a:pt x="3" y="13"/>
                    <a:pt x="2" y="13"/>
                    <a:pt x="2" y="13"/>
                  </a:cubicBezTo>
                  <a:cubicBezTo>
                    <a:pt x="2" y="13"/>
                    <a:pt x="3" y="13"/>
                    <a:pt x="3" y="13"/>
                  </a:cubicBezTo>
                  <a:moveTo>
                    <a:pt x="3" y="11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moveTo>
                    <a:pt x="4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moveTo>
                    <a:pt x="4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moveTo>
                    <a:pt x="6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moveTo>
                    <a:pt x="6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moveTo>
                    <a:pt x="7" y="6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moveTo>
                    <a:pt x="7" y="6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moveTo>
                    <a:pt x="8" y="5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moveTo>
                    <a:pt x="9" y="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moveTo>
                    <a:pt x="10" y="2"/>
                  </a:move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moveTo>
                    <a:pt x="11" y="1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6" name="Freeform 277">
              <a:extLst>
                <a:ext uri="{FF2B5EF4-FFF2-40B4-BE49-F238E27FC236}">
                  <a16:creationId xmlns:a16="http://schemas.microsoft.com/office/drawing/2014/main" id="{A78F6D0C-9040-46D2-8C2A-E4CAA21FC6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9026" y="2793426"/>
              <a:ext cx="46038" cy="400050"/>
            </a:xfrm>
            <a:custGeom>
              <a:avLst/>
              <a:gdLst>
                <a:gd name="T0" fmla="*/ 0 w 29"/>
                <a:gd name="T1" fmla="*/ 229 h 253"/>
                <a:gd name="T2" fmla="*/ 0 w 29"/>
                <a:gd name="T3" fmla="*/ 248 h 253"/>
                <a:gd name="T4" fmla="*/ 9 w 29"/>
                <a:gd name="T5" fmla="*/ 253 h 253"/>
                <a:gd name="T6" fmla="*/ 0 w 29"/>
                <a:gd name="T7" fmla="*/ 229 h 253"/>
                <a:gd name="T8" fmla="*/ 1 w 29"/>
                <a:gd name="T9" fmla="*/ 0 h 253"/>
                <a:gd name="T10" fmla="*/ 1 w 29"/>
                <a:gd name="T11" fmla="*/ 48 h 253"/>
                <a:gd name="T12" fmla="*/ 29 w 29"/>
                <a:gd name="T13" fmla="*/ 16 h 253"/>
                <a:gd name="T14" fmla="*/ 1 w 29"/>
                <a:gd name="T15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53">
                  <a:moveTo>
                    <a:pt x="0" y="229"/>
                  </a:moveTo>
                  <a:cubicBezTo>
                    <a:pt x="0" y="248"/>
                    <a:pt x="0" y="248"/>
                    <a:pt x="0" y="248"/>
                  </a:cubicBezTo>
                  <a:cubicBezTo>
                    <a:pt x="9" y="253"/>
                    <a:pt x="9" y="253"/>
                    <a:pt x="9" y="253"/>
                  </a:cubicBezTo>
                  <a:cubicBezTo>
                    <a:pt x="6" y="245"/>
                    <a:pt x="3" y="237"/>
                    <a:pt x="0" y="229"/>
                  </a:cubicBezTo>
                  <a:moveTo>
                    <a:pt x="1" y="0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8" y="35"/>
                    <a:pt x="18" y="24"/>
                    <a:pt x="29" y="16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7" name="Freeform 278">
              <a:extLst>
                <a:ext uri="{FF2B5EF4-FFF2-40B4-BE49-F238E27FC236}">
                  <a16:creationId xmlns:a16="http://schemas.microsoft.com/office/drawing/2014/main" id="{A16B9AB5-A28B-4259-9BA8-A7D283A1DD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9001" y="2267964"/>
              <a:ext cx="460375" cy="790575"/>
            </a:xfrm>
            <a:custGeom>
              <a:avLst/>
              <a:gdLst>
                <a:gd name="T0" fmla="*/ 1 w 290"/>
                <a:gd name="T1" fmla="*/ 0 h 498"/>
                <a:gd name="T2" fmla="*/ 0 w 290"/>
                <a:gd name="T3" fmla="*/ 332 h 498"/>
                <a:gd name="T4" fmla="*/ 289 w 290"/>
                <a:gd name="T5" fmla="*/ 498 h 498"/>
                <a:gd name="T6" fmla="*/ 290 w 290"/>
                <a:gd name="T7" fmla="*/ 167 h 498"/>
                <a:gd name="T8" fmla="*/ 1 w 290"/>
                <a:gd name="T9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8">
                  <a:moveTo>
                    <a:pt x="1" y="0"/>
                  </a:moveTo>
                  <a:lnTo>
                    <a:pt x="0" y="332"/>
                  </a:lnTo>
                  <a:lnTo>
                    <a:pt x="289" y="498"/>
                  </a:lnTo>
                  <a:lnTo>
                    <a:pt x="290" y="16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70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8" name="Freeform 279">
              <a:extLst>
                <a:ext uri="{FF2B5EF4-FFF2-40B4-BE49-F238E27FC236}">
                  <a16:creationId xmlns:a16="http://schemas.microsoft.com/office/drawing/2014/main" id="{0BFA1C6E-F7FA-49E5-906B-C74A34238B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9001" y="2267964"/>
              <a:ext cx="460375" cy="790575"/>
            </a:xfrm>
            <a:custGeom>
              <a:avLst/>
              <a:gdLst>
                <a:gd name="T0" fmla="*/ 1 w 290"/>
                <a:gd name="T1" fmla="*/ 0 h 498"/>
                <a:gd name="T2" fmla="*/ 0 w 290"/>
                <a:gd name="T3" fmla="*/ 332 h 498"/>
                <a:gd name="T4" fmla="*/ 289 w 290"/>
                <a:gd name="T5" fmla="*/ 498 h 498"/>
                <a:gd name="T6" fmla="*/ 290 w 290"/>
                <a:gd name="T7" fmla="*/ 167 h 498"/>
                <a:gd name="T8" fmla="*/ 1 w 290"/>
                <a:gd name="T9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8">
                  <a:moveTo>
                    <a:pt x="1" y="0"/>
                  </a:moveTo>
                  <a:lnTo>
                    <a:pt x="0" y="332"/>
                  </a:lnTo>
                  <a:lnTo>
                    <a:pt x="289" y="498"/>
                  </a:lnTo>
                  <a:lnTo>
                    <a:pt x="290" y="16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9" name="Freeform 280">
              <a:extLst>
                <a:ext uri="{FF2B5EF4-FFF2-40B4-BE49-F238E27FC236}">
                  <a16:creationId xmlns:a16="http://schemas.microsoft.com/office/drawing/2014/main" id="{523BF669-55E6-42F4-A4C8-DE6F6364DE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29476" y="1767901"/>
              <a:ext cx="1398588" cy="833438"/>
            </a:xfrm>
            <a:custGeom>
              <a:avLst/>
              <a:gdLst>
                <a:gd name="T0" fmla="*/ 18 w 881"/>
                <a:gd name="T1" fmla="*/ 271 h 525"/>
                <a:gd name="T2" fmla="*/ 0 w 881"/>
                <a:gd name="T3" fmla="*/ 260 h 525"/>
                <a:gd name="T4" fmla="*/ 0 w 881"/>
                <a:gd name="T5" fmla="*/ 0 h 525"/>
                <a:gd name="T6" fmla="*/ 881 w 881"/>
                <a:gd name="T7" fmla="*/ 509 h 525"/>
                <a:gd name="T8" fmla="*/ 871 w 881"/>
                <a:gd name="T9" fmla="*/ 525 h 525"/>
                <a:gd name="T10" fmla="*/ 18 w 881"/>
                <a:gd name="T11" fmla="*/ 32 h 525"/>
                <a:gd name="T12" fmla="*/ 18 w 881"/>
                <a:gd name="T13" fmla="*/ 271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1" h="525">
                  <a:moveTo>
                    <a:pt x="18" y="271"/>
                  </a:moveTo>
                  <a:lnTo>
                    <a:pt x="0" y="260"/>
                  </a:lnTo>
                  <a:lnTo>
                    <a:pt x="0" y="0"/>
                  </a:lnTo>
                  <a:lnTo>
                    <a:pt x="881" y="509"/>
                  </a:lnTo>
                  <a:lnTo>
                    <a:pt x="871" y="525"/>
                  </a:lnTo>
                  <a:lnTo>
                    <a:pt x="18" y="32"/>
                  </a:lnTo>
                  <a:lnTo>
                    <a:pt x="18" y="271"/>
                  </a:lnTo>
                  <a:close/>
                </a:path>
              </a:pathLst>
            </a:custGeom>
            <a:solidFill>
              <a:srgbClr val="FF70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0" name="Freeform 281">
              <a:extLst>
                <a:ext uri="{FF2B5EF4-FFF2-40B4-BE49-F238E27FC236}">
                  <a16:creationId xmlns:a16="http://schemas.microsoft.com/office/drawing/2014/main" id="{FD69D661-7F5D-4986-9727-1B302A1FBF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29476" y="1767901"/>
              <a:ext cx="1398588" cy="833438"/>
            </a:xfrm>
            <a:custGeom>
              <a:avLst/>
              <a:gdLst>
                <a:gd name="T0" fmla="*/ 18 w 881"/>
                <a:gd name="T1" fmla="*/ 271 h 525"/>
                <a:gd name="T2" fmla="*/ 0 w 881"/>
                <a:gd name="T3" fmla="*/ 260 h 525"/>
                <a:gd name="T4" fmla="*/ 0 w 881"/>
                <a:gd name="T5" fmla="*/ 0 h 525"/>
                <a:gd name="T6" fmla="*/ 881 w 881"/>
                <a:gd name="T7" fmla="*/ 509 h 525"/>
                <a:gd name="T8" fmla="*/ 871 w 881"/>
                <a:gd name="T9" fmla="*/ 525 h 525"/>
                <a:gd name="T10" fmla="*/ 18 w 881"/>
                <a:gd name="T11" fmla="*/ 32 h 525"/>
                <a:gd name="T12" fmla="*/ 18 w 881"/>
                <a:gd name="T13" fmla="*/ 271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1" h="525">
                  <a:moveTo>
                    <a:pt x="18" y="271"/>
                  </a:moveTo>
                  <a:lnTo>
                    <a:pt x="0" y="260"/>
                  </a:lnTo>
                  <a:lnTo>
                    <a:pt x="0" y="0"/>
                  </a:lnTo>
                  <a:lnTo>
                    <a:pt x="881" y="509"/>
                  </a:lnTo>
                  <a:lnTo>
                    <a:pt x="871" y="525"/>
                  </a:lnTo>
                  <a:lnTo>
                    <a:pt x="18" y="32"/>
                  </a:lnTo>
                  <a:lnTo>
                    <a:pt x="18" y="2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1" name="Freeform 282">
              <a:extLst>
                <a:ext uri="{FF2B5EF4-FFF2-40B4-BE49-F238E27FC236}">
                  <a16:creationId xmlns:a16="http://schemas.microsoft.com/office/drawing/2014/main" id="{004D802F-601D-45E8-A972-E61977C630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2001" y="2131439"/>
              <a:ext cx="128588" cy="376238"/>
            </a:xfrm>
            <a:custGeom>
              <a:avLst/>
              <a:gdLst>
                <a:gd name="T0" fmla="*/ 0 w 81"/>
                <a:gd name="T1" fmla="*/ 0 h 237"/>
                <a:gd name="T2" fmla="*/ 0 w 81"/>
                <a:gd name="T3" fmla="*/ 40 h 237"/>
                <a:gd name="T4" fmla="*/ 35 w 81"/>
                <a:gd name="T5" fmla="*/ 61 h 237"/>
                <a:gd name="T6" fmla="*/ 35 w 81"/>
                <a:gd name="T7" fmla="*/ 210 h 237"/>
                <a:gd name="T8" fmla="*/ 81 w 81"/>
                <a:gd name="T9" fmla="*/ 237 h 237"/>
                <a:gd name="T10" fmla="*/ 81 w 81"/>
                <a:gd name="T11" fmla="*/ 236 h 237"/>
                <a:gd name="T12" fmla="*/ 63 w 81"/>
                <a:gd name="T13" fmla="*/ 225 h 237"/>
                <a:gd name="T14" fmla="*/ 64 w 81"/>
                <a:gd name="T15" fmla="*/ 37 h 237"/>
                <a:gd name="T16" fmla="*/ 0 w 81"/>
                <a:gd name="T17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237">
                  <a:moveTo>
                    <a:pt x="0" y="0"/>
                  </a:moveTo>
                  <a:lnTo>
                    <a:pt x="0" y="40"/>
                  </a:lnTo>
                  <a:lnTo>
                    <a:pt x="35" y="61"/>
                  </a:lnTo>
                  <a:lnTo>
                    <a:pt x="35" y="210"/>
                  </a:lnTo>
                  <a:lnTo>
                    <a:pt x="81" y="237"/>
                  </a:lnTo>
                  <a:lnTo>
                    <a:pt x="81" y="236"/>
                  </a:lnTo>
                  <a:lnTo>
                    <a:pt x="63" y="225"/>
                  </a:lnTo>
                  <a:lnTo>
                    <a:pt x="64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2" name="Freeform 283">
              <a:extLst>
                <a:ext uri="{FF2B5EF4-FFF2-40B4-BE49-F238E27FC236}">
                  <a16:creationId xmlns:a16="http://schemas.microsoft.com/office/drawing/2014/main" id="{500F67A0-17C0-42AB-84B2-49593981FF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2001" y="2131439"/>
              <a:ext cx="128588" cy="376238"/>
            </a:xfrm>
            <a:custGeom>
              <a:avLst/>
              <a:gdLst>
                <a:gd name="T0" fmla="*/ 0 w 81"/>
                <a:gd name="T1" fmla="*/ 0 h 237"/>
                <a:gd name="T2" fmla="*/ 0 w 81"/>
                <a:gd name="T3" fmla="*/ 40 h 237"/>
                <a:gd name="T4" fmla="*/ 35 w 81"/>
                <a:gd name="T5" fmla="*/ 61 h 237"/>
                <a:gd name="T6" fmla="*/ 35 w 81"/>
                <a:gd name="T7" fmla="*/ 210 h 237"/>
                <a:gd name="T8" fmla="*/ 81 w 81"/>
                <a:gd name="T9" fmla="*/ 237 h 237"/>
                <a:gd name="T10" fmla="*/ 81 w 81"/>
                <a:gd name="T11" fmla="*/ 236 h 237"/>
                <a:gd name="T12" fmla="*/ 63 w 81"/>
                <a:gd name="T13" fmla="*/ 225 h 237"/>
                <a:gd name="T14" fmla="*/ 64 w 81"/>
                <a:gd name="T15" fmla="*/ 37 h 237"/>
                <a:gd name="T16" fmla="*/ 0 w 81"/>
                <a:gd name="T17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237">
                  <a:moveTo>
                    <a:pt x="0" y="0"/>
                  </a:moveTo>
                  <a:lnTo>
                    <a:pt x="0" y="40"/>
                  </a:lnTo>
                  <a:lnTo>
                    <a:pt x="35" y="61"/>
                  </a:lnTo>
                  <a:lnTo>
                    <a:pt x="35" y="210"/>
                  </a:lnTo>
                  <a:lnTo>
                    <a:pt x="81" y="237"/>
                  </a:lnTo>
                  <a:lnTo>
                    <a:pt x="81" y="236"/>
                  </a:lnTo>
                  <a:lnTo>
                    <a:pt x="63" y="225"/>
                  </a:lnTo>
                  <a:lnTo>
                    <a:pt x="64" y="3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3" name="Freeform 284">
              <a:extLst>
                <a:ext uri="{FF2B5EF4-FFF2-40B4-BE49-F238E27FC236}">
                  <a16:creationId xmlns:a16="http://schemas.microsoft.com/office/drawing/2014/main" id="{42CD7388-5C8C-4145-8643-3F10D8F674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194939"/>
              <a:ext cx="57150" cy="269875"/>
            </a:xfrm>
            <a:custGeom>
              <a:avLst/>
              <a:gdLst>
                <a:gd name="T0" fmla="*/ 1 w 36"/>
                <a:gd name="T1" fmla="*/ 0 h 170"/>
                <a:gd name="T2" fmla="*/ 0 w 36"/>
                <a:gd name="T3" fmla="*/ 150 h 170"/>
                <a:gd name="T4" fmla="*/ 36 w 36"/>
                <a:gd name="T5" fmla="*/ 170 h 170"/>
                <a:gd name="T6" fmla="*/ 36 w 36"/>
                <a:gd name="T7" fmla="*/ 21 h 170"/>
                <a:gd name="T8" fmla="*/ 1 w 36"/>
                <a:gd name="T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0">
                  <a:moveTo>
                    <a:pt x="1" y="0"/>
                  </a:moveTo>
                  <a:lnTo>
                    <a:pt x="0" y="150"/>
                  </a:lnTo>
                  <a:lnTo>
                    <a:pt x="36" y="170"/>
                  </a:lnTo>
                  <a:lnTo>
                    <a:pt x="36" y="2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2" name="Freeform 285">
              <a:extLst>
                <a:ext uri="{FF2B5EF4-FFF2-40B4-BE49-F238E27FC236}">
                  <a16:creationId xmlns:a16="http://schemas.microsoft.com/office/drawing/2014/main" id="{2E49E70F-C417-47FB-8D61-6BB172E1E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194939"/>
              <a:ext cx="57150" cy="269875"/>
            </a:xfrm>
            <a:custGeom>
              <a:avLst/>
              <a:gdLst>
                <a:gd name="T0" fmla="*/ 1 w 36"/>
                <a:gd name="T1" fmla="*/ 0 h 170"/>
                <a:gd name="T2" fmla="*/ 0 w 36"/>
                <a:gd name="T3" fmla="*/ 150 h 170"/>
                <a:gd name="T4" fmla="*/ 36 w 36"/>
                <a:gd name="T5" fmla="*/ 170 h 170"/>
                <a:gd name="T6" fmla="*/ 36 w 36"/>
                <a:gd name="T7" fmla="*/ 21 h 170"/>
                <a:gd name="T8" fmla="*/ 1 w 36"/>
                <a:gd name="T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0">
                  <a:moveTo>
                    <a:pt x="1" y="0"/>
                  </a:moveTo>
                  <a:lnTo>
                    <a:pt x="0" y="150"/>
                  </a:lnTo>
                  <a:lnTo>
                    <a:pt x="36" y="170"/>
                  </a:lnTo>
                  <a:lnTo>
                    <a:pt x="36" y="21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3" name="Freeform 286">
              <a:extLst>
                <a:ext uri="{FF2B5EF4-FFF2-40B4-BE49-F238E27FC236}">
                  <a16:creationId xmlns:a16="http://schemas.microsoft.com/office/drawing/2014/main" id="{279C1009-E042-45BC-A90E-591A735C29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37563" y="2209226"/>
              <a:ext cx="403225" cy="407988"/>
            </a:xfrm>
            <a:custGeom>
              <a:avLst/>
              <a:gdLst>
                <a:gd name="T0" fmla="*/ 0 w 254"/>
                <a:gd name="T1" fmla="*/ 183 h 257"/>
                <a:gd name="T2" fmla="*/ 0 w 254"/>
                <a:gd name="T3" fmla="*/ 230 h 257"/>
                <a:gd name="T4" fmla="*/ 46 w 254"/>
                <a:gd name="T5" fmla="*/ 257 h 257"/>
                <a:gd name="T6" fmla="*/ 46 w 254"/>
                <a:gd name="T7" fmla="*/ 210 h 257"/>
                <a:gd name="T8" fmla="*/ 0 w 254"/>
                <a:gd name="T9" fmla="*/ 183 h 257"/>
                <a:gd name="T10" fmla="*/ 49 w 254"/>
                <a:gd name="T11" fmla="*/ 0 h 257"/>
                <a:gd name="T12" fmla="*/ 49 w 254"/>
                <a:gd name="T13" fmla="*/ 38 h 257"/>
                <a:gd name="T14" fmla="*/ 254 w 254"/>
                <a:gd name="T15" fmla="*/ 157 h 257"/>
                <a:gd name="T16" fmla="*/ 254 w 254"/>
                <a:gd name="T17" fmla="*/ 118 h 257"/>
                <a:gd name="T18" fmla="*/ 49 w 254"/>
                <a:gd name="T19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257">
                  <a:moveTo>
                    <a:pt x="0" y="183"/>
                  </a:moveTo>
                  <a:lnTo>
                    <a:pt x="0" y="230"/>
                  </a:lnTo>
                  <a:lnTo>
                    <a:pt x="46" y="257"/>
                  </a:lnTo>
                  <a:lnTo>
                    <a:pt x="46" y="210"/>
                  </a:lnTo>
                  <a:lnTo>
                    <a:pt x="0" y="183"/>
                  </a:lnTo>
                  <a:close/>
                  <a:moveTo>
                    <a:pt x="49" y="0"/>
                  </a:moveTo>
                  <a:lnTo>
                    <a:pt x="49" y="38"/>
                  </a:lnTo>
                  <a:lnTo>
                    <a:pt x="254" y="157"/>
                  </a:lnTo>
                  <a:lnTo>
                    <a:pt x="254" y="11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0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4" name="Freeform 287">
              <a:extLst>
                <a:ext uri="{FF2B5EF4-FFF2-40B4-BE49-F238E27FC236}">
                  <a16:creationId xmlns:a16="http://schemas.microsoft.com/office/drawing/2014/main" id="{CDCCDC9B-247A-4588-8516-B177B0C9F6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37563" y="2209226"/>
              <a:ext cx="403225" cy="407988"/>
            </a:xfrm>
            <a:custGeom>
              <a:avLst/>
              <a:gdLst>
                <a:gd name="T0" fmla="*/ 0 w 254"/>
                <a:gd name="T1" fmla="*/ 183 h 257"/>
                <a:gd name="T2" fmla="*/ 0 w 254"/>
                <a:gd name="T3" fmla="*/ 230 h 257"/>
                <a:gd name="T4" fmla="*/ 46 w 254"/>
                <a:gd name="T5" fmla="*/ 257 h 257"/>
                <a:gd name="T6" fmla="*/ 46 w 254"/>
                <a:gd name="T7" fmla="*/ 210 h 257"/>
                <a:gd name="T8" fmla="*/ 0 w 254"/>
                <a:gd name="T9" fmla="*/ 183 h 257"/>
                <a:gd name="T10" fmla="*/ 49 w 254"/>
                <a:gd name="T11" fmla="*/ 0 h 257"/>
                <a:gd name="T12" fmla="*/ 49 w 254"/>
                <a:gd name="T13" fmla="*/ 38 h 257"/>
                <a:gd name="T14" fmla="*/ 254 w 254"/>
                <a:gd name="T15" fmla="*/ 157 h 257"/>
                <a:gd name="T16" fmla="*/ 254 w 254"/>
                <a:gd name="T17" fmla="*/ 118 h 257"/>
                <a:gd name="T18" fmla="*/ 49 w 254"/>
                <a:gd name="T19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257">
                  <a:moveTo>
                    <a:pt x="0" y="183"/>
                  </a:moveTo>
                  <a:lnTo>
                    <a:pt x="0" y="230"/>
                  </a:lnTo>
                  <a:lnTo>
                    <a:pt x="46" y="257"/>
                  </a:lnTo>
                  <a:lnTo>
                    <a:pt x="46" y="210"/>
                  </a:lnTo>
                  <a:lnTo>
                    <a:pt x="0" y="183"/>
                  </a:lnTo>
                  <a:moveTo>
                    <a:pt x="49" y="0"/>
                  </a:moveTo>
                  <a:lnTo>
                    <a:pt x="49" y="38"/>
                  </a:lnTo>
                  <a:lnTo>
                    <a:pt x="254" y="157"/>
                  </a:lnTo>
                  <a:lnTo>
                    <a:pt x="254" y="118"/>
                  </a:lnTo>
                  <a:lnTo>
                    <a:pt x="4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5" name="Freeform 288">
              <a:extLst>
                <a:ext uri="{FF2B5EF4-FFF2-40B4-BE49-F238E27FC236}">
                  <a16:creationId xmlns:a16="http://schemas.microsoft.com/office/drawing/2014/main" id="{6FFF163F-192F-4923-B7BB-3236F68FE9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467989"/>
              <a:ext cx="57150" cy="106363"/>
            </a:xfrm>
            <a:custGeom>
              <a:avLst/>
              <a:gdLst>
                <a:gd name="T0" fmla="*/ 0 w 36"/>
                <a:gd name="T1" fmla="*/ 0 h 67"/>
                <a:gd name="T2" fmla="*/ 0 w 36"/>
                <a:gd name="T3" fmla="*/ 47 h 67"/>
                <a:gd name="T4" fmla="*/ 36 w 36"/>
                <a:gd name="T5" fmla="*/ 67 h 67"/>
                <a:gd name="T6" fmla="*/ 36 w 36"/>
                <a:gd name="T7" fmla="*/ 20 h 67"/>
                <a:gd name="T8" fmla="*/ 0 w 36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67">
                  <a:moveTo>
                    <a:pt x="0" y="0"/>
                  </a:moveTo>
                  <a:lnTo>
                    <a:pt x="0" y="47"/>
                  </a:lnTo>
                  <a:lnTo>
                    <a:pt x="36" y="67"/>
                  </a:lnTo>
                  <a:lnTo>
                    <a:pt x="36" y="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6" name="Freeform 289">
              <a:extLst>
                <a:ext uri="{FF2B5EF4-FFF2-40B4-BE49-F238E27FC236}">
                  <a16:creationId xmlns:a16="http://schemas.microsoft.com/office/drawing/2014/main" id="{556E01EA-E53B-427B-AF17-56442A0B59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467989"/>
              <a:ext cx="57150" cy="106363"/>
            </a:xfrm>
            <a:custGeom>
              <a:avLst/>
              <a:gdLst>
                <a:gd name="T0" fmla="*/ 0 w 36"/>
                <a:gd name="T1" fmla="*/ 0 h 67"/>
                <a:gd name="T2" fmla="*/ 0 w 36"/>
                <a:gd name="T3" fmla="*/ 47 h 67"/>
                <a:gd name="T4" fmla="*/ 36 w 36"/>
                <a:gd name="T5" fmla="*/ 67 h 67"/>
                <a:gd name="T6" fmla="*/ 36 w 36"/>
                <a:gd name="T7" fmla="*/ 20 h 67"/>
                <a:gd name="T8" fmla="*/ 0 w 36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67">
                  <a:moveTo>
                    <a:pt x="0" y="0"/>
                  </a:moveTo>
                  <a:lnTo>
                    <a:pt x="0" y="47"/>
                  </a:lnTo>
                  <a:lnTo>
                    <a:pt x="36" y="67"/>
                  </a:lnTo>
                  <a:lnTo>
                    <a:pt x="36" y="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7" name="Freeform 290">
              <a:extLst>
                <a:ext uri="{FF2B5EF4-FFF2-40B4-BE49-F238E27FC236}">
                  <a16:creationId xmlns:a16="http://schemas.microsoft.com/office/drawing/2014/main" id="{18BA7EEC-316E-4EC6-A87F-04620A3EAF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2001" y="2015551"/>
              <a:ext cx="458788" cy="381000"/>
            </a:xfrm>
            <a:custGeom>
              <a:avLst/>
              <a:gdLst>
                <a:gd name="T0" fmla="*/ 0 w 289"/>
                <a:gd name="T1" fmla="*/ 0 h 240"/>
                <a:gd name="T2" fmla="*/ 0 w 289"/>
                <a:gd name="T3" fmla="*/ 73 h 240"/>
                <a:gd name="T4" fmla="*/ 64 w 289"/>
                <a:gd name="T5" fmla="*/ 110 h 240"/>
                <a:gd name="T6" fmla="*/ 64 w 289"/>
                <a:gd name="T7" fmla="*/ 102 h 240"/>
                <a:gd name="T8" fmla="*/ 84 w 289"/>
                <a:gd name="T9" fmla="*/ 114 h 240"/>
                <a:gd name="T10" fmla="*/ 84 w 289"/>
                <a:gd name="T11" fmla="*/ 122 h 240"/>
                <a:gd name="T12" fmla="*/ 289 w 289"/>
                <a:gd name="T13" fmla="*/ 240 h 240"/>
                <a:gd name="T14" fmla="*/ 289 w 289"/>
                <a:gd name="T15" fmla="*/ 167 h 240"/>
                <a:gd name="T16" fmla="*/ 0 w 289"/>
                <a:gd name="T17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9" h="240">
                  <a:moveTo>
                    <a:pt x="0" y="0"/>
                  </a:moveTo>
                  <a:lnTo>
                    <a:pt x="0" y="73"/>
                  </a:lnTo>
                  <a:lnTo>
                    <a:pt x="64" y="110"/>
                  </a:lnTo>
                  <a:lnTo>
                    <a:pt x="64" y="102"/>
                  </a:lnTo>
                  <a:lnTo>
                    <a:pt x="84" y="114"/>
                  </a:lnTo>
                  <a:lnTo>
                    <a:pt x="84" y="122"/>
                  </a:lnTo>
                  <a:lnTo>
                    <a:pt x="289" y="240"/>
                  </a:lnTo>
                  <a:lnTo>
                    <a:pt x="289" y="1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8" name="Freeform 291">
              <a:extLst>
                <a:ext uri="{FF2B5EF4-FFF2-40B4-BE49-F238E27FC236}">
                  <a16:creationId xmlns:a16="http://schemas.microsoft.com/office/drawing/2014/main" id="{7F62948D-6F32-4821-996D-BEED8C5610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2001" y="2015551"/>
              <a:ext cx="458788" cy="381000"/>
            </a:xfrm>
            <a:custGeom>
              <a:avLst/>
              <a:gdLst>
                <a:gd name="T0" fmla="*/ 0 w 289"/>
                <a:gd name="T1" fmla="*/ 0 h 240"/>
                <a:gd name="T2" fmla="*/ 0 w 289"/>
                <a:gd name="T3" fmla="*/ 73 h 240"/>
                <a:gd name="T4" fmla="*/ 64 w 289"/>
                <a:gd name="T5" fmla="*/ 110 h 240"/>
                <a:gd name="T6" fmla="*/ 64 w 289"/>
                <a:gd name="T7" fmla="*/ 102 h 240"/>
                <a:gd name="T8" fmla="*/ 84 w 289"/>
                <a:gd name="T9" fmla="*/ 114 h 240"/>
                <a:gd name="T10" fmla="*/ 84 w 289"/>
                <a:gd name="T11" fmla="*/ 122 h 240"/>
                <a:gd name="T12" fmla="*/ 289 w 289"/>
                <a:gd name="T13" fmla="*/ 240 h 240"/>
                <a:gd name="T14" fmla="*/ 289 w 289"/>
                <a:gd name="T15" fmla="*/ 167 h 240"/>
                <a:gd name="T16" fmla="*/ 0 w 289"/>
                <a:gd name="T17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9" h="240">
                  <a:moveTo>
                    <a:pt x="0" y="0"/>
                  </a:moveTo>
                  <a:lnTo>
                    <a:pt x="0" y="73"/>
                  </a:lnTo>
                  <a:lnTo>
                    <a:pt x="64" y="110"/>
                  </a:lnTo>
                  <a:lnTo>
                    <a:pt x="64" y="102"/>
                  </a:lnTo>
                  <a:lnTo>
                    <a:pt x="84" y="114"/>
                  </a:lnTo>
                  <a:lnTo>
                    <a:pt x="84" y="122"/>
                  </a:lnTo>
                  <a:lnTo>
                    <a:pt x="289" y="240"/>
                  </a:lnTo>
                  <a:lnTo>
                    <a:pt x="289" y="16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9" name="Freeform 292">
              <a:extLst>
                <a:ext uri="{FF2B5EF4-FFF2-40B4-BE49-F238E27FC236}">
                  <a16:creationId xmlns:a16="http://schemas.microsoft.com/office/drawing/2014/main" id="{4657D0FE-6DDE-4302-A3C4-5666A9D2DB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10588" y="2269551"/>
              <a:ext cx="330200" cy="538163"/>
            </a:xfrm>
            <a:custGeom>
              <a:avLst/>
              <a:gdLst>
                <a:gd name="T0" fmla="*/ 136 w 208"/>
                <a:gd name="T1" fmla="*/ 227 h 339"/>
                <a:gd name="T2" fmla="*/ 116 w 208"/>
                <a:gd name="T3" fmla="*/ 216 h 339"/>
                <a:gd name="T4" fmla="*/ 116 w 208"/>
                <a:gd name="T5" fmla="*/ 175 h 339"/>
                <a:gd name="T6" fmla="*/ 136 w 208"/>
                <a:gd name="T7" fmla="*/ 187 h 339"/>
                <a:gd name="T8" fmla="*/ 136 w 208"/>
                <a:gd name="T9" fmla="*/ 227 h 339"/>
                <a:gd name="T10" fmla="*/ 103 w 208"/>
                <a:gd name="T11" fmla="*/ 208 h 339"/>
                <a:gd name="T12" fmla="*/ 83 w 208"/>
                <a:gd name="T13" fmla="*/ 196 h 339"/>
                <a:gd name="T14" fmla="*/ 83 w 208"/>
                <a:gd name="T15" fmla="*/ 122 h 339"/>
                <a:gd name="T16" fmla="*/ 103 w 208"/>
                <a:gd name="T17" fmla="*/ 133 h 339"/>
                <a:gd name="T18" fmla="*/ 103 w 208"/>
                <a:gd name="T19" fmla="*/ 208 h 339"/>
                <a:gd name="T20" fmla="*/ 69 w 208"/>
                <a:gd name="T21" fmla="*/ 189 h 339"/>
                <a:gd name="T22" fmla="*/ 49 w 208"/>
                <a:gd name="T23" fmla="*/ 177 h 339"/>
                <a:gd name="T24" fmla="*/ 49 w 208"/>
                <a:gd name="T25" fmla="*/ 69 h 339"/>
                <a:gd name="T26" fmla="*/ 69 w 208"/>
                <a:gd name="T27" fmla="*/ 80 h 339"/>
                <a:gd name="T28" fmla="*/ 69 w 208"/>
                <a:gd name="T29" fmla="*/ 189 h 339"/>
                <a:gd name="T30" fmla="*/ 36 w 208"/>
                <a:gd name="T31" fmla="*/ 169 h 339"/>
                <a:gd name="T32" fmla="*/ 16 w 208"/>
                <a:gd name="T33" fmla="*/ 158 h 339"/>
                <a:gd name="T34" fmla="*/ 16 w 208"/>
                <a:gd name="T35" fmla="*/ 15 h 339"/>
                <a:gd name="T36" fmla="*/ 36 w 208"/>
                <a:gd name="T37" fmla="*/ 27 h 339"/>
                <a:gd name="T38" fmla="*/ 36 w 208"/>
                <a:gd name="T39" fmla="*/ 169 h 339"/>
                <a:gd name="T40" fmla="*/ 3 w 208"/>
                <a:gd name="T41" fmla="*/ 0 h 339"/>
                <a:gd name="T42" fmla="*/ 2 w 208"/>
                <a:gd name="T43" fmla="*/ 150 h 339"/>
                <a:gd name="T44" fmla="*/ 0 w 208"/>
                <a:gd name="T45" fmla="*/ 149 h 339"/>
                <a:gd name="T46" fmla="*/ 0 w 208"/>
                <a:gd name="T47" fmla="*/ 150 h 339"/>
                <a:gd name="T48" fmla="*/ 74 w 208"/>
                <a:gd name="T49" fmla="*/ 193 h 339"/>
                <a:gd name="T50" fmla="*/ 64 w 208"/>
                <a:gd name="T51" fmla="*/ 209 h 339"/>
                <a:gd name="T52" fmla="*/ 0 w 208"/>
                <a:gd name="T53" fmla="*/ 172 h 339"/>
                <a:gd name="T54" fmla="*/ 0 w 208"/>
                <a:gd name="T55" fmla="*/ 219 h 339"/>
                <a:gd name="T56" fmla="*/ 207 w 208"/>
                <a:gd name="T57" fmla="*/ 339 h 339"/>
                <a:gd name="T58" fmla="*/ 208 w 208"/>
                <a:gd name="T59" fmla="*/ 119 h 339"/>
                <a:gd name="T60" fmla="*/ 3 w 208"/>
                <a:gd name="T61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8" h="339">
                  <a:moveTo>
                    <a:pt x="136" y="227"/>
                  </a:moveTo>
                  <a:lnTo>
                    <a:pt x="116" y="216"/>
                  </a:lnTo>
                  <a:lnTo>
                    <a:pt x="116" y="175"/>
                  </a:lnTo>
                  <a:lnTo>
                    <a:pt x="136" y="187"/>
                  </a:lnTo>
                  <a:lnTo>
                    <a:pt x="136" y="227"/>
                  </a:lnTo>
                  <a:close/>
                  <a:moveTo>
                    <a:pt x="103" y="208"/>
                  </a:moveTo>
                  <a:lnTo>
                    <a:pt x="83" y="196"/>
                  </a:lnTo>
                  <a:lnTo>
                    <a:pt x="83" y="122"/>
                  </a:lnTo>
                  <a:lnTo>
                    <a:pt x="103" y="133"/>
                  </a:lnTo>
                  <a:lnTo>
                    <a:pt x="103" y="208"/>
                  </a:lnTo>
                  <a:close/>
                  <a:moveTo>
                    <a:pt x="69" y="189"/>
                  </a:moveTo>
                  <a:lnTo>
                    <a:pt x="49" y="177"/>
                  </a:lnTo>
                  <a:lnTo>
                    <a:pt x="49" y="69"/>
                  </a:lnTo>
                  <a:lnTo>
                    <a:pt x="69" y="80"/>
                  </a:lnTo>
                  <a:lnTo>
                    <a:pt x="69" y="189"/>
                  </a:lnTo>
                  <a:close/>
                  <a:moveTo>
                    <a:pt x="36" y="169"/>
                  </a:moveTo>
                  <a:lnTo>
                    <a:pt x="16" y="158"/>
                  </a:lnTo>
                  <a:lnTo>
                    <a:pt x="16" y="15"/>
                  </a:lnTo>
                  <a:lnTo>
                    <a:pt x="36" y="27"/>
                  </a:lnTo>
                  <a:lnTo>
                    <a:pt x="36" y="169"/>
                  </a:lnTo>
                  <a:close/>
                  <a:moveTo>
                    <a:pt x="3" y="0"/>
                  </a:moveTo>
                  <a:lnTo>
                    <a:pt x="2" y="150"/>
                  </a:lnTo>
                  <a:lnTo>
                    <a:pt x="0" y="149"/>
                  </a:lnTo>
                  <a:lnTo>
                    <a:pt x="0" y="150"/>
                  </a:lnTo>
                  <a:lnTo>
                    <a:pt x="74" y="193"/>
                  </a:lnTo>
                  <a:lnTo>
                    <a:pt x="64" y="209"/>
                  </a:lnTo>
                  <a:lnTo>
                    <a:pt x="0" y="172"/>
                  </a:lnTo>
                  <a:lnTo>
                    <a:pt x="0" y="219"/>
                  </a:lnTo>
                  <a:lnTo>
                    <a:pt x="207" y="339"/>
                  </a:lnTo>
                  <a:lnTo>
                    <a:pt x="208" y="11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4DD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0" name="Freeform 293">
              <a:extLst>
                <a:ext uri="{FF2B5EF4-FFF2-40B4-BE49-F238E27FC236}">
                  <a16:creationId xmlns:a16="http://schemas.microsoft.com/office/drawing/2014/main" id="{1F3011DF-9E78-49FA-90BC-DF768D7C63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10588" y="2269551"/>
              <a:ext cx="330200" cy="538163"/>
            </a:xfrm>
            <a:custGeom>
              <a:avLst/>
              <a:gdLst>
                <a:gd name="T0" fmla="*/ 136 w 208"/>
                <a:gd name="T1" fmla="*/ 227 h 339"/>
                <a:gd name="T2" fmla="*/ 116 w 208"/>
                <a:gd name="T3" fmla="*/ 216 h 339"/>
                <a:gd name="T4" fmla="*/ 116 w 208"/>
                <a:gd name="T5" fmla="*/ 175 h 339"/>
                <a:gd name="T6" fmla="*/ 136 w 208"/>
                <a:gd name="T7" fmla="*/ 187 h 339"/>
                <a:gd name="T8" fmla="*/ 136 w 208"/>
                <a:gd name="T9" fmla="*/ 227 h 339"/>
                <a:gd name="T10" fmla="*/ 103 w 208"/>
                <a:gd name="T11" fmla="*/ 208 h 339"/>
                <a:gd name="T12" fmla="*/ 83 w 208"/>
                <a:gd name="T13" fmla="*/ 196 h 339"/>
                <a:gd name="T14" fmla="*/ 83 w 208"/>
                <a:gd name="T15" fmla="*/ 122 h 339"/>
                <a:gd name="T16" fmla="*/ 103 w 208"/>
                <a:gd name="T17" fmla="*/ 133 h 339"/>
                <a:gd name="T18" fmla="*/ 103 w 208"/>
                <a:gd name="T19" fmla="*/ 208 h 339"/>
                <a:gd name="T20" fmla="*/ 69 w 208"/>
                <a:gd name="T21" fmla="*/ 189 h 339"/>
                <a:gd name="T22" fmla="*/ 49 w 208"/>
                <a:gd name="T23" fmla="*/ 177 h 339"/>
                <a:gd name="T24" fmla="*/ 49 w 208"/>
                <a:gd name="T25" fmla="*/ 69 h 339"/>
                <a:gd name="T26" fmla="*/ 69 w 208"/>
                <a:gd name="T27" fmla="*/ 80 h 339"/>
                <a:gd name="T28" fmla="*/ 69 w 208"/>
                <a:gd name="T29" fmla="*/ 189 h 339"/>
                <a:gd name="T30" fmla="*/ 36 w 208"/>
                <a:gd name="T31" fmla="*/ 169 h 339"/>
                <a:gd name="T32" fmla="*/ 16 w 208"/>
                <a:gd name="T33" fmla="*/ 158 h 339"/>
                <a:gd name="T34" fmla="*/ 16 w 208"/>
                <a:gd name="T35" fmla="*/ 15 h 339"/>
                <a:gd name="T36" fmla="*/ 36 w 208"/>
                <a:gd name="T37" fmla="*/ 27 h 339"/>
                <a:gd name="T38" fmla="*/ 36 w 208"/>
                <a:gd name="T39" fmla="*/ 169 h 339"/>
                <a:gd name="T40" fmla="*/ 3 w 208"/>
                <a:gd name="T41" fmla="*/ 0 h 339"/>
                <a:gd name="T42" fmla="*/ 2 w 208"/>
                <a:gd name="T43" fmla="*/ 150 h 339"/>
                <a:gd name="T44" fmla="*/ 0 w 208"/>
                <a:gd name="T45" fmla="*/ 149 h 339"/>
                <a:gd name="T46" fmla="*/ 0 w 208"/>
                <a:gd name="T47" fmla="*/ 150 h 339"/>
                <a:gd name="T48" fmla="*/ 74 w 208"/>
                <a:gd name="T49" fmla="*/ 193 h 339"/>
                <a:gd name="T50" fmla="*/ 64 w 208"/>
                <a:gd name="T51" fmla="*/ 209 h 339"/>
                <a:gd name="T52" fmla="*/ 0 w 208"/>
                <a:gd name="T53" fmla="*/ 172 h 339"/>
                <a:gd name="T54" fmla="*/ 0 w 208"/>
                <a:gd name="T55" fmla="*/ 219 h 339"/>
                <a:gd name="T56" fmla="*/ 207 w 208"/>
                <a:gd name="T57" fmla="*/ 339 h 339"/>
                <a:gd name="T58" fmla="*/ 208 w 208"/>
                <a:gd name="T59" fmla="*/ 119 h 339"/>
                <a:gd name="T60" fmla="*/ 3 w 208"/>
                <a:gd name="T61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8" h="339">
                  <a:moveTo>
                    <a:pt x="136" y="227"/>
                  </a:moveTo>
                  <a:lnTo>
                    <a:pt x="116" y="216"/>
                  </a:lnTo>
                  <a:lnTo>
                    <a:pt x="116" y="175"/>
                  </a:lnTo>
                  <a:lnTo>
                    <a:pt x="136" y="187"/>
                  </a:lnTo>
                  <a:lnTo>
                    <a:pt x="136" y="227"/>
                  </a:lnTo>
                  <a:moveTo>
                    <a:pt x="103" y="208"/>
                  </a:moveTo>
                  <a:lnTo>
                    <a:pt x="83" y="196"/>
                  </a:lnTo>
                  <a:lnTo>
                    <a:pt x="83" y="122"/>
                  </a:lnTo>
                  <a:lnTo>
                    <a:pt x="103" y="133"/>
                  </a:lnTo>
                  <a:lnTo>
                    <a:pt x="103" y="208"/>
                  </a:lnTo>
                  <a:moveTo>
                    <a:pt x="69" y="189"/>
                  </a:moveTo>
                  <a:lnTo>
                    <a:pt x="49" y="177"/>
                  </a:lnTo>
                  <a:lnTo>
                    <a:pt x="49" y="69"/>
                  </a:lnTo>
                  <a:lnTo>
                    <a:pt x="69" y="80"/>
                  </a:lnTo>
                  <a:lnTo>
                    <a:pt x="69" y="189"/>
                  </a:lnTo>
                  <a:moveTo>
                    <a:pt x="36" y="169"/>
                  </a:moveTo>
                  <a:lnTo>
                    <a:pt x="16" y="158"/>
                  </a:lnTo>
                  <a:lnTo>
                    <a:pt x="16" y="15"/>
                  </a:lnTo>
                  <a:lnTo>
                    <a:pt x="36" y="27"/>
                  </a:lnTo>
                  <a:lnTo>
                    <a:pt x="36" y="169"/>
                  </a:lnTo>
                  <a:moveTo>
                    <a:pt x="3" y="0"/>
                  </a:moveTo>
                  <a:lnTo>
                    <a:pt x="2" y="150"/>
                  </a:lnTo>
                  <a:lnTo>
                    <a:pt x="0" y="149"/>
                  </a:lnTo>
                  <a:lnTo>
                    <a:pt x="0" y="150"/>
                  </a:lnTo>
                  <a:lnTo>
                    <a:pt x="74" y="193"/>
                  </a:lnTo>
                  <a:lnTo>
                    <a:pt x="64" y="209"/>
                  </a:lnTo>
                  <a:lnTo>
                    <a:pt x="0" y="172"/>
                  </a:lnTo>
                  <a:lnTo>
                    <a:pt x="0" y="219"/>
                  </a:lnTo>
                  <a:lnTo>
                    <a:pt x="207" y="339"/>
                  </a:lnTo>
                  <a:lnTo>
                    <a:pt x="208" y="119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1" name="Freeform 294">
              <a:extLst>
                <a:ext uri="{FF2B5EF4-FFF2-40B4-BE49-F238E27FC236}">
                  <a16:creationId xmlns:a16="http://schemas.microsoft.com/office/drawing/2014/main" id="{43031634-97BF-40AB-B772-2AF0FD300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433064"/>
              <a:ext cx="247650" cy="168275"/>
            </a:xfrm>
            <a:custGeom>
              <a:avLst/>
              <a:gdLst>
                <a:gd name="T0" fmla="*/ 0 w 156"/>
                <a:gd name="T1" fmla="*/ 0 h 106"/>
                <a:gd name="T2" fmla="*/ 0 w 156"/>
                <a:gd name="T3" fmla="*/ 22 h 106"/>
                <a:gd name="T4" fmla="*/ 36 w 156"/>
                <a:gd name="T5" fmla="*/ 42 h 106"/>
                <a:gd name="T6" fmla="*/ 82 w 156"/>
                <a:gd name="T7" fmla="*/ 69 h 106"/>
                <a:gd name="T8" fmla="*/ 146 w 156"/>
                <a:gd name="T9" fmla="*/ 106 h 106"/>
                <a:gd name="T10" fmla="*/ 156 w 156"/>
                <a:gd name="T11" fmla="*/ 90 h 106"/>
                <a:gd name="T12" fmla="*/ 82 w 156"/>
                <a:gd name="T13" fmla="*/ 47 h 106"/>
                <a:gd name="T14" fmla="*/ 36 w 156"/>
                <a:gd name="T15" fmla="*/ 20 h 106"/>
                <a:gd name="T16" fmla="*/ 0 w 156"/>
                <a:gd name="T1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106">
                  <a:moveTo>
                    <a:pt x="0" y="0"/>
                  </a:moveTo>
                  <a:lnTo>
                    <a:pt x="0" y="22"/>
                  </a:lnTo>
                  <a:lnTo>
                    <a:pt x="36" y="42"/>
                  </a:lnTo>
                  <a:lnTo>
                    <a:pt x="82" y="69"/>
                  </a:lnTo>
                  <a:lnTo>
                    <a:pt x="146" y="106"/>
                  </a:lnTo>
                  <a:lnTo>
                    <a:pt x="156" y="90"/>
                  </a:lnTo>
                  <a:lnTo>
                    <a:pt x="82" y="47"/>
                  </a:lnTo>
                  <a:lnTo>
                    <a:pt x="36" y="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DD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2" name="Freeform 295">
              <a:extLst>
                <a:ext uri="{FF2B5EF4-FFF2-40B4-BE49-F238E27FC236}">
                  <a16:creationId xmlns:a16="http://schemas.microsoft.com/office/drawing/2014/main" id="{D4C6DCB0-1F04-45C5-B7B0-AB1279E91C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433064"/>
              <a:ext cx="247650" cy="168275"/>
            </a:xfrm>
            <a:custGeom>
              <a:avLst/>
              <a:gdLst>
                <a:gd name="T0" fmla="*/ 0 w 156"/>
                <a:gd name="T1" fmla="*/ 0 h 106"/>
                <a:gd name="T2" fmla="*/ 0 w 156"/>
                <a:gd name="T3" fmla="*/ 22 h 106"/>
                <a:gd name="T4" fmla="*/ 36 w 156"/>
                <a:gd name="T5" fmla="*/ 42 h 106"/>
                <a:gd name="T6" fmla="*/ 82 w 156"/>
                <a:gd name="T7" fmla="*/ 69 h 106"/>
                <a:gd name="T8" fmla="*/ 146 w 156"/>
                <a:gd name="T9" fmla="*/ 106 h 106"/>
                <a:gd name="T10" fmla="*/ 156 w 156"/>
                <a:gd name="T11" fmla="*/ 90 h 106"/>
                <a:gd name="T12" fmla="*/ 82 w 156"/>
                <a:gd name="T13" fmla="*/ 47 h 106"/>
                <a:gd name="T14" fmla="*/ 36 w 156"/>
                <a:gd name="T15" fmla="*/ 20 h 106"/>
                <a:gd name="T16" fmla="*/ 0 w 156"/>
                <a:gd name="T1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106">
                  <a:moveTo>
                    <a:pt x="0" y="0"/>
                  </a:moveTo>
                  <a:lnTo>
                    <a:pt x="0" y="22"/>
                  </a:lnTo>
                  <a:lnTo>
                    <a:pt x="36" y="42"/>
                  </a:lnTo>
                  <a:lnTo>
                    <a:pt x="82" y="69"/>
                  </a:lnTo>
                  <a:lnTo>
                    <a:pt x="146" y="106"/>
                  </a:lnTo>
                  <a:lnTo>
                    <a:pt x="156" y="90"/>
                  </a:lnTo>
                  <a:lnTo>
                    <a:pt x="82" y="47"/>
                  </a:lnTo>
                  <a:lnTo>
                    <a:pt x="36" y="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3" name="Freeform 296">
              <a:extLst>
                <a:ext uri="{FF2B5EF4-FFF2-40B4-BE49-F238E27FC236}">
                  <a16:creationId xmlns:a16="http://schemas.microsoft.com/office/drawing/2014/main" id="{7E08BB54-3F66-4061-B492-AB6B1FB55F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2547364"/>
              <a:ext cx="31750" cy="82550"/>
            </a:xfrm>
            <a:custGeom>
              <a:avLst/>
              <a:gdLst>
                <a:gd name="T0" fmla="*/ 0 w 20"/>
                <a:gd name="T1" fmla="*/ 0 h 52"/>
                <a:gd name="T2" fmla="*/ 0 w 20"/>
                <a:gd name="T3" fmla="*/ 41 h 52"/>
                <a:gd name="T4" fmla="*/ 20 w 20"/>
                <a:gd name="T5" fmla="*/ 52 h 52"/>
                <a:gd name="T6" fmla="*/ 20 w 20"/>
                <a:gd name="T7" fmla="*/ 12 h 52"/>
                <a:gd name="T8" fmla="*/ 0 w 20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2">
                  <a:moveTo>
                    <a:pt x="0" y="0"/>
                  </a:moveTo>
                  <a:lnTo>
                    <a:pt x="0" y="41"/>
                  </a:lnTo>
                  <a:lnTo>
                    <a:pt x="20" y="52"/>
                  </a:lnTo>
                  <a:lnTo>
                    <a:pt x="2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98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4" name="Freeform 297">
              <a:extLst>
                <a:ext uri="{FF2B5EF4-FFF2-40B4-BE49-F238E27FC236}">
                  <a16:creationId xmlns:a16="http://schemas.microsoft.com/office/drawing/2014/main" id="{3C1B2D37-CA26-45F6-B08A-B0480E65C7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2547364"/>
              <a:ext cx="31750" cy="82550"/>
            </a:xfrm>
            <a:custGeom>
              <a:avLst/>
              <a:gdLst>
                <a:gd name="T0" fmla="*/ 0 w 20"/>
                <a:gd name="T1" fmla="*/ 0 h 52"/>
                <a:gd name="T2" fmla="*/ 0 w 20"/>
                <a:gd name="T3" fmla="*/ 41 h 52"/>
                <a:gd name="T4" fmla="*/ 20 w 20"/>
                <a:gd name="T5" fmla="*/ 52 h 52"/>
                <a:gd name="T6" fmla="*/ 20 w 20"/>
                <a:gd name="T7" fmla="*/ 12 h 52"/>
                <a:gd name="T8" fmla="*/ 0 w 20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2">
                  <a:moveTo>
                    <a:pt x="0" y="0"/>
                  </a:moveTo>
                  <a:lnTo>
                    <a:pt x="0" y="41"/>
                  </a:lnTo>
                  <a:lnTo>
                    <a:pt x="20" y="52"/>
                  </a:lnTo>
                  <a:lnTo>
                    <a:pt x="20" y="1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5" name="Freeform 298">
              <a:extLst>
                <a:ext uri="{FF2B5EF4-FFF2-40B4-BE49-F238E27FC236}">
                  <a16:creationId xmlns:a16="http://schemas.microsoft.com/office/drawing/2014/main" id="{47251B9C-A357-4DFF-BB0C-EBA37A91E4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42351" y="2463226"/>
              <a:ext cx="31750" cy="136525"/>
            </a:xfrm>
            <a:custGeom>
              <a:avLst/>
              <a:gdLst>
                <a:gd name="T0" fmla="*/ 0 w 20"/>
                <a:gd name="T1" fmla="*/ 0 h 86"/>
                <a:gd name="T2" fmla="*/ 0 w 20"/>
                <a:gd name="T3" fmla="*/ 74 h 86"/>
                <a:gd name="T4" fmla="*/ 20 w 20"/>
                <a:gd name="T5" fmla="*/ 86 h 86"/>
                <a:gd name="T6" fmla="*/ 20 w 20"/>
                <a:gd name="T7" fmla="*/ 11 h 86"/>
                <a:gd name="T8" fmla="*/ 0 w 20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6">
                  <a:moveTo>
                    <a:pt x="0" y="0"/>
                  </a:moveTo>
                  <a:lnTo>
                    <a:pt x="0" y="74"/>
                  </a:lnTo>
                  <a:lnTo>
                    <a:pt x="20" y="86"/>
                  </a:lnTo>
                  <a:lnTo>
                    <a:pt x="2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98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6" name="Freeform 299">
              <a:extLst>
                <a:ext uri="{FF2B5EF4-FFF2-40B4-BE49-F238E27FC236}">
                  <a16:creationId xmlns:a16="http://schemas.microsoft.com/office/drawing/2014/main" id="{57EAC8E5-8684-4E3D-8AA2-DF32CD395C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42351" y="2463226"/>
              <a:ext cx="31750" cy="136525"/>
            </a:xfrm>
            <a:custGeom>
              <a:avLst/>
              <a:gdLst>
                <a:gd name="T0" fmla="*/ 0 w 20"/>
                <a:gd name="T1" fmla="*/ 0 h 86"/>
                <a:gd name="T2" fmla="*/ 0 w 20"/>
                <a:gd name="T3" fmla="*/ 74 h 86"/>
                <a:gd name="T4" fmla="*/ 20 w 20"/>
                <a:gd name="T5" fmla="*/ 86 h 86"/>
                <a:gd name="T6" fmla="*/ 20 w 20"/>
                <a:gd name="T7" fmla="*/ 11 h 86"/>
                <a:gd name="T8" fmla="*/ 0 w 20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6">
                  <a:moveTo>
                    <a:pt x="0" y="0"/>
                  </a:moveTo>
                  <a:lnTo>
                    <a:pt x="0" y="74"/>
                  </a:lnTo>
                  <a:lnTo>
                    <a:pt x="20" y="86"/>
                  </a:lnTo>
                  <a:lnTo>
                    <a:pt x="20" y="1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7" name="Freeform 300">
              <a:extLst>
                <a:ext uri="{FF2B5EF4-FFF2-40B4-BE49-F238E27FC236}">
                  <a16:creationId xmlns:a16="http://schemas.microsoft.com/office/drawing/2014/main" id="{E8C81CC0-7AC2-4845-B43C-96D429F81A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88376" y="2379089"/>
              <a:ext cx="31750" cy="190500"/>
            </a:xfrm>
            <a:custGeom>
              <a:avLst/>
              <a:gdLst>
                <a:gd name="T0" fmla="*/ 0 w 20"/>
                <a:gd name="T1" fmla="*/ 0 h 120"/>
                <a:gd name="T2" fmla="*/ 0 w 20"/>
                <a:gd name="T3" fmla="*/ 108 h 120"/>
                <a:gd name="T4" fmla="*/ 20 w 20"/>
                <a:gd name="T5" fmla="*/ 120 h 120"/>
                <a:gd name="T6" fmla="*/ 20 w 20"/>
                <a:gd name="T7" fmla="*/ 11 h 120"/>
                <a:gd name="T8" fmla="*/ 0 w 20"/>
                <a:gd name="T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20">
                  <a:moveTo>
                    <a:pt x="0" y="0"/>
                  </a:moveTo>
                  <a:lnTo>
                    <a:pt x="0" y="108"/>
                  </a:lnTo>
                  <a:lnTo>
                    <a:pt x="20" y="120"/>
                  </a:lnTo>
                  <a:lnTo>
                    <a:pt x="2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98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8" name="Freeform 301">
              <a:extLst>
                <a:ext uri="{FF2B5EF4-FFF2-40B4-BE49-F238E27FC236}">
                  <a16:creationId xmlns:a16="http://schemas.microsoft.com/office/drawing/2014/main" id="{344D4D97-2B1B-4391-A1ED-601FCEF338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88376" y="2379089"/>
              <a:ext cx="31750" cy="190500"/>
            </a:xfrm>
            <a:custGeom>
              <a:avLst/>
              <a:gdLst>
                <a:gd name="T0" fmla="*/ 0 w 20"/>
                <a:gd name="T1" fmla="*/ 0 h 120"/>
                <a:gd name="T2" fmla="*/ 0 w 20"/>
                <a:gd name="T3" fmla="*/ 108 h 120"/>
                <a:gd name="T4" fmla="*/ 20 w 20"/>
                <a:gd name="T5" fmla="*/ 120 h 120"/>
                <a:gd name="T6" fmla="*/ 20 w 20"/>
                <a:gd name="T7" fmla="*/ 11 h 120"/>
                <a:gd name="T8" fmla="*/ 0 w 20"/>
                <a:gd name="T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20">
                  <a:moveTo>
                    <a:pt x="0" y="0"/>
                  </a:moveTo>
                  <a:lnTo>
                    <a:pt x="0" y="108"/>
                  </a:lnTo>
                  <a:lnTo>
                    <a:pt x="20" y="120"/>
                  </a:lnTo>
                  <a:lnTo>
                    <a:pt x="20" y="1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" name="Freeform 302">
              <a:extLst>
                <a:ext uri="{FF2B5EF4-FFF2-40B4-BE49-F238E27FC236}">
                  <a16:creationId xmlns:a16="http://schemas.microsoft.com/office/drawing/2014/main" id="{41037EDB-2A94-478A-A4A3-47ED17A41F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5988" y="2293364"/>
              <a:ext cx="31750" cy="244475"/>
            </a:xfrm>
            <a:custGeom>
              <a:avLst/>
              <a:gdLst>
                <a:gd name="T0" fmla="*/ 0 w 20"/>
                <a:gd name="T1" fmla="*/ 0 h 154"/>
                <a:gd name="T2" fmla="*/ 0 w 20"/>
                <a:gd name="T3" fmla="*/ 143 h 154"/>
                <a:gd name="T4" fmla="*/ 20 w 20"/>
                <a:gd name="T5" fmla="*/ 154 h 154"/>
                <a:gd name="T6" fmla="*/ 20 w 20"/>
                <a:gd name="T7" fmla="*/ 12 h 154"/>
                <a:gd name="T8" fmla="*/ 0 w 20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54">
                  <a:moveTo>
                    <a:pt x="0" y="0"/>
                  </a:moveTo>
                  <a:lnTo>
                    <a:pt x="0" y="143"/>
                  </a:lnTo>
                  <a:lnTo>
                    <a:pt x="20" y="154"/>
                  </a:lnTo>
                  <a:lnTo>
                    <a:pt x="2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98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" name="Freeform 303">
              <a:extLst>
                <a:ext uri="{FF2B5EF4-FFF2-40B4-BE49-F238E27FC236}">
                  <a16:creationId xmlns:a16="http://schemas.microsoft.com/office/drawing/2014/main" id="{D391F835-10F0-4CD0-B762-7CF8028FE9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5988" y="2293364"/>
              <a:ext cx="31750" cy="244475"/>
            </a:xfrm>
            <a:custGeom>
              <a:avLst/>
              <a:gdLst>
                <a:gd name="T0" fmla="*/ 0 w 20"/>
                <a:gd name="T1" fmla="*/ 0 h 154"/>
                <a:gd name="T2" fmla="*/ 0 w 20"/>
                <a:gd name="T3" fmla="*/ 143 h 154"/>
                <a:gd name="T4" fmla="*/ 20 w 20"/>
                <a:gd name="T5" fmla="*/ 154 h 154"/>
                <a:gd name="T6" fmla="*/ 20 w 20"/>
                <a:gd name="T7" fmla="*/ 12 h 154"/>
                <a:gd name="T8" fmla="*/ 0 w 20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54">
                  <a:moveTo>
                    <a:pt x="0" y="0"/>
                  </a:moveTo>
                  <a:lnTo>
                    <a:pt x="0" y="143"/>
                  </a:lnTo>
                  <a:lnTo>
                    <a:pt x="20" y="154"/>
                  </a:lnTo>
                  <a:lnTo>
                    <a:pt x="20" y="1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1" name="Freeform 304">
              <a:extLst>
                <a:ext uri="{FF2B5EF4-FFF2-40B4-BE49-F238E27FC236}">
                  <a16:creationId xmlns:a16="http://schemas.microsoft.com/office/drawing/2014/main" id="{ED3869CA-90C3-488D-972F-EBC232E8FF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2013" y="2190176"/>
              <a:ext cx="33338" cy="315913"/>
            </a:xfrm>
            <a:custGeom>
              <a:avLst/>
              <a:gdLst>
                <a:gd name="T0" fmla="*/ 1 w 21"/>
                <a:gd name="T1" fmla="*/ 0 h 199"/>
                <a:gd name="T2" fmla="*/ 0 w 21"/>
                <a:gd name="T3" fmla="*/ 188 h 199"/>
                <a:gd name="T4" fmla="*/ 18 w 21"/>
                <a:gd name="T5" fmla="*/ 199 h 199"/>
                <a:gd name="T6" fmla="*/ 18 w 21"/>
                <a:gd name="T7" fmla="*/ 49 h 199"/>
                <a:gd name="T8" fmla="*/ 21 w 21"/>
                <a:gd name="T9" fmla="*/ 50 h 199"/>
                <a:gd name="T10" fmla="*/ 21 w 21"/>
                <a:gd name="T11" fmla="*/ 12 h 199"/>
                <a:gd name="T12" fmla="*/ 1 w 21"/>
                <a:gd name="T13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99">
                  <a:moveTo>
                    <a:pt x="1" y="0"/>
                  </a:moveTo>
                  <a:lnTo>
                    <a:pt x="0" y="188"/>
                  </a:lnTo>
                  <a:lnTo>
                    <a:pt x="18" y="199"/>
                  </a:lnTo>
                  <a:lnTo>
                    <a:pt x="18" y="49"/>
                  </a:lnTo>
                  <a:lnTo>
                    <a:pt x="21" y="50"/>
                  </a:lnTo>
                  <a:lnTo>
                    <a:pt x="21" y="1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9A1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" name="Freeform 305">
              <a:extLst>
                <a:ext uri="{FF2B5EF4-FFF2-40B4-BE49-F238E27FC236}">
                  <a16:creationId xmlns:a16="http://schemas.microsoft.com/office/drawing/2014/main" id="{F4A9A601-5743-4D28-A6A0-EC82814A04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2013" y="2190176"/>
              <a:ext cx="33338" cy="315913"/>
            </a:xfrm>
            <a:custGeom>
              <a:avLst/>
              <a:gdLst>
                <a:gd name="T0" fmla="*/ 1 w 21"/>
                <a:gd name="T1" fmla="*/ 0 h 199"/>
                <a:gd name="T2" fmla="*/ 0 w 21"/>
                <a:gd name="T3" fmla="*/ 188 h 199"/>
                <a:gd name="T4" fmla="*/ 18 w 21"/>
                <a:gd name="T5" fmla="*/ 199 h 199"/>
                <a:gd name="T6" fmla="*/ 18 w 21"/>
                <a:gd name="T7" fmla="*/ 49 h 199"/>
                <a:gd name="T8" fmla="*/ 21 w 21"/>
                <a:gd name="T9" fmla="*/ 50 h 199"/>
                <a:gd name="T10" fmla="*/ 21 w 21"/>
                <a:gd name="T11" fmla="*/ 12 h 199"/>
                <a:gd name="T12" fmla="*/ 1 w 21"/>
                <a:gd name="T13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99">
                  <a:moveTo>
                    <a:pt x="1" y="0"/>
                  </a:moveTo>
                  <a:lnTo>
                    <a:pt x="0" y="188"/>
                  </a:lnTo>
                  <a:lnTo>
                    <a:pt x="18" y="199"/>
                  </a:lnTo>
                  <a:lnTo>
                    <a:pt x="18" y="49"/>
                  </a:lnTo>
                  <a:lnTo>
                    <a:pt x="21" y="50"/>
                  </a:lnTo>
                  <a:lnTo>
                    <a:pt x="21" y="12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" name="Freeform 306">
              <a:extLst>
                <a:ext uri="{FF2B5EF4-FFF2-40B4-BE49-F238E27FC236}">
                  <a16:creationId xmlns:a16="http://schemas.microsoft.com/office/drawing/2014/main" id="{EC2A04D0-5D68-42D0-B9B3-0B56A6537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3601" y="2177476"/>
              <a:ext cx="31750" cy="31750"/>
            </a:xfrm>
            <a:custGeom>
              <a:avLst/>
              <a:gdLst>
                <a:gd name="T0" fmla="*/ 0 w 20"/>
                <a:gd name="T1" fmla="*/ 0 h 20"/>
                <a:gd name="T2" fmla="*/ 0 w 20"/>
                <a:gd name="T3" fmla="*/ 8 h 20"/>
                <a:gd name="T4" fmla="*/ 20 w 20"/>
                <a:gd name="T5" fmla="*/ 20 h 20"/>
                <a:gd name="T6" fmla="*/ 20 w 20"/>
                <a:gd name="T7" fmla="*/ 12 h 20"/>
                <a:gd name="T8" fmla="*/ 0 w 20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0" y="0"/>
                  </a:moveTo>
                  <a:lnTo>
                    <a:pt x="0" y="8"/>
                  </a:lnTo>
                  <a:lnTo>
                    <a:pt x="20" y="20"/>
                  </a:lnTo>
                  <a:lnTo>
                    <a:pt x="2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A0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4" name="Freeform 307">
              <a:extLst>
                <a:ext uri="{FF2B5EF4-FFF2-40B4-BE49-F238E27FC236}">
                  <a16:creationId xmlns:a16="http://schemas.microsoft.com/office/drawing/2014/main" id="{08154B64-0693-41FC-B13D-AB62E09584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3601" y="2177476"/>
              <a:ext cx="31750" cy="31750"/>
            </a:xfrm>
            <a:custGeom>
              <a:avLst/>
              <a:gdLst>
                <a:gd name="T0" fmla="*/ 0 w 20"/>
                <a:gd name="T1" fmla="*/ 0 h 20"/>
                <a:gd name="T2" fmla="*/ 0 w 20"/>
                <a:gd name="T3" fmla="*/ 8 h 20"/>
                <a:gd name="T4" fmla="*/ 20 w 20"/>
                <a:gd name="T5" fmla="*/ 20 h 20"/>
                <a:gd name="T6" fmla="*/ 20 w 20"/>
                <a:gd name="T7" fmla="*/ 12 h 20"/>
                <a:gd name="T8" fmla="*/ 0 w 20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0" y="0"/>
                  </a:moveTo>
                  <a:lnTo>
                    <a:pt x="0" y="8"/>
                  </a:lnTo>
                  <a:lnTo>
                    <a:pt x="20" y="20"/>
                  </a:lnTo>
                  <a:lnTo>
                    <a:pt x="20" y="1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5" name="Freeform 308">
              <a:extLst>
                <a:ext uri="{FF2B5EF4-FFF2-40B4-BE49-F238E27FC236}">
                  <a16:creationId xmlns:a16="http://schemas.microsoft.com/office/drawing/2014/main" id="{8A45C328-D53F-495A-9F6D-F290930315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10588" y="2267964"/>
              <a:ext cx="4763" cy="239713"/>
            </a:xfrm>
            <a:custGeom>
              <a:avLst/>
              <a:gdLst>
                <a:gd name="T0" fmla="*/ 0 w 3"/>
                <a:gd name="T1" fmla="*/ 0 h 151"/>
                <a:gd name="T2" fmla="*/ 0 w 3"/>
                <a:gd name="T3" fmla="*/ 150 h 151"/>
                <a:gd name="T4" fmla="*/ 2 w 3"/>
                <a:gd name="T5" fmla="*/ 151 h 151"/>
                <a:gd name="T6" fmla="*/ 3 w 3"/>
                <a:gd name="T7" fmla="*/ 1 h 151"/>
                <a:gd name="T8" fmla="*/ 0 w 3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51">
                  <a:moveTo>
                    <a:pt x="0" y="0"/>
                  </a:moveTo>
                  <a:lnTo>
                    <a:pt x="0" y="150"/>
                  </a:lnTo>
                  <a:lnTo>
                    <a:pt x="2" y="151"/>
                  </a:lnTo>
                  <a:lnTo>
                    <a:pt x="3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98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6" name="Freeform 309">
              <a:extLst>
                <a:ext uri="{FF2B5EF4-FFF2-40B4-BE49-F238E27FC236}">
                  <a16:creationId xmlns:a16="http://schemas.microsoft.com/office/drawing/2014/main" id="{BB31F988-5882-4551-8B88-D1766D4C18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10588" y="2267964"/>
              <a:ext cx="4763" cy="239713"/>
            </a:xfrm>
            <a:custGeom>
              <a:avLst/>
              <a:gdLst>
                <a:gd name="T0" fmla="*/ 0 w 3"/>
                <a:gd name="T1" fmla="*/ 0 h 151"/>
                <a:gd name="T2" fmla="*/ 0 w 3"/>
                <a:gd name="T3" fmla="*/ 150 h 151"/>
                <a:gd name="T4" fmla="*/ 2 w 3"/>
                <a:gd name="T5" fmla="*/ 151 h 151"/>
                <a:gd name="T6" fmla="*/ 3 w 3"/>
                <a:gd name="T7" fmla="*/ 1 h 151"/>
                <a:gd name="T8" fmla="*/ 0 w 3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51">
                  <a:moveTo>
                    <a:pt x="0" y="0"/>
                  </a:moveTo>
                  <a:lnTo>
                    <a:pt x="0" y="150"/>
                  </a:lnTo>
                  <a:lnTo>
                    <a:pt x="2" y="151"/>
                  </a:lnTo>
                  <a:lnTo>
                    <a:pt x="3" y="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7" name="Freeform 310">
              <a:extLst>
                <a:ext uri="{FF2B5EF4-FFF2-40B4-BE49-F238E27FC236}">
                  <a16:creationId xmlns:a16="http://schemas.microsoft.com/office/drawing/2014/main" id="{92929132-E9D0-4DCD-AAA3-46D50297D9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67488" y="2656901"/>
              <a:ext cx="1474788" cy="874713"/>
            </a:xfrm>
            <a:custGeom>
              <a:avLst/>
              <a:gdLst>
                <a:gd name="T0" fmla="*/ 19 w 929"/>
                <a:gd name="T1" fmla="*/ 320 h 551"/>
                <a:gd name="T2" fmla="*/ 19 w 929"/>
                <a:gd name="T3" fmla="*/ 518 h 551"/>
                <a:gd name="T4" fmla="*/ 919 w 929"/>
                <a:gd name="T5" fmla="*/ 0 h 551"/>
                <a:gd name="T6" fmla="*/ 929 w 929"/>
                <a:gd name="T7" fmla="*/ 16 h 551"/>
                <a:gd name="T8" fmla="*/ 0 w 929"/>
                <a:gd name="T9" fmla="*/ 551 h 551"/>
                <a:gd name="T10" fmla="*/ 0 w 929"/>
                <a:gd name="T11" fmla="*/ 309 h 551"/>
                <a:gd name="T12" fmla="*/ 19 w 929"/>
                <a:gd name="T13" fmla="*/ 32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9" h="551">
                  <a:moveTo>
                    <a:pt x="19" y="320"/>
                  </a:moveTo>
                  <a:lnTo>
                    <a:pt x="19" y="518"/>
                  </a:lnTo>
                  <a:lnTo>
                    <a:pt x="919" y="0"/>
                  </a:lnTo>
                  <a:lnTo>
                    <a:pt x="929" y="16"/>
                  </a:lnTo>
                  <a:lnTo>
                    <a:pt x="0" y="551"/>
                  </a:lnTo>
                  <a:lnTo>
                    <a:pt x="0" y="309"/>
                  </a:lnTo>
                  <a:lnTo>
                    <a:pt x="19" y="320"/>
                  </a:lnTo>
                  <a:close/>
                </a:path>
              </a:pathLst>
            </a:custGeom>
            <a:solidFill>
              <a:srgbClr val="C0CA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8" name="Freeform 311">
              <a:extLst>
                <a:ext uri="{FF2B5EF4-FFF2-40B4-BE49-F238E27FC236}">
                  <a16:creationId xmlns:a16="http://schemas.microsoft.com/office/drawing/2014/main" id="{6A4FF628-6F7B-4424-8868-4AB2CD75C3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78776" y="2566414"/>
              <a:ext cx="458788" cy="493713"/>
            </a:xfrm>
            <a:custGeom>
              <a:avLst/>
              <a:gdLst>
                <a:gd name="T0" fmla="*/ 289 w 289"/>
                <a:gd name="T1" fmla="*/ 311 h 311"/>
                <a:gd name="T2" fmla="*/ 0 w 289"/>
                <a:gd name="T3" fmla="*/ 145 h 311"/>
                <a:gd name="T4" fmla="*/ 0 w 289"/>
                <a:gd name="T5" fmla="*/ 0 h 311"/>
                <a:gd name="T6" fmla="*/ 289 w 289"/>
                <a:gd name="T7" fmla="*/ 167 h 311"/>
                <a:gd name="T8" fmla="*/ 289 w 289"/>
                <a:gd name="T9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" h="311">
                  <a:moveTo>
                    <a:pt x="289" y="311"/>
                  </a:moveTo>
                  <a:lnTo>
                    <a:pt x="0" y="145"/>
                  </a:lnTo>
                  <a:lnTo>
                    <a:pt x="0" y="0"/>
                  </a:lnTo>
                  <a:lnTo>
                    <a:pt x="289" y="167"/>
                  </a:lnTo>
                  <a:lnTo>
                    <a:pt x="289" y="311"/>
                  </a:lnTo>
                  <a:close/>
                </a:path>
              </a:pathLst>
            </a:custGeom>
            <a:solidFill>
              <a:srgbClr val="C0CA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9" name="Freeform 312">
              <a:extLst>
                <a:ext uri="{FF2B5EF4-FFF2-40B4-BE49-F238E27FC236}">
                  <a16:creationId xmlns:a16="http://schemas.microsoft.com/office/drawing/2014/main" id="{31C85E50-DB34-4182-9072-16EE946191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787201"/>
              <a:ext cx="342900" cy="590550"/>
            </a:xfrm>
            <a:custGeom>
              <a:avLst/>
              <a:gdLst>
                <a:gd name="T0" fmla="*/ 0 w 216"/>
                <a:gd name="T1" fmla="*/ 0 h 372"/>
                <a:gd name="T2" fmla="*/ 0 w 216"/>
                <a:gd name="T3" fmla="*/ 247 h 372"/>
                <a:gd name="T4" fmla="*/ 216 w 216"/>
                <a:gd name="T5" fmla="*/ 372 h 372"/>
                <a:gd name="T6" fmla="*/ 216 w 216"/>
                <a:gd name="T7" fmla="*/ 124 h 372"/>
                <a:gd name="T8" fmla="*/ 0 w 216"/>
                <a:gd name="T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372">
                  <a:moveTo>
                    <a:pt x="0" y="0"/>
                  </a:moveTo>
                  <a:lnTo>
                    <a:pt x="0" y="247"/>
                  </a:lnTo>
                  <a:lnTo>
                    <a:pt x="216" y="372"/>
                  </a:lnTo>
                  <a:lnTo>
                    <a:pt x="216" y="1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0" name="Freeform 313">
              <a:extLst>
                <a:ext uri="{FF2B5EF4-FFF2-40B4-BE49-F238E27FC236}">
                  <a16:creationId xmlns:a16="http://schemas.microsoft.com/office/drawing/2014/main" id="{00A98688-D814-4CAE-8987-4C2A466463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787201"/>
              <a:ext cx="342900" cy="590550"/>
            </a:xfrm>
            <a:custGeom>
              <a:avLst/>
              <a:gdLst>
                <a:gd name="T0" fmla="*/ 0 w 216"/>
                <a:gd name="T1" fmla="*/ 0 h 372"/>
                <a:gd name="T2" fmla="*/ 0 w 216"/>
                <a:gd name="T3" fmla="*/ 247 h 372"/>
                <a:gd name="T4" fmla="*/ 216 w 216"/>
                <a:gd name="T5" fmla="*/ 372 h 372"/>
                <a:gd name="T6" fmla="*/ 216 w 216"/>
                <a:gd name="T7" fmla="*/ 124 h 372"/>
                <a:gd name="T8" fmla="*/ 0 w 216"/>
                <a:gd name="T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372">
                  <a:moveTo>
                    <a:pt x="0" y="0"/>
                  </a:moveTo>
                  <a:lnTo>
                    <a:pt x="0" y="247"/>
                  </a:lnTo>
                  <a:lnTo>
                    <a:pt x="216" y="372"/>
                  </a:lnTo>
                  <a:lnTo>
                    <a:pt x="216" y="124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1" name="Freeform 314">
              <a:extLst>
                <a:ext uri="{FF2B5EF4-FFF2-40B4-BE49-F238E27FC236}">
                  <a16:creationId xmlns:a16="http://schemas.microsoft.com/office/drawing/2014/main" id="{A4975683-8BBF-4931-96E5-533B6F965D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832976" y="3587176"/>
              <a:ext cx="301625" cy="431800"/>
            </a:xfrm>
            <a:custGeom>
              <a:avLst/>
              <a:gdLst>
                <a:gd name="T0" fmla="*/ 92 w 190"/>
                <a:gd name="T1" fmla="*/ 89 h 273"/>
                <a:gd name="T2" fmla="*/ 92 w 190"/>
                <a:gd name="T3" fmla="*/ 154 h 273"/>
                <a:gd name="T4" fmla="*/ 116 w 190"/>
                <a:gd name="T5" fmla="*/ 168 h 273"/>
                <a:gd name="T6" fmla="*/ 101 w 190"/>
                <a:gd name="T7" fmla="*/ 141 h 273"/>
                <a:gd name="T8" fmla="*/ 99 w 190"/>
                <a:gd name="T9" fmla="*/ 139 h 273"/>
                <a:gd name="T10" fmla="*/ 100 w 190"/>
                <a:gd name="T11" fmla="*/ 115 h 273"/>
                <a:gd name="T12" fmla="*/ 104 w 190"/>
                <a:gd name="T13" fmla="*/ 120 h 273"/>
                <a:gd name="T14" fmla="*/ 137 w 190"/>
                <a:gd name="T15" fmla="*/ 180 h 273"/>
                <a:gd name="T16" fmla="*/ 190 w 190"/>
                <a:gd name="T17" fmla="*/ 211 h 273"/>
                <a:gd name="T18" fmla="*/ 190 w 190"/>
                <a:gd name="T19" fmla="*/ 146 h 273"/>
                <a:gd name="T20" fmla="*/ 92 w 190"/>
                <a:gd name="T21" fmla="*/ 89 h 273"/>
                <a:gd name="T22" fmla="*/ 0 w 190"/>
                <a:gd name="T23" fmla="*/ 0 h 273"/>
                <a:gd name="T24" fmla="*/ 0 w 190"/>
                <a:gd name="T25" fmla="*/ 248 h 273"/>
                <a:gd name="T26" fmla="*/ 43 w 190"/>
                <a:gd name="T27" fmla="*/ 273 h 273"/>
                <a:gd name="T28" fmla="*/ 43 w 190"/>
                <a:gd name="T29" fmla="*/ 193 h 273"/>
                <a:gd name="T30" fmla="*/ 25 w 190"/>
                <a:gd name="T31" fmla="*/ 135 h 273"/>
                <a:gd name="T32" fmla="*/ 57 w 190"/>
                <a:gd name="T33" fmla="*/ 95 h 273"/>
                <a:gd name="T34" fmla="*/ 60 w 190"/>
                <a:gd name="T35" fmla="*/ 95 h 273"/>
                <a:gd name="T36" fmla="*/ 65 w 190"/>
                <a:gd name="T37" fmla="*/ 95 h 273"/>
                <a:gd name="T38" fmla="*/ 65 w 190"/>
                <a:gd name="T39" fmla="*/ 119 h 273"/>
                <a:gd name="T40" fmla="*/ 63 w 190"/>
                <a:gd name="T41" fmla="*/ 119 h 273"/>
                <a:gd name="T42" fmla="*/ 48 w 190"/>
                <a:gd name="T43" fmla="*/ 129 h 273"/>
                <a:gd name="T44" fmla="*/ 73 w 190"/>
                <a:gd name="T45" fmla="*/ 143 h 273"/>
                <a:gd name="T46" fmla="*/ 73 w 190"/>
                <a:gd name="T47" fmla="*/ 78 h 273"/>
                <a:gd name="T48" fmla="*/ 43 w 190"/>
                <a:gd name="T49" fmla="*/ 60 h 273"/>
                <a:gd name="T50" fmla="*/ 43 w 190"/>
                <a:gd name="T51" fmla="*/ 25 h 273"/>
                <a:gd name="T52" fmla="*/ 0 w 190"/>
                <a:gd name="T53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0" h="273">
                  <a:moveTo>
                    <a:pt x="92" y="89"/>
                  </a:moveTo>
                  <a:cubicBezTo>
                    <a:pt x="92" y="154"/>
                    <a:pt x="92" y="154"/>
                    <a:pt x="92" y="154"/>
                  </a:cubicBezTo>
                  <a:cubicBezTo>
                    <a:pt x="116" y="168"/>
                    <a:pt x="116" y="168"/>
                    <a:pt x="116" y="168"/>
                  </a:cubicBezTo>
                  <a:cubicBezTo>
                    <a:pt x="113" y="159"/>
                    <a:pt x="108" y="149"/>
                    <a:pt x="101" y="141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4" y="120"/>
                    <a:pt x="104" y="120"/>
                    <a:pt x="104" y="120"/>
                  </a:cubicBezTo>
                  <a:cubicBezTo>
                    <a:pt x="120" y="137"/>
                    <a:pt x="132" y="159"/>
                    <a:pt x="137" y="180"/>
                  </a:cubicBezTo>
                  <a:cubicBezTo>
                    <a:pt x="190" y="211"/>
                    <a:pt x="190" y="211"/>
                    <a:pt x="190" y="211"/>
                  </a:cubicBezTo>
                  <a:cubicBezTo>
                    <a:pt x="190" y="146"/>
                    <a:pt x="190" y="146"/>
                    <a:pt x="190" y="146"/>
                  </a:cubicBezTo>
                  <a:cubicBezTo>
                    <a:pt x="92" y="89"/>
                    <a:pt x="92" y="89"/>
                    <a:pt x="92" y="89"/>
                  </a:cubicBezTo>
                  <a:moveTo>
                    <a:pt x="0" y="0"/>
                  </a:moveTo>
                  <a:cubicBezTo>
                    <a:pt x="0" y="248"/>
                    <a:pt x="0" y="248"/>
                    <a:pt x="0" y="248"/>
                  </a:cubicBezTo>
                  <a:cubicBezTo>
                    <a:pt x="43" y="273"/>
                    <a:pt x="43" y="273"/>
                    <a:pt x="43" y="273"/>
                  </a:cubicBezTo>
                  <a:cubicBezTo>
                    <a:pt x="43" y="193"/>
                    <a:pt x="43" y="193"/>
                    <a:pt x="43" y="193"/>
                  </a:cubicBezTo>
                  <a:cubicBezTo>
                    <a:pt x="32" y="175"/>
                    <a:pt x="25" y="154"/>
                    <a:pt x="25" y="135"/>
                  </a:cubicBezTo>
                  <a:cubicBezTo>
                    <a:pt x="25" y="110"/>
                    <a:pt x="38" y="95"/>
                    <a:pt x="57" y="95"/>
                  </a:cubicBezTo>
                  <a:cubicBezTo>
                    <a:pt x="58" y="95"/>
                    <a:pt x="59" y="95"/>
                    <a:pt x="60" y="95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119"/>
                    <a:pt x="65" y="119"/>
                    <a:pt x="65" y="119"/>
                  </a:cubicBezTo>
                  <a:cubicBezTo>
                    <a:pt x="63" y="119"/>
                    <a:pt x="63" y="119"/>
                    <a:pt x="63" y="119"/>
                  </a:cubicBezTo>
                  <a:cubicBezTo>
                    <a:pt x="57" y="120"/>
                    <a:pt x="52" y="123"/>
                    <a:pt x="48" y="129"/>
                  </a:cubicBezTo>
                  <a:cubicBezTo>
                    <a:pt x="73" y="143"/>
                    <a:pt x="73" y="143"/>
                    <a:pt x="73" y="143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0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2" name="Freeform 315">
              <a:extLst>
                <a:ext uri="{FF2B5EF4-FFF2-40B4-BE49-F238E27FC236}">
                  <a16:creationId xmlns:a16="http://schemas.microsoft.com/office/drawing/2014/main" id="{147000F6-5C90-4334-8FC7-262D5986E0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626864"/>
              <a:ext cx="233363" cy="192088"/>
            </a:xfrm>
            <a:custGeom>
              <a:avLst/>
              <a:gdLst>
                <a:gd name="T0" fmla="*/ 0 w 147"/>
                <a:gd name="T1" fmla="*/ 0 h 121"/>
                <a:gd name="T2" fmla="*/ 0 w 147"/>
                <a:gd name="T3" fmla="*/ 35 h 121"/>
                <a:gd name="T4" fmla="*/ 30 w 147"/>
                <a:gd name="T5" fmla="*/ 53 h 121"/>
                <a:gd name="T6" fmla="*/ 30 w 147"/>
                <a:gd name="T7" fmla="*/ 51 h 121"/>
                <a:gd name="T8" fmla="*/ 49 w 147"/>
                <a:gd name="T9" fmla="*/ 62 h 121"/>
                <a:gd name="T10" fmla="*/ 49 w 147"/>
                <a:gd name="T11" fmla="*/ 64 h 121"/>
                <a:gd name="T12" fmla="*/ 147 w 147"/>
                <a:gd name="T13" fmla="*/ 121 h 121"/>
                <a:gd name="T14" fmla="*/ 147 w 147"/>
                <a:gd name="T15" fmla="*/ 85 h 121"/>
                <a:gd name="T16" fmla="*/ 0 w 147"/>
                <a:gd name="T1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121">
                  <a:moveTo>
                    <a:pt x="0" y="0"/>
                  </a:moveTo>
                  <a:lnTo>
                    <a:pt x="0" y="35"/>
                  </a:lnTo>
                  <a:lnTo>
                    <a:pt x="30" y="53"/>
                  </a:lnTo>
                  <a:lnTo>
                    <a:pt x="30" y="51"/>
                  </a:lnTo>
                  <a:lnTo>
                    <a:pt x="49" y="62"/>
                  </a:lnTo>
                  <a:lnTo>
                    <a:pt x="49" y="64"/>
                  </a:lnTo>
                  <a:lnTo>
                    <a:pt x="147" y="121"/>
                  </a:lnTo>
                  <a:lnTo>
                    <a:pt x="147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8" name="Freeform 316">
              <a:extLst>
                <a:ext uri="{FF2B5EF4-FFF2-40B4-BE49-F238E27FC236}">
                  <a16:creationId xmlns:a16="http://schemas.microsoft.com/office/drawing/2014/main" id="{EDDB2BA8-7F89-45FE-A8AC-7BB3E62E96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626864"/>
              <a:ext cx="233363" cy="192088"/>
            </a:xfrm>
            <a:custGeom>
              <a:avLst/>
              <a:gdLst>
                <a:gd name="T0" fmla="*/ 0 w 147"/>
                <a:gd name="T1" fmla="*/ 0 h 121"/>
                <a:gd name="T2" fmla="*/ 0 w 147"/>
                <a:gd name="T3" fmla="*/ 35 h 121"/>
                <a:gd name="T4" fmla="*/ 30 w 147"/>
                <a:gd name="T5" fmla="*/ 53 h 121"/>
                <a:gd name="T6" fmla="*/ 30 w 147"/>
                <a:gd name="T7" fmla="*/ 51 h 121"/>
                <a:gd name="T8" fmla="*/ 49 w 147"/>
                <a:gd name="T9" fmla="*/ 62 h 121"/>
                <a:gd name="T10" fmla="*/ 49 w 147"/>
                <a:gd name="T11" fmla="*/ 64 h 121"/>
                <a:gd name="T12" fmla="*/ 147 w 147"/>
                <a:gd name="T13" fmla="*/ 121 h 121"/>
                <a:gd name="T14" fmla="*/ 147 w 147"/>
                <a:gd name="T15" fmla="*/ 85 h 121"/>
                <a:gd name="T16" fmla="*/ 0 w 147"/>
                <a:gd name="T1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121">
                  <a:moveTo>
                    <a:pt x="0" y="0"/>
                  </a:moveTo>
                  <a:lnTo>
                    <a:pt x="0" y="35"/>
                  </a:lnTo>
                  <a:lnTo>
                    <a:pt x="30" y="53"/>
                  </a:lnTo>
                  <a:lnTo>
                    <a:pt x="30" y="51"/>
                  </a:lnTo>
                  <a:lnTo>
                    <a:pt x="49" y="62"/>
                  </a:lnTo>
                  <a:lnTo>
                    <a:pt x="49" y="64"/>
                  </a:lnTo>
                  <a:lnTo>
                    <a:pt x="147" y="121"/>
                  </a:lnTo>
                  <a:lnTo>
                    <a:pt x="147" y="8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09" name="Freeform 317">
              <a:extLst>
                <a:ext uri="{FF2B5EF4-FFF2-40B4-BE49-F238E27FC236}">
                  <a16:creationId xmlns:a16="http://schemas.microsoft.com/office/drawing/2014/main" id="{BECAF869-0037-4431-A789-D32472D92A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91701" y="3563364"/>
              <a:ext cx="41275" cy="417513"/>
            </a:xfrm>
            <a:custGeom>
              <a:avLst/>
              <a:gdLst>
                <a:gd name="T0" fmla="*/ 1 w 26"/>
                <a:gd name="T1" fmla="*/ 0 h 263"/>
                <a:gd name="T2" fmla="*/ 0 w 26"/>
                <a:gd name="T3" fmla="*/ 248 h 263"/>
                <a:gd name="T4" fmla="*/ 26 w 26"/>
                <a:gd name="T5" fmla="*/ 263 h 263"/>
                <a:gd name="T6" fmla="*/ 26 w 26"/>
                <a:gd name="T7" fmla="*/ 15 h 263"/>
                <a:gd name="T8" fmla="*/ 1 w 26"/>
                <a:gd name="T9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3">
                  <a:moveTo>
                    <a:pt x="1" y="0"/>
                  </a:moveTo>
                  <a:lnTo>
                    <a:pt x="0" y="248"/>
                  </a:lnTo>
                  <a:lnTo>
                    <a:pt x="26" y="263"/>
                  </a:lnTo>
                  <a:lnTo>
                    <a:pt x="26" y="1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0" name="Freeform 318">
              <a:extLst>
                <a:ext uri="{FF2B5EF4-FFF2-40B4-BE49-F238E27FC236}">
                  <a16:creationId xmlns:a16="http://schemas.microsoft.com/office/drawing/2014/main" id="{7313DC33-AC3D-4960-AFF9-4FB479B272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91701" y="3563364"/>
              <a:ext cx="41275" cy="417513"/>
            </a:xfrm>
            <a:custGeom>
              <a:avLst/>
              <a:gdLst>
                <a:gd name="T0" fmla="*/ 1 w 26"/>
                <a:gd name="T1" fmla="*/ 0 h 263"/>
                <a:gd name="T2" fmla="*/ 0 w 26"/>
                <a:gd name="T3" fmla="*/ 248 h 263"/>
                <a:gd name="T4" fmla="*/ 26 w 26"/>
                <a:gd name="T5" fmla="*/ 263 h 263"/>
                <a:gd name="T6" fmla="*/ 26 w 26"/>
                <a:gd name="T7" fmla="*/ 15 h 263"/>
                <a:gd name="T8" fmla="*/ 1 w 26"/>
                <a:gd name="T9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3">
                  <a:moveTo>
                    <a:pt x="1" y="0"/>
                  </a:moveTo>
                  <a:lnTo>
                    <a:pt x="0" y="248"/>
                  </a:lnTo>
                  <a:lnTo>
                    <a:pt x="26" y="263"/>
                  </a:lnTo>
                  <a:lnTo>
                    <a:pt x="26" y="15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1" name="Freeform 319">
              <a:extLst>
                <a:ext uri="{FF2B5EF4-FFF2-40B4-BE49-F238E27FC236}">
                  <a16:creationId xmlns:a16="http://schemas.microsoft.com/office/drawing/2014/main" id="{1624845A-88B7-4285-9474-FACE39CB4D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01238" y="3791964"/>
              <a:ext cx="233363" cy="361950"/>
            </a:xfrm>
            <a:custGeom>
              <a:avLst/>
              <a:gdLst>
                <a:gd name="T0" fmla="*/ 94 w 147"/>
                <a:gd name="T1" fmla="*/ 51 h 229"/>
                <a:gd name="T2" fmla="*/ 96 w 147"/>
                <a:gd name="T3" fmla="*/ 72 h 229"/>
                <a:gd name="T4" fmla="*/ 64 w 147"/>
                <a:gd name="T5" fmla="*/ 112 h 229"/>
                <a:gd name="T6" fmla="*/ 39 w 147"/>
                <a:gd name="T7" fmla="*/ 104 h 229"/>
                <a:gd name="T8" fmla="*/ 0 w 147"/>
                <a:gd name="T9" fmla="*/ 64 h 229"/>
                <a:gd name="T10" fmla="*/ 0 w 147"/>
                <a:gd name="T11" fmla="*/ 144 h 229"/>
                <a:gd name="T12" fmla="*/ 147 w 147"/>
                <a:gd name="T13" fmla="*/ 229 h 229"/>
                <a:gd name="T14" fmla="*/ 147 w 147"/>
                <a:gd name="T15" fmla="*/ 82 h 229"/>
                <a:gd name="T16" fmla="*/ 94 w 147"/>
                <a:gd name="T17" fmla="*/ 51 h 229"/>
                <a:gd name="T18" fmla="*/ 5 w 147"/>
                <a:gd name="T19" fmla="*/ 0 h 229"/>
                <a:gd name="T20" fmla="*/ 1 w 147"/>
                <a:gd name="T21" fmla="*/ 17 h 229"/>
                <a:gd name="T22" fmla="*/ 39 w 147"/>
                <a:gd name="T23" fmla="*/ 82 h 229"/>
                <a:gd name="T24" fmla="*/ 56 w 147"/>
                <a:gd name="T25" fmla="*/ 88 h 229"/>
                <a:gd name="T26" fmla="*/ 77 w 147"/>
                <a:gd name="T27" fmla="*/ 61 h 229"/>
                <a:gd name="T28" fmla="*/ 73 w 147"/>
                <a:gd name="T29" fmla="*/ 39 h 229"/>
                <a:gd name="T30" fmla="*/ 49 w 147"/>
                <a:gd name="T31" fmla="*/ 25 h 229"/>
                <a:gd name="T32" fmla="*/ 49 w 147"/>
                <a:gd name="T33" fmla="*/ 45 h 229"/>
                <a:gd name="T34" fmla="*/ 30 w 147"/>
                <a:gd name="T35" fmla="*/ 34 h 229"/>
                <a:gd name="T36" fmla="*/ 30 w 147"/>
                <a:gd name="T37" fmla="*/ 14 h 229"/>
                <a:gd name="T38" fmla="*/ 5 w 147"/>
                <a:gd name="T39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7" h="229">
                  <a:moveTo>
                    <a:pt x="94" y="51"/>
                  </a:moveTo>
                  <a:cubicBezTo>
                    <a:pt x="95" y="58"/>
                    <a:pt x="96" y="65"/>
                    <a:pt x="96" y="72"/>
                  </a:cubicBezTo>
                  <a:cubicBezTo>
                    <a:pt x="96" y="97"/>
                    <a:pt x="83" y="112"/>
                    <a:pt x="64" y="112"/>
                  </a:cubicBezTo>
                  <a:cubicBezTo>
                    <a:pt x="57" y="112"/>
                    <a:pt x="48" y="110"/>
                    <a:pt x="39" y="104"/>
                  </a:cubicBezTo>
                  <a:cubicBezTo>
                    <a:pt x="24" y="96"/>
                    <a:pt x="10" y="81"/>
                    <a:pt x="0" y="6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147" y="229"/>
                    <a:pt x="147" y="229"/>
                    <a:pt x="147" y="229"/>
                  </a:cubicBezTo>
                  <a:cubicBezTo>
                    <a:pt x="147" y="82"/>
                    <a:pt x="147" y="82"/>
                    <a:pt x="147" y="82"/>
                  </a:cubicBezTo>
                  <a:cubicBezTo>
                    <a:pt x="94" y="51"/>
                    <a:pt x="94" y="51"/>
                    <a:pt x="94" y="51"/>
                  </a:cubicBezTo>
                  <a:moveTo>
                    <a:pt x="5" y="0"/>
                  </a:moveTo>
                  <a:cubicBezTo>
                    <a:pt x="3" y="4"/>
                    <a:pt x="1" y="10"/>
                    <a:pt x="1" y="17"/>
                  </a:cubicBezTo>
                  <a:cubicBezTo>
                    <a:pt x="1" y="41"/>
                    <a:pt x="18" y="70"/>
                    <a:pt x="39" y="82"/>
                  </a:cubicBezTo>
                  <a:cubicBezTo>
                    <a:pt x="45" y="86"/>
                    <a:pt x="51" y="88"/>
                    <a:pt x="56" y="88"/>
                  </a:cubicBezTo>
                  <a:cubicBezTo>
                    <a:pt x="68" y="88"/>
                    <a:pt x="77" y="78"/>
                    <a:pt x="77" y="61"/>
                  </a:cubicBezTo>
                  <a:cubicBezTo>
                    <a:pt x="77" y="54"/>
                    <a:pt x="76" y="46"/>
                    <a:pt x="73" y="39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F4EA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2" name="Freeform 320">
              <a:extLst>
                <a:ext uri="{FF2B5EF4-FFF2-40B4-BE49-F238E27FC236}">
                  <a16:creationId xmlns:a16="http://schemas.microsoft.com/office/drawing/2014/main" id="{C6915B90-E7C8-4989-A647-119983CC3A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711001"/>
              <a:ext cx="30163" cy="120650"/>
            </a:xfrm>
            <a:custGeom>
              <a:avLst/>
              <a:gdLst>
                <a:gd name="T0" fmla="*/ 0 w 19"/>
                <a:gd name="T1" fmla="*/ 0 h 76"/>
                <a:gd name="T2" fmla="*/ 0 w 19"/>
                <a:gd name="T3" fmla="*/ 65 h 76"/>
                <a:gd name="T4" fmla="*/ 19 w 19"/>
                <a:gd name="T5" fmla="*/ 76 h 76"/>
                <a:gd name="T6" fmla="*/ 19 w 19"/>
                <a:gd name="T7" fmla="*/ 11 h 76"/>
                <a:gd name="T8" fmla="*/ 0 w 1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76">
                  <a:moveTo>
                    <a:pt x="0" y="0"/>
                  </a:moveTo>
                  <a:lnTo>
                    <a:pt x="0" y="65"/>
                  </a:lnTo>
                  <a:lnTo>
                    <a:pt x="19" y="76"/>
                  </a:lnTo>
                  <a:lnTo>
                    <a:pt x="19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C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3" name="Freeform 321">
              <a:extLst>
                <a:ext uri="{FF2B5EF4-FFF2-40B4-BE49-F238E27FC236}">
                  <a16:creationId xmlns:a16="http://schemas.microsoft.com/office/drawing/2014/main" id="{AE98B625-5BDC-4375-8EF6-7CB49DE9D1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711001"/>
              <a:ext cx="30163" cy="120650"/>
            </a:xfrm>
            <a:custGeom>
              <a:avLst/>
              <a:gdLst>
                <a:gd name="T0" fmla="*/ 0 w 19"/>
                <a:gd name="T1" fmla="*/ 0 h 76"/>
                <a:gd name="T2" fmla="*/ 0 w 19"/>
                <a:gd name="T3" fmla="*/ 65 h 76"/>
                <a:gd name="T4" fmla="*/ 19 w 19"/>
                <a:gd name="T5" fmla="*/ 76 h 76"/>
                <a:gd name="T6" fmla="*/ 19 w 19"/>
                <a:gd name="T7" fmla="*/ 11 h 76"/>
                <a:gd name="T8" fmla="*/ 0 w 1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76">
                  <a:moveTo>
                    <a:pt x="0" y="0"/>
                  </a:moveTo>
                  <a:lnTo>
                    <a:pt x="0" y="65"/>
                  </a:lnTo>
                  <a:lnTo>
                    <a:pt x="19" y="76"/>
                  </a:lnTo>
                  <a:lnTo>
                    <a:pt x="19" y="1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4" name="Freeform 322">
              <a:extLst>
                <a:ext uri="{FF2B5EF4-FFF2-40B4-BE49-F238E27FC236}">
                  <a16:creationId xmlns:a16="http://schemas.microsoft.com/office/drawing/2014/main" id="{9A52D269-A27B-4DB6-ADED-F11E9D17A8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707826"/>
              <a:ext cx="30163" cy="20638"/>
            </a:xfrm>
            <a:custGeom>
              <a:avLst/>
              <a:gdLst>
                <a:gd name="T0" fmla="*/ 0 w 19"/>
                <a:gd name="T1" fmla="*/ 0 h 13"/>
                <a:gd name="T2" fmla="*/ 0 w 19"/>
                <a:gd name="T3" fmla="*/ 2 h 13"/>
                <a:gd name="T4" fmla="*/ 19 w 19"/>
                <a:gd name="T5" fmla="*/ 13 h 13"/>
                <a:gd name="T6" fmla="*/ 19 w 19"/>
                <a:gd name="T7" fmla="*/ 11 h 13"/>
                <a:gd name="T8" fmla="*/ 0 w 1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3">
                  <a:moveTo>
                    <a:pt x="0" y="0"/>
                  </a:moveTo>
                  <a:lnTo>
                    <a:pt x="0" y="2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C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5" name="Freeform 323">
              <a:extLst>
                <a:ext uri="{FF2B5EF4-FFF2-40B4-BE49-F238E27FC236}">
                  <a16:creationId xmlns:a16="http://schemas.microsoft.com/office/drawing/2014/main" id="{9210E0B3-6973-43FA-A0D6-E69E71588F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707826"/>
              <a:ext cx="30163" cy="20638"/>
            </a:xfrm>
            <a:custGeom>
              <a:avLst/>
              <a:gdLst>
                <a:gd name="T0" fmla="*/ 0 w 19"/>
                <a:gd name="T1" fmla="*/ 0 h 13"/>
                <a:gd name="T2" fmla="*/ 0 w 19"/>
                <a:gd name="T3" fmla="*/ 2 h 13"/>
                <a:gd name="T4" fmla="*/ 19 w 19"/>
                <a:gd name="T5" fmla="*/ 13 h 13"/>
                <a:gd name="T6" fmla="*/ 19 w 19"/>
                <a:gd name="T7" fmla="*/ 11 h 13"/>
                <a:gd name="T8" fmla="*/ 0 w 1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3">
                  <a:moveTo>
                    <a:pt x="0" y="0"/>
                  </a:moveTo>
                  <a:lnTo>
                    <a:pt x="0" y="2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6" name="Freeform 324">
              <a:extLst>
                <a:ext uri="{FF2B5EF4-FFF2-40B4-BE49-F238E27FC236}">
                  <a16:creationId xmlns:a16="http://schemas.microsoft.com/office/drawing/2014/main" id="{7A1A344B-4858-4F97-98D9-DF576070D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814189"/>
              <a:ext cx="30163" cy="49213"/>
            </a:xfrm>
            <a:custGeom>
              <a:avLst/>
              <a:gdLst>
                <a:gd name="T0" fmla="*/ 0 w 19"/>
                <a:gd name="T1" fmla="*/ 0 h 31"/>
                <a:gd name="T2" fmla="*/ 0 w 19"/>
                <a:gd name="T3" fmla="*/ 20 h 31"/>
                <a:gd name="T4" fmla="*/ 19 w 19"/>
                <a:gd name="T5" fmla="*/ 31 h 31"/>
                <a:gd name="T6" fmla="*/ 19 w 19"/>
                <a:gd name="T7" fmla="*/ 11 h 31"/>
                <a:gd name="T8" fmla="*/ 0 w 19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1">
                  <a:moveTo>
                    <a:pt x="0" y="0"/>
                  </a:moveTo>
                  <a:lnTo>
                    <a:pt x="0" y="20"/>
                  </a:lnTo>
                  <a:lnTo>
                    <a:pt x="19" y="31"/>
                  </a:lnTo>
                  <a:lnTo>
                    <a:pt x="19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C7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7" name="Freeform 325">
              <a:extLst>
                <a:ext uri="{FF2B5EF4-FFF2-40B4-BE49-F238E27FC236}">
                  <a16:creationId xmlns:a16="http://schemas.microsoft.com/office/drawing/2014/main" id="{8DC85BBD-D797-46D8-8431-76AC512D61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814189"/>
              <a:ext cx="30163" cy="49213"/>
            </a:xfrm>
            <a:custGeom>
              <a:avLst/>
              <a:gdLst>
                <a:gd name="T0" fmla="*/ 0 w 19"/>
                <a:gd name="T1" fmla="*/ 0 h 31"/>
                <a:gd name="T2" fmla="*/ 0 w 19"/>
                <a:gd name="T3" fmla="*/ 20 h 31"/>
                <a:gd name="T4" fmla="*/ 19 w 19"/>
                <a:gd name="T5" fmla="*/ 31 h 31"/>
                <a:gd name="T6" fmla="*/ 19 w 19"/>
                <a:gd name="T7" fmla="*/ 11 h 31"/>
                <a:gd name="T8" fmla="*/ 0 w 19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1">
                  <a:moveTo>
                    <a:pt x="0" y="0"/>
                  </a:moveTo>
                  <a:lnTo>
                    <a:pt x="0" y="20"/>
                  </a:lnTo>
                  <a:lnTo>
                    <a:pt x="19" y="31"/>
                  </a:lnTo>
                  <a:lnTo>
                    <a:pt x="19" y="1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8" name="Freeform 326">
              <a:extLst>
                <a:ext uri="{FF2B5EF4-FFF2-40B4-BE49-F238E27FC236}">
                  <a16:creationId xmlns:a16="http://schemas.microsoft.com/office/drawing/2014/main" id="{9B01F690-56D1-4EE9-BDA7-E485F0CED2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872663" y="3737989"/>
              <a:ext cx="177800" cy="155575"/>
            </a:xfrm>
            <a:custGeom>
              <a:avLst/>
              <a:gdLst>
                <a:gd name="T0" fmla="*/ 75 w 112"/>
                <a:gd name="T1" fmla="*/ 20 h 98"/>
                <a:gd name="T2" fmla="*/ 74 w 112"/>
                <a:gd name="T3" fmla="*/ 44 h 98"/>
                <a:gd name="T4" fmla="*/ 76 w 112"/>
                <a:gd name="T5" fmla="*/ 46 h 98"/>
                <a:gd name="T6" fmla="*/ 91 w 112"/>
                <a:gd name="T7" fmla="*/ 73 h 98"/>
                <a:gd name="T8" fmla="*/ 112 w 112"/>
                <a:gd name="T9" fmla="*/ 85 h 98"/>
                <a:gd name="T10" fmla="*/ 79 w 112"/>
                <a:gd name="T11" fmla="*/ 25 h 98"/>
                <a:gd name="T12" fmla="*/ 75 w 112"/>
                <a:gd name="T13" fmla="*/ 20 h 98"/>
                <a:gd name="T14" fmla="*/ 32 w 112"/>
                <a:gd name="T15" fmla="*/ 0 h 98"/>
                <a:gd name="T16" fmla="*/ 0 w 112"/>
                <a:gd name="T17" fmla="*/ 40 h 98"/>
                <a:gd name="T18" fmla="*/ 18 w 112"/>
                <a:gd name="T19" fmla="*/ 98 h 98"/>
                <a:gd name="T20" fmla="*/ 18 w 112"/>
                <a:gd name="T21" fmla="*/ 31 h 98"/>
                <a:gd name="T22" fmla="*/ 23 w 112"/>
                <a:gd name="T23" fmla="*/ 34 h 98"/>
                <a:gd name="T24" fmla="*/ 38 w 112"/>
                <a:gd name="T25" fmla="*/ 24 h 98"/>
                <a:gd name="T26" fmla="*/ 40 w 112"/>
                <a:gd name="T27" fmla="*/ 24 h 98"/>
                <a:gd name="T28" fmla="*/ 40 w 112"/>
                <a:gd name="T29" fmla="*/ 0 h 98"/>
                <a:gd name="T30" fmla="*/ 35 w 112"/>
                <a:gd name="T31" fmla="*/ 0 h 98"/>
                <a:gd name="T32" fmla="*/ 32 w 112"/>
                <a:gd name="T3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98">
                  <a:moveTo>
                    <a:pt x="75" y="20"/>
                  </a:moveTo>
                  <a:cubicBezTo>
                    <a:pt x="74" y="44"/>
                    <a:pt x="74" y="44"/>
                    <a:pt x="74" y="44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83" y="54"/>
                    <a:pt x="88" y="64"/>
                    <a:pt x="91" y="73"/>
                  </a:cubicBezTo>
                  <a:cubicBezTo>
                    <a:pt x="112" y="85"/>
                    <a:pt x="112" y="85"/>
                    <a:pt x="112" y="85"/>
                  </a:cubicBezTo>
                  <a:cubicBezTo>
                    <a:pt x="107" y="64"/>
                    <a:pt x="95" y="42"/>
                    <a:pt x="79" y="25"/>
                  </a:cubicBezTo>
                  <a:cubicBezTo>
                    <a:pt x="75" y="20"/>
                    <a:pt x="75" y="20"/>
                    <a:pt x="75" y="20"/>
                  </a:cubicBezTo>
                  <a:moveTo>
                    <a:pt x="32" y="0"/>
                  </a:moveTo>
                  <a:cubicBezTo>
                    <a:pt x="13" y="0"/>
                    <a:pt x="0" y="15"/>
                    <a:pt x="0" y="40"/>
                  </a:cubicBezTo>
                  <a:cubicBezTo>
                    <a:pt x="0" y="59"/>
                    <a:pt x="7" y="80"/>
                    <a:pt x="18" y="98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7" y="28"/>
                    <a:pt x="32" y="25"/>
                    <a:pt x="38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3" y="0"/>
                    <a:pt x="32" y="0"/>
                  </a:cubicBezTo>
                </a:path>
              </a:pathLst>
            </a:custGeom>
            <a:solidFill>
              <a:srgbClr val="F9C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19" name="Freeform 327">
              <a:extLst>
                <a:ext uri="{FF2B5EF4-FFF2-40B4-BE49-F238E27FC236}">
                  <a16:creationId xmlns:a16="http://schemas.microsoft.com/office/drawing/2014/main" id="{E19D8BDE-B873-4CDE-BAFE-6883BBBDF6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787201"/>
              <a:ext cx="152400" cy="182563"/>
            </a:xfrm>
            <a:custGeom>
              <a:avLst/>
              <a:gdLst>
                <a:gd name="T0" fmla="*/ 0 w 96"/>
                <a:gd name="T1" fmla="*/ 0 h 115"/>
                <a:gd name="T2" fmla="*/ 0 w 96"/>
                <a:gd name="T3" fmla="*/ 67 h 115"/>
                <a:gd name="T4" fmla="*/ 39 w 96"/>
                <a:gd name="T5" fmla="*/ 107 h 115"/>
                <a:gd name="T6" fmla="*/ 64 w 96"/>
                <a:gd name="T7" fmla="*/ 115 h 115"/>
                <a:gd name="T8" fmla="*/ 96 w 96"/>
                <a:gd name="T9" fmla="*/ 75 h 115"/>
                <a:gd name="T10" fmla="*/ 94 w 96"/>
                <a:gd name="T11" fmla="*/ 54 h 115"/>
                <a:gd name="T12" fmla="*/ 73 w 96"/>
                <a:gd name="T13" fmla="*/ 42 h 115"/>
                <a:gd name="T14" fmla="*/ 77 w 96"/>
                <a:gd name="T15" fmla="*/ 64 h 115"/>
                <a:gd name="T16" fmla="*/ 56 w 96"/>
                <a:gd name="T17" fmla="*/ 91 h 115"/>
                <a:gd name="T18" fmla="*/ 39 w 96"/>
                <a:gd name="T19" fmla="*/ 85 h 115"/>
                <a:gd name="T20" fmla="*/ 1 w 96"/>
                <a:gd name="T21" fmla="*/ 20 h 115"/>
                <a:gd name="T22" fmla="*/ 5 w 96"/>
                <a:gd name="T23" fmla="*/ 3 h 115"/>
                <a:gd name="T24" fmla="*/ 0 w 96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15">
                  <a:moveTo>
                    <a:pt x="0" y="0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10" y="84"/>
                    <a:pt x="24" y="99"/>
                    <a:pt x="39" y="107"/>
                  </a:cubicBezTo>
                  <a:cubicBezTo>
                    <a:pt x="48" y="113"/>
                    <a:pt x="57" y="115"/>
                    <a:pt x="64" y="115"/>
                  </a:cubicBezTo>
                  <a:cubicBezTo>
                    <a:pt x="83" y="115"/>
                    <a:pt x="96" y="100"/>
                    <a:pt x="96" y="75"/>
                  </a:cubicBezTo>
                  <a:cubicBezTo>
                    <a:pt x="96" y="68"/>
                    <a:pt x="95" y="61"/>
                    <a:pt x="94" y="54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6" y="49"/>
                    <a:pt x="77" y="57"/>
                    <a:pt x="77" y="64"/>
                  </a:cubicBezTo>
                  <a:cubicBezTo>
                    <a:pt x="77" y="81"/>
                    <a:pt x="68" y="91"/>
                    <a:pt x="56" y="91"/>
                  </a:cubicBezTo>
                  <a:cubicBezTo>
                    <a:pt x="51" y="91"/>
                    <a:pt x="45" y="89"/>
                    <a:pt x="39" y="85"/>
                  </a:cubicBezTo>
                  <a:cubicBezTo>
                    <a:pt x="18" y="73"/>
                    <a:pt x="1" y="44"/>
                    <a:pt x="1" y="20"/>
                  </a:cubicBezTo>
                  <a:cubicBezTo>
                    <a:pt x="1" y="13"/>
                    <a:pt x="3" y="7"/>
                    <a:pt x="5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BC7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0" name="Freeform 328">
              <a:extLst>
                <a:ext uri="{FF2B5EF4-FFF2-40B4-BE49-F238E27FC236}">
                  <a16:creationId xmlns:a16="http://schemas.microsoft.com/office/drawing/2014/main" id="{9C01DA5D-0D3E-4480-AA7F-6B17998A5C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9763" y="2034601"/>
              <a:ext cx="460375" cy="792163"/>
            </a:xfrm>
            <a:custGeom>
              <a:avLst/>
              <a:gdLst>
                <a:gd name="T0" fmla="*/ 1 w 290"/>
                <a:gd name="T1" fmla="*/ 0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166 h 499"/>
                <a:gd name="T8" fmla="*/ 1 w 29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9">
                  <a:moveTo>
                    <a:pt x="1" y="0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16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1" name="Freeform 329">
              <a:extLst>
                <a:ext uri="{FF2B5EF4-FFF2-40B4-BE49-F238E27FC236}">
                  <a16:creationId xmlns:a16="http://schemas.microsoft.com/office/drawing/2014/main" id="{BA0E8BC0-B0DC-4572-82CA-B099948C8C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4088" y="2566414"/>
              <a:ext cx="31750" cy="82550"/>
            </a:xfrm>
            <a:custGeom>
              <a:avLst/>
              <a:gdLst>
                <a:gd name="T0" fmla="*/ 0 w 20"/>
                <a:gd name="T1" fmla="*/ 0 h 52"/>
                <a:gd name="T2" fmla="*/ 0 w 20"/>
                <a:gd name="T3" fmla="*/ 41 h 52"/>
                <a:gd name="T4" fmla="*/ 20 w 20"/>
                <a:gd name="T5" fmla="*/ 52 h 52"/>
                <a:gd name="T6" fmla="*/ 20 w 20"/>
                <a:gd name="T7" fmla="*/ 11 h 52"/>
                <a:gd name="T8" fmla="*/ 0 w 20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2">
                  <a:moveTo>
                    <a:pt x="0" y="0"/>
                  </a:moveTo>
                  <a:lnTo>
                    <a:pt x="0" y="41"/>
                  </a:lnTo>
                  <a:lnTo>
                    <a:pt x="20" y="52"/>
                  </a:lnTo>
                  <a:lnTo>
                    <a:pt x="2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2" name="Freeform 330">
              <a:extLst>
                <a:ext uri="{FF2B5EF4-FFF2-40B4-BE49-F238E27FC236}">
                  <a16:creationId xmlns:a16="http://schemas.microsoft.com/office/drawing/2014/main" id="{9CF0CEAA-6DB9-4919-BD6F-F4583AB187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0113" y="2480689"/>
              <a:ext cx="31750" cy="138113"/>
            </a:xfrm>
            <a:custGeom>
              <a:avLst/>
              <a:gdLst>
                <a:gd name="T0" fmla="*/ 0 w 20"/>
                <a:gd name="T1" fmla="*/ 0 h 87"/>
                <a:gd name="T2" fmla="*/ 0 w 20"/>
                <a:gd name="T3" fmla="*/ 75 h 87"/>
                <a:gd name="T4" fmla="*/ 20 w 20"/>
                <a:gd name="T5" fmla="*/ 87 h 87"/>
                <a:gd name="T6" fmla="*/ 20 w 20"/>
                <a:gd name="T7" fmla="*/ 12 h 87"/>
                <a:gd name="T8" fmla="*/ 0 w 20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7">
                  <a:moveTo>
                    <a:pt x="0" y="0"/>
                  </a:moveTo>
                  <a:lnTo>
                    <a:pt x="0" y="75"/>
                  </a:lnTo>
                  <a:lnTo>
                    <a:pt x="20" y="87"/>
                  </a:lnTo>
                  <a:lnTo>
                    <a:pt x="2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3" name="Freeform 331">
              <a:extLst>
                <a:ext uri="{FF2B5EF4-FFF2-40B4-BE49-F238E27FC236}">
                  <a16:creationId xmlns:a16="http://schemas.microsoft.com/office/drawing/2014/main" id="{68808D22-AB5F-4DE5-8DB0-DCFCA47ECB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6138" y="2398139"/>
              <a:ext cx="33338" cy="188913"/>
            </a:xfrm>
            <a:custGeom>
              <a:avLst/>
              <a:gdLst>
                <a:gd name="T0" fmla="*/ 1 w 21"/>
                <a:gd name="T1" fmla="*/ 0 h 119"/>
                <a:gd name="T2" fmla="*/ 0 w 21"/>
                <a:gd name="T3" fmla="*/ 108 h 119"/>
                <a:gd name="T4" fmla="*/ 21 w 21"/>
                <a:gd name="T5" fmla="*/ 119 h 119"/>
                <a:gd name="T6" fmla="*/ 21 w 21"/>
                <a:gd name="T7" fmla="*/ 11 h 119"/>
                <a:gd name="T8" fmla="*/ 1 w 21"/>
                <a:gd name="T9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19">
                  <a:moveTo>
                    <a:pt x="1" y="0"/>
                  </a:moveTo>
                  <a:lnTo>
                    <a:pt x="0" y="108"/>
                  </a:lnTo>
                  <a:lnTo>
                    <a:pt x="21" y="119"/>
                  </a:lnTo>
                  <a:lnTo>
                    <a:pt x="21" y="1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4" name="Freeform 332">
              <a:extLst>
                <a:ext uri="{FF2B5EF4-FFF2-40B4-BE49-F238E27FC236}">
                  <a16:creationId xmlns:a16="http://schemas.microsoft.com/office/drawing/2014/main" id="{A28827CF-4C0D-4E95-BA83-24CF02D1AF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751" y="2312414"/>
              <a:ext cx="31750" cy="244475"/>
            </a:xfrm>
            <a:custGeom>
              <a:avLst/>
              <a:gdLst>
                <a:gd name="T0" fmla="*/ 0 w 20"/>
                <a:gd name="T1" fmla="*/ 0 h 154"/>
                <a:gd name="T2" fmla="*/ 0 w 20"/>
                <a:gd name="T3" fmla="*/ 142 h 154"/>
                <a:gd name="T4" fmla="*/ 20 w 20"/>
                <a:gd name="T5" fmla="*/ 154 h 154"/>
                <a:gd name="T6" fmla="*/ 20 w 20"/>
                <a:gd name="T7" fmla="*/ 12 h 154"/>
                <a:gd name="T8" fmla="*/ 0 w 20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54">
                  <a:moveTo>
                    <a:pt x="0" y="0"/>
                  </a:moveTo>
                  <a:lnTo>
                    <a:pt x="0" y="142"/>
                  </a:lnTo>
                  <a:lnTo>
                    <a:pt x="20" y="154"/>
                  </a:lnTo>
                  <a:lnTo>
                    <a:pt x="2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5" name="Freeform 333">
              <a:extLst>
                <a:ext uri="{FF2B5EF4-FFF2-40B4-BE49-F238E27FC236}">
                  <a16:creationId xmlns:a16="http://schemas.microsoft.com/office/drawing/2014/main" id="{FBA9996A-8C2D-4AFB-B189-0548945270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6" y="2196526"/>
              <a:ext cx="33338" cy="330200"/>
            </a:xfrm>
            <a:custGeom>
              <a:avLst/>
              <a:gdLst>
                <a:gd name="T0" fmla="*/ 1 w 21"/>
                <a:gd name="T1" fmla="*/ 0 h 208"/>
                <a:gd name="T2" fmla="*/ 0 w 21"/>
                <a:gd name="T3" fmla="*/ 196 h 208"/>
                <a:gd name="T4" fmla="*/ 21 w 21"/>
                <a:gd name="T5" fmla="*/ 208 h 208"/>
                <a:gd name="T6" fmla="*/ 21 w 21"/>
                <a:gd name="T7" fmla="*/ 12 h 208"/>
                <a:gd name="T8" fmla="*/ 1 w 21"/>
                <a:gd name="T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08">
                  <a:moveTo>
                    <a:pt x="1" y="0"/>
                  </a:moveTo>
                  <a:lnTo>
                    <a:pt x="0" y="196"/>
                  </a:lnTo>
                  <a:lnTo>
                    <a:pt x="21" y="208"/>
                  </a:lnTo>
                  <a:lnTo>
                    <a:pt x="21" y="1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6" name="Freeform 334">
              <a:extLst>
                <a:ext uri="{FF2B5EF4-FFF2-40B4-BE49-F238E27FC236}">
                  <a16:creationId xmlns:a16="http://schemas.microsoft.com/office/drawing/2014/main" id="{4C4310AD-4961-4701-AEED-A2991DB726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20213" y="2869626"/>
              <a:ext cx="112713" cy="568325"/>
            </a:xfrm>
            <a:custGeom>
              <a:avLst/>
              <a:gdLst>
                <a:gd name="T0" fmla="*/ 0 w 71"/>
                <a:gd name="T1" fmla="*/ 358 h 358"/>
                <a:gd name="T2" fmla="*/ 70 w 71"/>
                <a:gd name="T3" fmla="*/ 318 h 358"/>
                <a:gd name="T4" fmla="*/ 71 w 71"/>
                <a:gd name="T5" fmla="*/ 0 h 358"/>
                <a:gd name="T6" fmla="*/ 1 w 71"/>
                <a:gd name="T7" fmla="*/ 41 h 358"/>
                <a:gd name="T8" fmla="*/ 0 w 71"/>
                <a:gd name="T9" fmla="*/ 358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358">
                  <a:moveTo>
                    <a:pt x="0" y="358"/>
                  </a:moveTo>
                  <a:lnTo>
                    <a:pt x="70" y="318"/>
                  </a:lnTo>
                  <a:lnTo>
                    <a:pt x="71" y="0"/>
                  </a:lnTo>
                  <a:lnTo>
                    <a:pt x="1" y="41"/>
                  </a:lnTo>
                  <a:lnTo>
                    <a:pt x="0" y="358"/>
                  </a:lnTo>
                  <a:close/>
                </a:path>
              </a:pathLst>
            </a:custGeom>
            <a:solidFill>
              <a:srgbClr val="00AC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7" name="Freeform 335">
              <a:extLst>
                <a:ext uri="{FF2B5EF4-FFF2-40B4-BE49-F238E27FC236}">
                  <a16:creationId xmlns:a16="http://schemas.microsoft.com/office/drawing/2014/main" id="{09C619A7-6913-4126-9B24-AD5333BC84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83651" y="2618801"/>
              <a:ext cx="549275" cy="315913"/>
            </a:xfrm>
            <a:custGeom>
              <a:avLst/>
              <a:gdLst>
                <a:gd name="T0" fmla="*/ 276 w 346"/>
                <a:gd name="T1" fmla="*/ 199 h 199"/>
                <a:gd name="T2" fmla="*/ 346 w 346"/>
                <a:gd name="T3" fmla="*/ 158 h 199"/>
                <a:gd name="T4" fmla="*/ 70 w 346"/>
                <a:gd name="T5" fmla="*/ 0 h 199"/>
                <a:gd name="T6" fmla="*/ 0 w 346"/>
                <a:gd name="T7" fmla="*/ 41 h 199"/>
                <a:gd name="T8" fmla="*/ 276 w 346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6" h="199">
                  <a:moveTo>
                    <a:pt x="276" y="199"/>
                  </a:moveTo>
                  <a:lnTo>
                    <a:pt x="346" y="158"/>
                  </a:lnTo>
                  <a:lnTo>
                    <a:pt x="70" y="0"/>
                  </a:lnTo>
                  <a:lnTo>
                    <a:pt x="0" y="41"/>
                  </a:lnTo>
                  <a:lnTo>
                    <a:pt x="276" y="199"/>
                  </a:lnTo>
                  <a:close/>
                </a:path>
              </a:pathLst>
            </a:custGeom>
            <a:solidFill>
              <a:srgbClr val="008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8" name="Freeform 336">
              <a:extLst>
                <a:ext uri="{FF2B5EF4-FFF2-40B4-BE49-F238E27FC236}">
                  <a16:creationId xmlns:a16="http://schemas.microsoft.com/office/drawing/2014/main" id="{F6088ACA-3E64-4EA7-8B2C-2E54AECE14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82063" y="2683889"/>
              <a:ext cx="439738" cy="754063"/>
            </a:xfrm>
            <a:custGeom>
              <a:avLst/>
              <a:gdLst>
                <a:gd name="T0" fmla="*/ 1 w 277"/>
                <a:gd name="T1" fmla="*/ 0 h 475"/>
                <a:gd name="T2" fmla="*/ 0 w 277"/>
                <a:gd name="T3" fmla="*/ 316 h 475"/>
                <a:gd name="T4" fmla="*/ 276 w 277"/>
                <a:gd name="T5" fmla="*/ 475 h 475"/>
                <a:gd name="T6" fmla="*/ 277 w 277"/>
                <a:gd name="T7" fmla="*/ 158 h 475"/>
                <a:gd name="T8" fmla="*/ 1 w 277"/>
                <a:gd name="T9" fmla="*/ 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7" h="475">
                  <a:moveTo>
                    <a:pt x="1" y="0"/>
                  </a:moveTo>
                  <a:lnTo>
                    <a:pt x="0" y="316"/>
                  </a:lnTo>
                  <a:lnTo>
                    <a:pt x="276" y="475"/>
                  </a:lnTo>
                  <a:lnTo>
                    <a:pt x="277" y="15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29" name="Freeform 337">
              <a:extLst>
                <a:ext uri="{FF2B5EF4-FFF2-40B4-BE49-F238E27FC236}">
                  <a16:creationId xmlns:a16="http://schemas.microsoft.com/office/drawing/2014/main" id="{E92538AC-0102-4A78-B6B7-775DA613C5D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99538" y="2869626"/>
              <a:ext cx="180975" cy="376238"/>
            </a:xfrm>
            <a:custGeom>
              <a:avLst/>
              <a:gdLst>
                <a:gd name="T0" fmla="*/ 114 w 114"/>
                <a:gd name="T1" fmla="*/ 124 h 237"/>
                <a:gd name="T2" fmla="*/ 57 w 114"/>
                <a:gd name="T3" fmla="*/ 237 h 237"/>
                <a:gd name="T4" fmla="*/ 0 w 114"/>
                <a:gd name="T5" fmla="*/ 59 h 237"/>
                <a:gd name="T6" fmla="*/ 57 w 114"/>
                <a:gd name="T7" fmla="*/ 18 h 237"/>
                <a:gd name="T8" fmla="*/ 114 w 114"/>
                <a:gd name="T9" fmla="*/ 124 h 237"/>
                <a:gd name="T10" fmla="*/ 57 w 114"/>
                <a:gd name="T11" fmla="*/ 122 h 237"/>
                <a:gd name="T12" fmla="*/ 86 w 114"/>
                <a:gd name="T13" fmla="*/ 105 h 237"/>
                <a:gd name="T14" fmla="*/ 57 w 114"/>
                <a:gd name="T15" fmla="*/ 55 h 237"/>
                <a:gd name="T16" fmla="*/ 28 w 114"/>
                <a:gd name="T17" fmla="*/ 72 h 237"/>
                <a:gd name="T18" fmla="*/ 57 w 114"/>
                <a:gd name="T19" fmla="*/ 12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237">
                  <a:moveTo>
                    <a:pt x="114" y="124"/>
                  </a:moveTo>
                  <a:cubicBezTo>
                    <a:pt x="114" y="169"/>
                    <a:pt x="60" y="234"/>
                    <a:pt x="57" y="237"/>
                  </a:cubicBezTo>
                  <a:cubicBezTo>
                    <a:pt x="54" y="230"/>
                    <a:pt x="0" y="103"/>
                    <a:pt x="0" y="59"/>
                  </a:cubicBezTo>
                  <a:cubicBezTo>
                    <a:pt x="0" y="14"/>
                    <a:pt x="26" y="0"/>
                    <a:pt x="57" y="18"/>
                  </a:cubicBezTo>
                  <a:cubicBezTo>
                    <a:pt x="89" y="36"/>
                    <a:pt x="114" y="80"/>
                    <a:pt x="114" y="124"/>
                  </a:cubicBezTo>
                  <a:close/>
                  <a:moveTo>
                    <a:pt x="57" y="122"/>
                  </a:moveTo>
                  <a:cubicBezTo>
                    <a:pt x="73" y="131"/>
                    <a:pt x="86" y="123"/>
                    <a:pt x="86" y="105"/>
                  </a:cubicBezTo>
                  <a:cubicBezTo>
                    <a:pt x="86" y="87"/>
                    <a:pt x="73" y="64"/>
                    <a:pt x="57" y="55"/>
                  </a:cubicBezTo>
                  <a:cubicBezTo>
                    <a:pt x="41" y="46"/>
                    <a:pt x="28" y="53"/>
                    <a:pt x="28" y="72"/>
                  </a:cubicBezTo>
                  <a:cubicBezTo>
                    <a:pt x="28" y="90"/>
                    <a:pt x="41" y="112"/>
                    <a:pt x="57" y="122"/>
                  </a:cubicBezTo>
                </a:path>
              </a:pathLst>
            </a:custGeom>
            <a:solidFill>
              <a:srgbClr val="F1F8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0" name="Freeform 338">
              <a:extLst>
                <a:ext uri="{FF2B5EF4-FFF2-40B4-BE49-F238E27FC236}">
                  <a16:creationId xmlns:a16="http://schemas.microsoft.com/office/drawing/2014/main" id="{3D6DE106-3816-49A1-B945-CFC06BF550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94388" y="1731389"/>
              <a:ext cx="855663" cy="1793875"/>
            </a:xfrm>
            <a:custGeom>
              <a:avLst/>
              <a:gdLst>
                <a:gd name="T0" fmla="*/ 539 w 539"/>
                <a:gd name="T1" fmla="*/ 821 h 1130"/>
                <a:gd name="T2" fmla="*/ 538 w 539"/>
                <a:gd name="T3" fmla="*/ 0 h 1130"/>
                <a:gd name="T4" fmla="*/ 0 w 539"/>
                <a:gd name="T5" fmla="*/ 310 h 1130"/>
                <a:gd name="T6" fmla="*/ 1 w 539"/>
                <a:gd name="T7" fmla="*/ 1130 h 1130"/>
                <a:gd name="T8" fmla="*/ 539 w 539"/>
                <a:gd name="T9" fmla="*/ 821 h 1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9" h="1130">
                  <a:moveTo>
                    <a:pt x="539" y="821"/>
                  </a:moveTo>
                  <a:lnTo>
                    <a:pt x="538" y="0"/>
                  </a:lnTo>
                  <a:lnTo>
                    <a:pt x="0" y="310"/>
                  </a:lnTo>
                  <a:lnTo>
                    <a:pt x="1" y="1130"/>
                  </a:lnTo>
                  <a:lnTo>
                    <a:pt x="539" y="821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1" name="Freeform 339">
              <a:extLst>
                <a:ext uri="{FF2B5EF4-FFF2-40B4-BE49-F238E27FC236}">
                  <a16:creationId xmlns:a16="http://schemas.microsoft.com/office/drawing/2014/main" id="{44044214-506F-47B7-AC71-9A3A3FA842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37251" y="1766314"/>
              <a:ext cx="855663" cy="1793875"/>
            </a:xfrm>
            <a:custGeom>
              <a:avLst/>
              <a:gdLst>
                <a:gd name="T0" fmla="*/ 539 w 539"/>
                <a:gd name="T1" fmla="*/ 820 h 1130"/>
                <a:gd name="T2" fmla="*/ 539 w 539"/>
                <a:gd name="T3" fmla="*/ 0 h 1130"/>
                <a:gd name="T4" fmla="*/ 0 w 539"/>
                <a:gd name="T5" fmla="*/ 309 h 1130"/>
                <a:gd name="T6" fmla="*/ 1 w 539"/>
                <a:gd name="T7" fmla="*/ 1130 h 1130"/>
                <a:gd name="T8" fmla="*/ 539 w 539"/>
                <a:gd name="T9" fmla="*/ 820 h 1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9" h="1130">
                  <a:moveTo>
                    <a:pt x="539" y="820"/>
                  </a:moveTo>
                  <a:lnTo>
                    <a:pt x="539" y="0"/>
                  </a:lnTo>
                  <a:lnTo>
                    <a:pt x="0" y="309"/>
                  </a:lnTo>
                  <a:lnTo>
                    <a:pt x="1" y="1130"/>
                  </a:lnTo>
                  <a:lnTo>
                    <a:pt x="539" y="82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2" name="Freeform 340">
              <a:extLst>
                <a:ext uri="{FF2B5EF4-FFF2-40B4-BE49-F238E27FC236}">
                  <a16:creationId xmlns:a16="http://schemas.microsoft.com/office/drawing/2014/main" id="{E74EECAF-F7E9-41DD-BEB5-510EB9E95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1701" y="1799651"/>
              <a:ext cx="855663" cy="1793875"/>
            </a:xfrm>
            <a:custGeom>
              <a:avLst/>
              <a:gdLst>
                <a:gd name="T0" fmla="*/ 539 w 539"/>
                <a:gd name="T1" fmla="*/ 821 h 1130"/>
                <a:gd name="T2" fmla="*/ 538 w 539"/>
                <a:gd name="T3" fmla="*/ 0 h 1130"/>
                <a:gd name="T4" fmla="*/ 0 w 539"/>
                <a:gd name="T5" fmla="*/ 310 h 1130"/>
                <a:gd name="T6" fmla="*/ 0 w 539"/>
                <a:gd name="T7" fmla="*/ 1130 h 1130"/>
                <a:gd name="T8" fmla="*/ 539 w 539"/>
                <a:gd name="T9" fmla="*/ 821 h 1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9" h="1130">
                  <a:moveTo>
                    <a:pt x="539" y="821"/>
                  </a:moveTo>
                  <a:lnTo>
                    <a:pt x="538" y="0"/>
                  </a:lnTo>
                  <a:lnTo>
                    <a:pt x="0" y="310"/>
                  </a:lnTo>
                  <a:lnTo>
                    <a:pt x="0" y="1130"/>
                  </a:lnTo>
                  <a:lnTo>
                    <a:pt x="539" y="821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3" name="Freeform 341">
              <a:extLst>
                <a:ext uri="{FF2B5EF4-FFF2-40B4-BE49-F238E27FC236}">
                  <a16:creationId xmlns:a16="http://schemas.microsoft.com/office/drawing/2014/main" id="{ABACF135-56F1-4D5B-882A-14BD02C10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838" y="1979039"/>
              <a:ext cx="684213" cy="517525"/>
            </a:xfrm>
            <a:custGeom>
              <a:avLst/>
              <a:gdLst>
                <a:gd name="T0" fmla="*/ 431 w 431"/>
                <a:gd name="T1" fmla="*/ 78 h 326"/>
                <a:gd name="T2" fmla="*/ 431 w 431"/>
                <a:gd name="T3" fmla="*/ 0 h 326"/>
                <a:gd name="T4" fmla="*/ 0 w 431"/>
                <a:gd name="T5" fmla="*/ 248 h 326"/>
                <a:gd name="T6" fmla="*/ 0 w 431"/>
                <a:gd name="T7" fmla="*/ 326 h 326"/>
                <a:gd name="T8" fmla="*/ 431 w 431"/>
                <a:gd name="T9" fmla="*/ 7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326">
                  <a:moveTo>
                    <a:pt x="431" y="78"/>
                  </a:moveTo>
                  <a:lnTo>
                    <a:pt x="431" y="0"/>
                  </a:lnTo>
                  <a:lnTo>
                    <a:pt x="0" y="248"/>
                  </a:lnTo>
                  <a:lnTo>
                    <a:pt x="0" y="326"/>
                  </a:lnTo>
                  <a:lnTo>
                    <a:pt x="431" y="78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4" name="Freeform 342">
              <a:extLst>
                <a:ext uri="{FF2B5EF4-FFF2-40B4-BE49-F238E27FC236}">
                  <a16:creationId xmlns:a16="http://schemas.microsoft.com/office/drawing/2014/main" id="{131D1422-4AB0-4EEF-A2D6-B49B98A75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838" y="2171126"/>
              <a:ext cx="684213" cy="517525"/>
            </a:xfrm>
            <a:custGeom>
              <a:avLst/>
              <a:gdLst>
                <a:gd name="T0" fmla="*/ 431 w 431"/>
                <a:gd name="T1" fmla="*/ 78 h 326"/>
                <a:gd name="T2" fmla="*/ 431 w 431"/>
                <a:gd name="T3" fmla="*/ 0 h 326"/>
                <a:gd name="T4" fmla="*/ 0 w 431"/>
                <a:gd name="T5" fmla="*/ 248 h 326"/>
                <a:gd name="T6" fmla="*/ 0 w 431"/>
                <a:gd name="T7" fmla="*/ 326 h 326"/>
                <a:gd name="T8" fmla="*/ 431 w 431"/>
                <a:gd name="T9" fmla="*/ 7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326">
                  <a:moveTo>
                    <a:pt x="431" y="78"/>
                  </a:moveTo>
                  <a:lnTo>
                    <a:pt x="431" y="0"/>
                  </a:lnTo>
                  <a:lnTo>
                    <a:pt x="0" y="248"/>
                  </a:lnTo>
                  <a:lnTo>
                    <a:pt x="0" y="326"/>
                  </a:lnTo>
                  <a:lnTo>
                    <a:pt x="431" y="78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5" name="Freeform 343">
              <a:extLst>
                <a:ext uri="{FF2B5EF4-FFF2-40B4-BE49-F238E27FC236}">
                  <a16:creationId xmlns:a16="http://schemas.microsoft.com/office/drawing/2014/main" id="{F604AAD4-C553-4176-88F0-4F821F0F52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838" y="2715639"/>
              <a:ext cx="684213" cy="514350"/>
            </a:xfrm>
            <a:custGeom>
              <a:avLst/>
              <a:gdLst>
                <a:gd name="T0" fmla="*/ 431 w 431"/>
                <a:gd name="T1" fmla="*/ 78 h 324"/>
                <a:gd name="T2" fmla="*/ 431 w 431"/>
                <a:gd name="T3" fmla="*/ 0 h 324"/>
                <a:gd name="T4" fmla="*/ 0 w 431"/>
                <a:gd name="T5" fmla="*/ 246 h 324"/>
                <a:gd name="T6" fmla="*/ 0 w 431"/>
                <a:gd name="T7" fmla="*/ 324 h 324"/>
                <a:gd name="T8" fmla="*/ 431 w 431"/>
                <a:gd name="T9" fmla="*/ 7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324">
                  <a:moveTo>
                    <a:pt x="431" y="78"/>
                  </a:moveTo>
                  <a:lnTo>
                    <a:pt x="431" y="0"/>
                  </a:lnTo>
                  <a:lnTo>
                    <a:pt x="0" y="246"/>
                  </a:lnTo>
                  <a:lnTo>
                    <a:pt x="0" y="324"/>
                  </a:lnTo>
                  <a:lnTo>
                    <a:pt x="431" y="78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6" name="Freeform 344">
              <a:extLst>
                <a:ext uri="{FF2B5EF4-FFF2-40B4-BE49-F238E27FC236}">
                  <a16:creationId xmlns:a16="http://schemas.microsoft.com/office/drawing/2014/main" id="{904A17A7-A6C0-4EF3-86D3-7B59BC31F4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838" y="2906139"/>
              <a:ext cx="684213" cy="517525"/>
            </a:xfrm>
            <a:custGeom>
              <a:avLst/>
              <a:gdLst>
                <a:gd name="T0" fmla="*/ 431 w 431"/>
                <a:gd name="T1" fmla="*/ 78 h 326"/>
                <a:gd name="T2" fmla="*/ 431 w 431"/>
                <a:gd name="T3" fmla="*/ 0 h 326"/>
                <a:gd name="T4" fmla="*/ 0 w 431"/>
                <a:gd name="T5" fmla="*/ 248 h 326"/>
                <a:gd name="T6" fmla="*/ 0 w 431"/>
                <a:gd name="T7" fmla="*/ 326 h 326"/>
                <a:gd name="T8" fmla="*/ 431 w 431"/>
                <a:gd name="T9" fmla="*/ 7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326">
                  <a:moveTo>
                    <a:pt x="431" y="78"/>
                  </a:moveTo>
                  <a:lnTo>
                    <a:pt x="431" y="0"/>
                  </a:lnTo>
                  <a:lnTo>
                    <a:pt x="0" y="248"/>
                  </a:lnTo>
                  <a:lnTo>
                    <a:pt x="0" y="326"/>
                  </a:lnTo>
                  <a:lnTo>
                    <a:pt x="431" y="78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7" name="Freeform 345">
              <a:extLst>
                <a:ext uri="{FF2B5EF4-FFF2-40B4-BE49-F238E27FC236}">
                  <a16:creationId xmlns:a16="http://schemas.microsoft.com/office/drawing/2014/main" id="{5DCB81FC-985B-4E01-8B21-3CB15B2EF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838" y="2588639"/>
              <a:ext cx="266700" cy="439738"/>
            </a:xfrm>
            <a:custGeom>
              <a:avLst/>
              <a:gdLst>
                <a:gd name="T0" fmla="*/ 168 w 168"/>
                <a:gd name="T1" fmla="*/ 180 h 277"/>
                <a:gd name="T2" fmla="*/ 168 w 168"/>
                <a:gd name="T3" fmla="*/ 0 h 277"/>
                <a:gd name="T4" fmla="*/ 0 w 168"/>
                <a:gd name="T5" fmla="*/ 97 h 277"/>
                <a:gd name="T6" fmla="*/ 0 w 168"/>
                <a:gd name="T7" fmla="*/ 277 h 277"/>
                <a:gd name="T8" fmla="*/ 168 w 168"/>
                <a:gd name="T9" fmla="*/ 18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277">
                  <a:moveTo>
                    <a:pt x="168" y="180"/>
                  </a:moveTo>
                  <a:lnTo>
                    <a:pt x="168" y="0"/>
                  </a:lnTo>
                  <a:lnTo>
                    <a:pt x="0" y="97"/>
                  </a:lnTo>
                  <a:lnTo>
                    <a:pt x="0" y="277"/>
                  </a:lnTo>
                  <a:lnTo>
                    <a:pt x="168" y="18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8" name="Freeform 346">
              <a:extLst>
                <a:ext uri="{FF2B5EF4-FFF2-40B4-BE49-F238E27FC236}">
                  <a16:creationId xmlns:a16="http://schemas.microsoft.com/office/drawing/2014/main" id="{0B4D3614-CC4C-4ED1-9F25-869C186E39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18263" y="2426714"/>
              <a:ext cx="300038" cy="409575"/>
            </a:xfrm>
            <a:custGeom>
              <a:avLst/>
              <a:gdLst>
                <a:gd name="T0" fmla="*/ 93 w 189"/>
                <a:gd name="T1" fmla="*/ 156 h 258"/>
                <a:gd name="T2" fmla="*/ 94 w 189"/>
                <a:gd name="T3" fmla="*/ 155 h 258"/>
                <a:gd name="T4" fmla="*/ 187 w 189"/>
                <a:gd name="T5" fmla="*/ 1 h 258"/>
                <a:gd name="T6" fmla="*/ 188 w 189"/>
                <a:gd name="T7" fmla="*/ 0 h 258"/>
                <a:gd name="T8" fmla="*/ 189 w 189"/>
                <a:gd name="T9" fmla="*/ 1 h 258"/>
                <a:gd name="T10" fmla="*/ 189 w 189"/>
                <a:gd name="T11" fmla="*/ 143 h 258"/>
                <a:gd name="T12" fmla="*/ 184 w 189"/>
                <a:gd name="T13" fmla="*/ 151 h 258"/>
                <a:gd name="T14" fmla="*/ 2 w 189"/>
                <a:gd name="T15" fmla="*/ 257 h 258"/>
                <a:gd name="T16" fmla="*/ 0 w 189"/>
                <a:gd name="T17" fmla="*/ 252 h 258"/>
                <a:gd name="T18" fmla="*/ 0 w 189"/>
                <a:gd name="T19" fmla="*/ 110 h 258"/>
                <a:gd name="T20" fmla="*/ 0 w 189"/>
                <a:gd name="T21" fmla="*/ 109 h 258"/>
                <a:gd name="T22" fmla="*/ 1 w 189"/>
                <a:gd name="T23" fmla="*/ 108 h 258"/>
                <a:gd name="T24" fmla="*/ 93 w 189"/>
                <a:gd name="T25" fmla="*/ 156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9" h="258">
                  <a:moveTo>
                    <a:pt x="93" y="156"/>
                  </a:moveTo>
                  <a:cubicBezTo>
                    <a:pt x="93" y="156"/>
                    <a:pt x="93" y="156"/>
                    <a:pt x="94" y="155"/>
                  </a:cubicBezTo>
                  <a:cubicBezTo>
                    <a:pt x="187" y="1"/>
                    <a:pt x="187" y="1"/>
                    <a:pt x="187" y="1"/>
                  </a:cubicBezTo>
                  <a:cubicBezTo>
                    <a:pt x="187" y="1"/>
                    <a:pt x="188" y="0"/>
                    <a:pt x="188" y="0"/>
                  </a:cubicBezTo>
                  <a:cubicBezTo>
                    <a:pt x="188" y="0"/>
                    <a:pt x="189" y="0"/>
                    <a:pt x="189" y="1"/>
                  </a:cubicBezTo>
                  <a:cubicBezTo>
                    <a:pt x="189" y="143"/>
                    <a:pt x="189" y="143"/>
                    <a:pt x="189" y="143"/>
                  </a:cubicBezTo>
                  <a:cubicBezTo>
                    <a:pt x="189" y="146"/>
                    <a:pt x="186" y="150"/>
                    <a:pt x="184" y="151"/>
                  </a:cubicBezTo>
                  <a:cubicBezTo>
                    <a:pt x="2" y="257"/>
                    <a:pt x="2" y="257"/>
                    <a:pt x="2" y="257"/>
                  </a:cubicBezTo>
                  <a:cubicBezTo>
                    <a:pt x="0" y="258"/>
                    <a:pt x="0" y="255"/>
                    <a:pt x="0" y="25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8"/>
                    <a:pt x="0" y="108"/>
                    <a:pt x="1" y="108"/>
                  </a:cubicBezTo>
                  <a:lnTo>
                    <a:pt x="93" y="156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39" name="Freeform 347">
              <a:extLst>
                <a:ext uri="{FF2B5EF4-FFF2-40B4-BE49-F238E27FC236}">
                  <a16:creationId xmlns:a16="http://schemas.microsoft.com/office/drawing/2014/main" id="{E252194E-07A7-4C2C-B358-A32018F4E0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18263" y="2379089"/>
              <a:ext cx="300038" cy="238125"/>
            </a:xfrm>
            <a:custGeom>
              <a:avLst/>
              <a:gdLst>
                <a:gd name="T0" fmla="*/ 0 w 189"/>
                <a:gd name="T1" fmla="*/ 115 h 150"/>
                <a:gd name="T2" fmla="*/ 0 w 189"/>
                <a:gd name="T3" fmla="*/ 113 h 150"/>
                <a:gd name="T4" fmla="*/ 2 w 189"/>
                <a:gd name="T5" fmla="*/ 107 h 150"/>
                <a:gd name="T6" fmla="*/ 184 w 189"/>
                <a:gd name="T7" fmla="*/ 2 h 150"/>
                <a:gd name="T8" fmla="*/ 189 w 189"/>
                <a:gd name="T9" fmla="*/ 3 h 150"/>
                <a:gd name="T10" fmla="*/ 189 w 189"/>
                <a:gd name="T11" fmla="*/ 6 h 150"/>
                <a:gd name="T12" fmla="*/ 94 w 189"/>
                <a:gd name="T13" fmla="*/ 150 h 150"/>
                <a:gd name="T14" fmla="*/ 93 w 189"/>
                <a:gd name="T15" fmla="*/ 150 h 150"/>
                <a:gd name="T16" fmla="*/ 0 w 189"/>
                <a:gd name="T17" fmla="*/ 11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9" h="150">
                  <a:moveTo>
                    <a:pt x="0" y="115"/>
                  </a:moveTo>
                  <a:cubicBezTo>
                    <a:pt x="0" y="113"/>
                    <a:pt x="0" y="113"/>
                    <a:pt x="0" y="113"/>
                  </a:cubicBezTo>
                  <a:cubicBezTo>
                    <a:pt x="0" y="110"/>
                    <a:pt x="0" y="108"/>
                    <a:pt x="2" y="107"/>
                  </a:cubicBezTo>
                  <a:cubicBezTo>
                    <a:pt x="184" y="2"/>
                    <a:pt x="184" y="2"/>
                    <a:pt x="184" y="2"/>
                  </a:cubicBezTo>
                  <a:cubicBezTo>
                    <a:pt x="186" y="1"/>
                    <a:pt x="189" y="0"/>
                    <a:pt x="189" y="3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94" y="150"/>
                    <a:pt x="94" y="150"/>
                    <a:pt x="94" y="150"/>
                  </a:cubicBezTo>
                  <a:cubicBezTo>
                    <a:pt x="94" y="150"/>
                    <a:pt x="94" y="150"/>
                    <a:pt x="93" y="150"/>
                  </a:cubicBezTo>
                  <a:lnTo>
                    <a:pt x="0" y="115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0" name="Freeform 348">
              <a:extLst>
                <a:ext uri="{FF2B5EF4-FFF2-40B4-BE49-F238E27FC236}">
                  <a16:creationId xmlns:a16="http://schemas.microsoft.com/office/drawing/2014/main" id="{819EC078-DED2-4DDA-B87E-7497BC919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1401" y="2917251"/>
              <a:ext cx="82550" cy="987425"/>
            </a:xfrm>
            <a:custGeom>
              <a:avLst/>
              <a:gdLst>
                <a:gd name="T0" fmla="*/ 0 w 52"/>
                <a:gd name="T1" fmla="*/ 30 h 622"/>
                <a:gd name="T2" fmla="*/ 0 w 52"/>
                <a:gd name="T3" fmla="*/ 622 h 622"/>
                <a:gd name="T4" fmla="*/ 52 w 52"/>
                <a:gd name="T5" fmla="*/ 592 h 622"/>
                <a:gd name="T6" fmla="*/ 52 w 52"/>
                <a:gd name="T7" fmla="*/ 0 h 622"/>
                <a:gd name="T8" fmla="*/ 0 w 52"/>
                <a:gd name="T9" fmla="*/ 3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22">
                  <a:moveTo>
                    <a:pt x="0" y="30"/>
                  </a:moveTo>
                  <a:lnTo>
                    <a:pt x="0" y="622"/>
                  </a:lnTo>
                  <a:lnTo>
                    <a:pt x="52" y="592"/>
                  </a:lnTo>
                  <a:lnTo>
                    <a:pt x="52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AFB4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1" name="Freeform 349">
              <a:extLst>
                <a:ext uri="{FF2B5EF4-FFF2-40B4-BE49-F238E27FC236}">
                  <a16:creationId xmlns:a16="http://schemas.microsoft.com/office/drawing/2014/main" id="{2BFB7C30-52D3-4CE0-AE5A-59C480B3D9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1401" y="2866451"/>
              <a:ext cx="169863" cy="1038225"/>
            </a:xfrm>
            <a:custGeom>
              <a:avLst/>
              <a:gdLst>
                <a:gd name="T0" fmla="*/ 0 w 107"/>
                <a:gd name="T1" fmla="*/ 62 h 654"/>
                <a:gd name="T2" fmla="*/ 52 w 107"/>
                <a:gd name="T3" fmla="*/ 32 h 654"/>
                <a:gd name="T4" fmla="*/ 52 w 107"/>
                <a:gd name="T5" fmla="*/ 624 h 654"/>
                <a:gd name="T6" fmla="*/ 0 w 107"/>
                <a:gd name="T7" fmla="*/ 654 h 654"/>
                <a:gd name="T8" fmla="*/ 107 w 107"/>
                <a:gd name="T9" fmla="*/ 592 h 654"/>
                <a:gd name="T10" fmla="*/ 107 w 107"/>
                <a:gd name="T11" fmla="*/ 0 h 654"/>
                <a:gd name="T12" fmla="*/ 0 w 107"/>
                <a:gd name="T13" fmla="*/ 62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654">
                  <a:moveTo>
                    <a:pt x="0" y="62"/>
                  </a:moveTo>
                  <a:lnTo>
                    <a:pt x="52" y="32"/>
                  </a:lnTo>
                  <a:lnTo>
                    <a:pt x="52" y="624"/>
                  </a:lnTo>
                  <a:lnTo>
                    <a:pt x="0" y="654"/>
                  </a:lnTo>
                  <a:lnTo>
                    <a:pt x="107" y="592"/>
                  </a:lnTo>
                  <a:lnTo>
                    <a:pt x="107" y="0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C0CA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2" name="Freeform 350">
              <a:extLst>
                <a:ext uri="{FF2B5EF4-FFF2-40B4-BE49-F238E27FC236}">
                  <a16:creationId xmlns:a16="http://schemas.microsoft.com/office/drawing/2014/main" id="{80A45796-6092-4F69-AFF9-702C0132C9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1401" y="2695001"/>
              <a:ext cx="169863" cy="269875"/>
            </a:xfrm>
            <a:custGeom>
              <a:avLst/>
              <a:gdLst>
                <a:gd name="T0" fmla="*/ 0 w 107"/>
                <a:gd name="T1" fmla="*/ 170 h 170"/>
                <a:gd name="T2" fmla="*/ 107 w 107"/>
                <a:gd name="T3" fmla="*/ 108 h 170"/>
                <a:gd name="T4" fmla="*/ 52 w 107"/>
                <a:gd name="T5" fmla="*/ 0 h 170"/>
                <a:gd name="T6" fmla="*/ 0 w 107"/>
                <a:gd name="T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70">
                  <a:moveTo>
                    <a:pt x="0" y="170"/>
                  </a:moveTo>
                  <a:lnTo>
                    <a:pt x="107" y="108"/>
                  </a:lnTo>
                  <a:lnTo>
                    <a:pt x="52" y="0"/>
                  </a:lnTo>
                  <a:lnTo>
                    <a:pt x="0" y="170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3" name="Freeform 351">
              <a:extLst>
                <a:ext uri="{FF2B5EF4-FFF2-40B4-BE49-F238E27FC236}">
                  <a16:creationId xmlns:a16="http://schemas.microsoft.com/office/drawing/2014/main" id="{2BDBEDBC-C11A-4004-8FB5-07EF080776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56326" y="2695001"/>
              <a:ext cx="100013" cy="158750"/>
            </a:xfrm>
            <a:custGeom>
              <a:avLst/>
              <a:gdLst>
                <a:gd name="T0" fmla="*/ 30 w 63"/>
                <a:gd name="T1" fmla="*/ 0 h 100"/>
                <a:gd name="T2" fmla="*/ 63 w 63"/>
                <a:gd name="T3" fmla="*/ 64 h 100"/>
                <a:gd name="T4" fmla="*/ 0 w 63"/>
                <a:gd name="T5" fmla="*/ 100 h 100"/>
                <a:gd name="T6" fmla="*/ 30 w 63"/>
                <a:gd name="T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100">
                  <a:moveTo>
                    <a:pt x="30" y="0"/>
                  </a:moveTo>
                  <a:lnTo>
                    <a:pt x="63" y="64"/>
                  </a:lnTo>
                  <a:lnTo>
                    <a:pt x="0" y="10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AFB4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4" name="Freeform 352">
              <a:extLst>
                <a:ext uri="{FF2B5EF4-FFF2-40B4-BE49-F238E27FC236}">
                  <a16:creationId xmlns:a16="http://schemas.microsoft.com/office/drawing/2014/main" id="{37887F15-F2EE-4183-B045-EEFD92AF63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26551" y="1588514"/>
              <a:ext cx="122238" cy="1289050"/>
            </a:xfrm>
            <a:custGeom>
              <a:avLst/>
              <a:gdLst>
                <a:gd name="T0" fmla="*/ 77 w 77"/>
                <a:gd name="T1" fmla="*/ 812 h 812"/>
                <a:gd name="T2" fmla="*/ 20 w 77"/>
                <a:gd name="T3" fmla="*/ 0 h 812"/>
                <a:gd name="T4" fmla="*/ 0 w 77"/>
                <a:gd name="T5" fmla="*/ 1 h 812"/>
                <a:gd name="T6" fmla="*/ 56 w 77"/>
                <a:gd name="T7" fmla="*/ 800 h 812"/>
                <a:gd name="T8" fmla="*/ 77 w 77"/>
                <a:gd name="T9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812">
                  <a:moveTo>
                    <a:pt x="77" y="812"/>
                  </a:moveTo>
                  <a:lnTo>
                    <a:pt x="20" y="0"/>
                  </a:lnTo>
                  <a:lnTo>
                    <a:pt x="0" y="1"/>
                  </a:lnTo>
                  <a:lnTo>
                    <a:pt x="56" y="800"/>
                  </a:lnTo>
                  <a:lnTo>
                    <a:pt x="77" y="812"/>
                  </a:ln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5" name="Freeform 353">
              <a:extLst>
                <a:ext uri="{FF2B5EF4-FFF2-40B4-BE49-F238E27FC236}">
                  <a16:creationId xmlns:a16="http://schemas.microsoft.com/office/drawing/2014/main" id="{B3C3A271-1420-4288-ADF7-6F9C0ADF45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83688" y="1409126"/>
              <a:ext cx="185738" cy="234950"/>
            </a:xfrm>
            <a:custGeom>
              <a:avLst/>
              <a:gdLst>
                <a:gd name="T0" fmla="*/ 110 w 117"/>
                <a:gd name="T1" fmla="*/ 132 h 148"/>
                <a:gd name="T2" fmla="*/ 104 w 117"/>
                <a:gd name="T3" fmla="*/ 133 h 148"/>
                <a:gd name="T4" fmla="*/ 95 w 117"/>
                <a:gd name="T5" fmla="*/ 132 h 148"/>
                <a:gd name="T6" fmla="*/ 90 w 117"/>
                <a:gd name="T7" fmla="*/ 131 h 148"/>
                <a:gd name="T8" fmla="*/ 79 w 117"/>
                <a:gd name="T9" fmla="*/ 126 h 148"/>
                <a:gd name="T10" fmla="*/ 69 w 117"/>
                <a:gd name="T11" fmla="*/ 119 h 148"/>
                <a:gd name="T12" fmla="*/ 63 w 117"/>
                <a:gd name="T13" fmla="*/ 114 h 148"/>
                <a:gd name="T14" fmla="*/ 54 w 117"/>
                <a:gd name="T15" fmla="*/ 104 h 148"/>
                <a:gd name="T16" fmla="*/ 50 w 117"/>
                <a:gd name="T17" fmla="*/ 98 h 148"/>
                <a:gd name="T18" fmla="*/ 42 w 117"/>
                <a:gd name="T19" fmla="*/ 87 h 148"/>
                <a:gd name="T20" fmla="*/ 38 w 117"/>
                <a:gd name="T21" fmla="*/ 80 h 148"/>
                <a:gd name="T22" fmla="*/ 33 w 117"/>
                <a:gd name="T23" fmla="*/ 67 h 148"/>
                <a:gd name="T24" fmla="*/ 30 w 117"/>
                <a:gd name="T25" fmla="*/ 60 h 148"/>
                <a:gd name="T26" fmla="*/ 27 w 117"/>
                <a:gd name="T27" fmla="*/ 47 h 148"/>
                <a:gd name="T28" fmla="*/ 27 w 117"/>
                <a:gd name="T29" fmla="*/ 40 h 148"/>
                <a:gd name="T30" fmla="*/ 27 w 117"/>
                <a:gd name="T31" fmla="*/ 28 h 148"/>
                <a:gd name="T32" fmla="*/ 29 w 117"/>
                <a:gd name="T33" fmla="*/ 18 h 148"/>
                <a:gd name="T34" fmla="*/ 31 w 117"/>
                <a:gd name="T35" fmla="*/ 13 h 148"/>
                <a:gd name="T36" fmla="*/ 35 w 117"/>
                <a:gd name="T37" fmla="*/ 6 h 148"/>
                <a:gd name="T38" fmla="*/ 39 w 117"/>
                <a:gd name="T39" fmla="*/ 2 h 148"/>
                <a:gd name="T40" fmla="*/ 13 w 117"/>
                <a:gd name="T41" fmla="*/ 17 h 148"/>
                <a:gd name="T42" fmla="*/ 9 w 117"/>
                <a:gd name="T43" fmla="*/ 21 h 148"/>
                <a:gd name="T44" fmla="*/ 7 w 117"/>
                <a:gd name="T45" fmla="*/ 24 h 148"/>
                <a:gd name="T46" fmla="*/ 5 w 117"/>
                <a:gd name="T47" fmla="*/ 28 h 148"/>
                <a:gd name="T48" fmla="*/ 3 w 117"/>
                <a:gd name="T49" fmla="*/ 33 h 148"/>
                <a:gd name="T50" fmla="*/ 2 w 117"/>
                <a:gd name="T51" fmla="*/ 37 h 148"/>
                <a:gd name="T52" fmla="*/ 1 w 117"/>
                <a:gd name="T53" fmla="*/ 42 h 148"/>
                <a:gd name="T54" fmla="*/ 1 w 117"/>
                <a:gd name="T55" fmla="*/ 44 h 148"/>
                <a:gd name="T56" fmla="*/ 0 w 117"/>
                <a:gd name="T57" fmla="*/ 49 h 148"/>
                <a:gd name="T58" fmla="*/ 1 w 117"/>
                <a:gd name="T59" fmla="*/ 55 h 148"/>
                <a:gd name="T60" fmla="*/ 1 w 117"/>
                <a:gd name="T61" fmla="*/ 59 h 148"/>
                <a:gd name="T62" fmla="*/ 2 w 117"/>
                <a:gd name="T63" fmla="*/ 62 h 148"/>
                <a:gd name="T64" fmla="*/ 3 w 117"/>
                <a:gd name="T65" fmla="*/ 69 h 148"/>
                <a:gd name="T66" fmla="*/ 4 w 117"/>
                <a:gd name="T67" fmla="*/ 73 h 148"/>
                <a:gd name="T68" fmla="*/ 5 w 117"/>
                <a:gd name="T69" fmla="*/ 76 h 148"/>
                <a:gd name="T70" fmla="*/ 7 w 117"/>
                <a:gd name="T71" fmla="*/ 82 h 148"/>
                <a:gd name="T72" fmla="*/ 9 w 117"/>
                <a:gd name="T73" fmla="*/ 87 h 148"/>
                <a:gd name="T74" fmla="*/ 10 w 117"/>
                <a:gd name="T75" fmla="*/ 89 h 148"/>
                <a:gd name="T76" fmla="*/ 12 w 117"/>
                <a:gd name="T77" fmla="*/ 95 h 148"/>
                <a:gd name="T78" fmla="*/ 15 w 117"/>
                <a:gd name="T79" fmla="*/ 100 h 148"/>
                <a:gd name="T80" fmla="*/ 18 w 117"/>
                <a:gd name="T81" fmla="*/ 105 h 148"/>
                <a:gd name="T82" fmla="*/ 24 w 117"/>
                <a:gd name="T83" fmla="*/ 113 h 148"/>
                <a:gd name="T84" fmla="*/ 26 w 117"/>
                <a:gd name="T85" fmla="*/ 117 h 148"/>
                <a:gd name="T86" fmla="*/ 28 w 117"/>
                <a:gd name="T87" fmla="*/ 119 h 148"/>
                <a:gd name="T88" fmla="*/ 33 w 117"/>
                <a:gd name="T89" fmla="*/ 124 h 148"/>
                <a:gd name="T90" fmla="*/ 37 w 117"/>
                <a:gd name="T91" fmla="*/ 128 h 148"/>
                <a:gd name="T92" fmla="*/ 39 w 117"/>
                <a:gd name="T93" fmla="*/ 130 h 148"/>
                <a:gd name="T94" fmla="*/ 43 w 117"/>
                <a:gd name="T95" fmla="*/ 134 h 148"/>
                <a:gd name="T96" fmla="*/ 48 w 117"/>
                <a:gd name="T97" fmla="*/ 137 h 148"/>
                <a:gd name="T98" fmla="*/ 51 w 117"/>
                <a:gd name="T99" fmla="*/ 139 h 148"/>
                <a:gd name="T100" fmla="*/ 55 w 117"/>
                <a:gd name="T101" fmla="*/ 142 h 148"/>
                <a:gd name="T102" fmla="*/ 59 w 117"/>
                <a:gd name="T103" fmla="*/ 144 h 148"/>
                <a:gd name="T104" fmla="*/ 64 w 117"/>
                <a:gd name="T105" fmla="*/ 146 h 148"/>
                <a:gd name="T106" fmla="*/ 66 w 117"/>
                <a:gd name="T107" fmla="*/ 146 h 148"/>
                <a:gd name="T108" fmla="*/ 69 w 117"/>
                <a:gd name="T109" fmla="*/ 147 h 148"/>
                <a:gd name="T110" fmla="*/ 74 w 117"/>
                <a:gd name="T111" fmla="*/ 148 h 148"/>
                <a:gd name="T112" fmla="*/ 77 w 117"/>
                <a:gd name="T113" fmla="*/ 148 h 148"/>
                <a:gd name="T114" fmla="*/ 80 w 117"/>
                <a:gd name="T115" fmla="*/ 148 h 148"/>
                <a:gd name="T116" fmla="*/ 84 w 117"/>
                <a:gd name="T117" fmla="*/ 147 h 148"/>
                <a:gd name="T118" fmla="*/ 91 w 117"/>
                <a:gd name="T119" fmla="*/ 145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7" h="148">
                  <a:moveTo>
                    <a:pt x="117" y="130"/>
                  </a:moveTo>
                  <a:cubicBezTo>
                    <a:pt x="116" y="130"/>
                    <a:pt x="114" y="131"/>
                    <a:pt x="113" y="131"/>
                  </a:cubicBezTo>
                  <a:cubicBezTo>
                    <a:pt x="112" y="132"/>
                    <a:pt x="111" y="132"/>
                    <a:pt x="110" y="132"/>
                  </a:cubicBezTo>
                  <a:cubicBezTo>
                    <a:pt x="109" y="133"/>
                    <a:pt x="109" y="133"/>
                    <a:pt x="109" y="133"/>
                  </a:cubicBezTo>
                  <a:cubicBezTo>
                    <a:pt x="108" y="133"/>
                    <a:pt x="106" y="133"/>
                    <a:pt x="105" y="133"/>
                  </a:cubicBezTo>
                  <a:cubicBezTo>
                    <a:pt x="104" y="133"/>
                    <a:pt x="104" y="133"/>
                    <a:pt x="104" y="133"/>
                  </a:cubicBezTo>
                  <a:cubicBezTo>
                    <a:pt x="103" y="133"/>
                    <a:pt x="102" y="133"/>
                    <a:pt x="100" y="133"/>
                  </a:cubicBezTo>
                  <a:cubicBezTo>
                    <a:pt x="100" y="133"/>
                    <a:pt x="100" y="133"/>
                    <a:pt x="100" y="133"/>
                  </a:cubicBezTo>
                  <a:cubicBezTo>
                    <a:pt x="98" y="133"/>
                    <a:pt x="97" y="133"/>
                    <a:pt x="95" y="132"/>
                  </a:cubicBezTo>
                  <a:cubicBezTo>
                    <a:pt x="95" y="132"/>
                    <a:pt x="95" y="132"/>
                    <a:pt x="95" y="132"/>
                  </a:cubicBezTo>
                  <a:cubicBezTo>
                    <a:pt x="93" y="132"/>
                    <a:pt x="92" y="131"/>
                    <a:pt x="90" y="131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88" y="130"/>
                    <a:pt x="87" y="130"/>
                    <a:pt x="85" y="129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8"/>
                    <a:pt x="81" y="127"/>
                    <a:pt x="79" y="126"/>
                  </a:cubicBezTo>
                  <a:cubicBezTo>
                    <a:pt x="78" y="125"/>
                    <a:pt x="76" y="124"/>
                    <a:pt x="74" y="122"/>
                  </a:cubicBezTo>
                  <a:cubicBezTo>
                    <a:pt x="74" y="122"/>
                    <a:pt x="74" y="122"/>
                    <a:pt x="74" y="122"/>
                  </a:cubicBezTo>
                  <a:cubicBezTo>
                    <a:pt x="72" y="121"/>
                    <a:pt x="70" y="120"/>
                    <a:pt x="69" y="119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67" y="117"/>
                    <a:pt x="65" y="116"/>
                    <a:pt x="64" y="114"/>
                  </a:cubicBezTo>
                  <a:cubicBezTo>
                    <a:pt x="63" y="114"/>
                    <a:pt x="63" y="114"/>
                    <a:pt x="63" y="114"/>
                  </a:cubicBezTo>
                  <a:cubicBezTo>
                    <a:pt x="62" y="112"/>
                    <a:pt x="60" y="111"/>
                    <a:pt x="59" y="109"/>
                  </a:cubicBezTo>
                  <a:cubicBezTo>
                    <a:pt x="59" y="109"/>
                    <a:pt x="59" y="109"/>
                    <a:pt x="59" y="109"/>
                  </a:cubicBezTo>
                  <a:cubicBezTo>
                    <a:pt x="57" y="107"/>
                    <a:pt x="56" y="106"/>
                    <a:pt x="54" y="104"/>
                  </a:cubicBezTo>
                  <a:cubicBezTo>
                    <a:pt x="54" y="104"/>
                    <a:pt x="54" y="104"/>
                    <a:pt x="54" y="104"/>
                  </a:cubicBezTo>
                  <a:cubicBezTo>
                    <a:pt x="53" y="102"/>
                    <a:pt x="51" y="100"/>
                    <a:pt x="50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48" y="96"/>
                    <a:pt x="47" y="95"/>
                    <a:pt x="46" y="93"/>
                  </a:cubicBezTo>
                  <a:cubicBezTo>
                    <a:pt x="45" y="92"/>
                    <a:pt x="45" y="91"/>
                    <a:pt x="44" y="90"/>
                  </a:cubicBezTo>
                  <a:cubicBezTo>
                    <a:pt x="43" y="89"/>
                    <a:pt x="43" y="88"/>
                    <a:pt x="42" y="87"/>
                  </a:cubicBezTo>
                  <a:cubicBezTo>
                    <a:pt x="42" y="86"/>
                    <a:pt x="42" y="86"/>
                    <a:pt x="41" y="85"/>
                  </a:cubicBezTo>
                  <a:cubicBezTo>
                    <a:pt x="40" y="84"/>
                    <a:pt x="39" y="82"/>
                    <a:pt x="39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7" y="78"/>
                    <a:pt x="36" y="76"/>
                    <a:pt x="35" y="74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4" y="71"/>
                    <a:pt x="34" y="69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2" y="65"/>
                    <a:pt x="31" y="63"/>
                    <a:pt x="31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58"/>
                    <a:pt x="29" y="56"/>
                    <a:pt x="29" y="54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1"/>
                    <a:pt x="28" y="49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5"/>
                    <a:pt x="27" y="43"/>
                    <a:pt x="27" y="41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6" y="38"/>
                    <a:pt x="26" y="36"/>
                    <a:pt x="26" y="34"/>
                  </a:cubicBezTo>
                  <a:cubicBezTo>
                    <a:pt x="26" y="32"/>
                    <a:pt x="27" y="30"/>
                    <a:pt x="27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6"/>
                    <a:pt x="27" y="25"/>
                    <a:pt x="27" y="23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1"/>
                    <a:pt x="28" y="19"/>
                    <a:pt x="29" y="18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6"/>
                    <a:pt x="30" y="15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2"/>
                    <a:pt x="32" y="10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4" y="8"/>
                    <a:pt x="34" y="7"/>
                    <a:pt x="35" y="6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4"/>
                    <a:pt x="37" y="4"/>
                    <a:pt x="38" y="3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1" y="1"/>
                    <a:pt x="42" y="0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5" y="16"/>
                    <a:pt x="14" y="17"/>
                    <a:pt x="13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1" y="19"/>
                    <a:pt x="10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2"/>
                    <a:pt x="8" y="23"/>
                    <a:pt x="7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6" y="25"/>
                    <a:pt x="5" y="27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4" y="29"/>
                    <a:pt x="4" y="30"/>
                    <a:pt x="3" y="31"/>
                  </a:cubicBezTo>
                  <a:cubicBezTo>
                    <a:pt x="3" y="31"/>
                    <a:pt x="3" y="32"/>
                    <a:pt x="3" y="32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5"/>
                    <a:pt x="2" y="36"/>
                    <a:pt x="2" y="36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40"/>
                    <a:pt x="1" y="41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1" y="46"/>
                    <a:pt x="1" y="47"/>
                  </a:cubicBezTo>
                  <a:cubicBezTo>
                    <a:pt x="0" y="47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0" y="51"/>
                    <a:pt x="0" y="52"/>
                  </a:cubicBezTo>
                  <a:cubicBezTo>
                    <a:pt x="1" y="53"/>
                    <a:pt x="1" y="53"/>
                    <a:pt x="1" y="54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8"/>
                    <a:pt x="1" y="59"/>
                    <a:pt x="1" y="59"/>
                  </a:cubicBezTo>
                  <a:cubicBezTo>
                    <a:pt x="1" y="60"/>
                    <a:pt x="1" y="61"/>
                    <a:pt x="1" y="6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2" y="63"/>
                    <a:pt x="2" y="64"/>
                    <a:pt x="2" y="65"/>
                  </a:cubicBezTo>
                  <a:cubicBezTo>
                    <a:pt x="2" y="66"/>
                    <a:pt x="2" y="67"/>
                    <a:pt x="3" y="68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3" y="69"/>
                    <a:pt x="3" y="70"/>
                    <a:pt x="3" y="70"/>
                  </a:cubicBezTo>
                  <a:cubicBezTo>
                    <a:pt x="3" y="71"/>
                    <a:pt x="4" y="72"/>
                    <a:pt x="4" y="73"/>
                  </a:cubicBezTo>
                  <a:cubicBezTo>
                    <a:pt x="4" y="74"/>
                    <a:pt x="4" y="75"/>
                    <a:pt x="5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7"/>
                    <a:pt x="5" y="78"/>
                    <a:pt x="6" y="79"/>
                  </a:cubicBezTo>
                  <a:cubicBezTo>
                    <a:pt x="6" y="80"/>
                    <a:pt x="6" y="80"/>
                    <a:pt x="7" y="81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7" y="83"/>
                    <a:pt x="7" y="83"/>
                    <a:pt x="8" y="84"/>
                  </a:cubicBezTo>
                  <a:cubicBezTo>
                    <a:pt x="8" y="85"/>
                    <a:pt x="8" y="86"/>
                    <a:pt x="9" y="87"/>
                  </a:cubicBezTo>
                  <a:cubicBezTo>
                    <a:pt x="9" y="87"/>
                    <a:pt x="9" y="88"/>
                    <a:pt x="9" y="88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90"/>
                    <a:pt x="10" y="91"/>
                    <a:pt x="11" y="92"/>
                  </a:cubicBezTo>
                  <a:cubicBezTo>
                    <a:pt x="11" y="93"/>
                    <a:pt x="12" y="94"/>
                    <a:pt x="12" y="9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6"/>
                    <a:pt x="13" y="97"/>
                    <a:pt x="14" y="98"/>
                  </a:cubicBezTo>
                  <a:cubicBezTo>
                    <a:pt x="14" y="99"/>
                    <a:pt x="15" y="99"/>
                    <a:pt x="15" y="100"/>
                  </a:cubicBezTo>
                  <a:cubicBezTo>
                    <a:pt x="16" y="101"/>
                    <a:pt x="16" y="101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7" y="103"/>
                    <a:pt x="17" y="104"/>
                    <a:pt x="18" y="105"/>
                  </a:cubicBezTo>
                  <a:cubicBezTo>
                    <a:pt x="19" y="106"/>
                    <a:pt x="19" y="107"/>
                    <a:pt x="20" y="108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1" y="110"/>
                    <a:pt x="22" y="112"/>
                    <a:pt x="24" y="113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5" y="114"/>
                    <a:pt x="25" y="116"/>
                    <a:pt x="26" y="117"/>
                  </a:cubicBezTo>
                  <a:cubicBezTo>
                    <a:pt x="27" y="117"/>
                    <a:pt x="27" y="118"/>
                    <a:pt x="28" y="119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9" y="120"/>
                    <a:pt x="30" y="121"/>
                    <a:pt x="30" y="121"/>
                  </a:cubicBezTo>
                  <a:cubicBezTo>
                    <a:pt x="31" y="122"/>
                    <a:pt x="32" y="123"/>
                    <a:pt x="32" y="124"/>
                  </a:cubicBezTo>
                  <a:cubicBezTo>
                    <a:pt x="33" y="124"/>
                    <a:pt x="33" y="124"/>
                    <a:pt x="33" y="124"/>
                  </a:cubicBezTo>
                  <a:cubicBezTo>
                    <a:pt x="33" y="124"/>
                    <a:pt x="33" y="124"/>
                    <a:pt x="33" y="124"/>
                  </a:cubicBezTo>
                  <a:cubicBezTo>
                    <a:pt x="33" y="125"/>
                    <a:pt x="34" y="126"/>
                    <a:pt x="34" y="126"/>
                  </a:cubicBezTo>
                  <a:cubicBezTo>
                    <a:pt x="35" y="127"/>
                    <a:pt x="36" y="128"/>
                    <a:pt x="37" y="128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8" y="130"/>
                    <a:pt x="39" y="130"/>
                    <a:pt x="39" y="130"/>
                  </a:cubicBezTo>
                  <a:cubicBezTo>
                    <a:pt x="40" y="131"/>
                    <a:pt x="41" y="132"/>
                    <a:pt x="41" y="132"/>
                  </a:cubicBezTo>
                  <a:cubicBezTo>
                    <a:pt x="42" y="133"/>
                    <a:pt x="42" y="133"/>
                    <a:pt x="42" y="133"/>
                  </a:cubicBezTo>
                  <a:cubicBezTo>
                    <a:pt x="43" y="134"/>
                    <a:pt x="43" y="134"/>
                    <a:pt x="43" y="134"/>
                  </a:cubicBezTo>
                  <a:cubicBezTo>
                    <a:pt x="44" y="134"/>
                    <a:pt x="44" y="134"/>
                    <a:pt x="44" y="134"/>
                  </a:cubicBezTo>
                  <a:cubicBezTo>
                    <a:pt x="45" y="135"/>
                    <a:pt x="45" y="136"/>
                    <a:pt x="46" y="136"/>
                  </a:cubicBezTo>
                  <a:cubicBezTo>
                    <a:pt x="47" y="137"/>
                    <a:pt x="47" y="137"/>
                    <a:pt x="48" y="137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9" y="138"/>
                    <a:pt x="50" y="139"/>
                    <a:pt x="51" y="139"/>
                  </a:cubicBezTo>
                  <a:cubicBezTo>
                    <a:pt x="51" y="140"/>
                    <a:pt x="52" y="140"/>
                    <a:pt x="53" y="141"/>
                  </a:cubicBezTo>
                  <a:cubicBezTo>
                    <a:pt x="53" y="141"/>
                    <a:pt x="53" y="141"/>
                    <a:pt x="53" y="141"/>
                  </a:cubicBezTo>
                  <a:cubicBezTo>
                    <a:pt x="54" y="141"/>
                    <a:pt x="54" y="142"/>
                    <a:pt x="55" y="142"/>
                  </a:cubicBezTo>
                  <a:cubicBezTo>
                    <a:pt x="56" y="142"/>
                    <a:pt x="56" y="143"/>
                    <a:pt x="57" y="143"/>
                  </a:cubicBezTo>
                  <a:cubicBezTo>
                    <a:pt x="58" y="143"/>
                    <a:pt x="58" y="143"/>
                    <a:pt x="59" y="144"/>
                  </a:cubicBezTo>
                  <a:cubicBezTo>
                    <a:pt x="59" y="144"/>
                    <a:pt x="59" y="144"/>
                    <a:pt x="59" y="144"/>
                  </a:cubicBezTo>
                  <a:cubicBezTo>
                    <a:pt x="59" y="144"/>
                    <a:pt x="59" y="144"/>
                    <a:pt x="59" y="144"/>
                  </a:cubicBezTo>
                  <a:cubicBezTo>
                    <a:pt x="60" y="144"/>
                    <a:pt x="61" y="145"/>
                    <a:pt x="61" y="145"/>
                  </a:cubicBezTo>
                  <a:cubicBezTo>
                    <a:pt x="62" y="145"/>
                    <a:pt x="63" y="145"/>
                    <a:pt x="64" y="146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65" y="146"/>
                    <a:pt x="65" y="146"/>
                    <a:pt x="66" y="146"/>
                  </a:cubicBezTo>
                  <a:cubicBezTo>
                    <a:pt x="66" y="147"/>
                    <a:pt x="67" y="147"/>
                    <a:pt x="68" y="147"/>
                  </a:cubicBezTo>
                  <a:cubicBezTo>
                    <a:pt x="69" y="147"/>
                    <a:pt x="69" y="147"/>
                    <a:pt x="69" y="147"/>
                  </a:cubicBezTo>
                  <a:cubicBezTo>
                    <a:pt x="69" y="147"/>
                    <a:pt x="69" y="147"/>
                    <a:pt x="69" y="147"/>
                  </a:cubicBezTo>
                  <a:cubicBezTo>
                    <a:pt x="70" y="148"/>
                    <a:pt x="70" y="148"/>
                    <a:pt x="70" y="148"/>
                  </a:cubicBezTo>
                  <a:cubicBezTo>
                    <a:pt x="71" y="148"/>
                    <a:pt x="72" y="148"/>
                    <a:pt x="72" y="148"/>
                  </a:cubicBezTo>
                  <a:cubicBezTo>
                    <a:pt x="73" y="148"/>
                    <a:pt x="73" y="148"/>
                    <a:pt x="74" y="148"/>
                  </a:cubicBezTo>
                  <a:cubicBezTo>
                    <a:pt x="74" y="148"/>
                    <a:pt x="74" y="148"/>
                    <a:pt x="74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6" y="148"/>
                    <a:pt x="76" y="148"/>
                    <a:pt x="77" y="148"/>
                  </a:cubicBezTo>
                  <a:cubicBezTo>
                    <a:pt x="78" y="148"/>
                    <a:pt x="78" y="148"/>
                    <a:pt x="78" y="148"/>
                  </a:cubicBezTo>
                  <a:cubicBezTo>
                    <a:pt x="79" y="148"/>
                    <a:pt x="79" y="148"/>
                    <a:pt x="79" y="148"/>
                  </a:cubicBezTo>
                  <a:cubicBezTo>
                    <a:pt x="80" y="148"/>
                    <a:pt x="80" y="148"/>
                    <a:pt x="80" y="148"/>
                  </a:cubicBezTo>
                  <a:cubicBezTo>
                    <a:pt x="81" y="148"/>
                    <a:pt x="82" y="148"/>
                    <a:pt x="83" y="148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84" y="147"/>
                    <a:pt x="84" y="147"/>
                    <a:pt x="84" y="147"/>
                  </a:cubicBezTo>
                  <a:cubicBezTo>
                    <a:pt x="85" y="147"/>
                    <a:pt x="86" y="147"/>
                    <a:pt x="87" y="147"/>
                  </a:cubicBezTo>
                  <a:cubicBezTo>
                    <a:pt x="87" y="147"/>
                    <a:pt x="87" y="147"/>
                    <a:pt x="87" y="147"/>
                  </a:cubicBezTo>
                  <a:cubicBezTo>
                    <a:pt x="88" y="146"/>
                    <a:pt x="90" y="145"/>
                    <a:pt x="91" y="145"/>
                  </a:cubicBezTo>
                  <a:lnTo>
                    <a:pt x="117" y="130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6" name="Freeform 354">
              <a:extLst>
                <a:ext uri="{FF2B5EF4-FFF2-40B4-BE49-F238E27FC236}">
                  <a16:creationId xmlns:a16="http://schemas.microsoft.com/office/drawing/2014/main" id="{6DC09408-A186-4087-9504-D5DF91B86E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74163" y="1337689"/>
              <a:ext cx="112713" cy="36513"/>
            </a:xfrm>
            <a:custGeom>
              <a:avLst/>
              <a:gdLst>
                <a:gd name="T0" fmla="*/ 0 w 71"/>
                <a:gd name="T1" fmla="*/ 23 h 23"/>
                <a:gd name="T2" fmla="*/ 26 w 71"/>
                <a:gd name="T3" fmla="*/ 8 h 23"/>
                <a:gd name="T4" fmla="*/ 71 w 71"/>
                <a:gd name="T5" fmla="*/ 7 h 23"/>
                <a:gd name="T6" fmla="*/ 45 w 71"/>
                <a:gd name="T7" fmla="*/ 22 h 23"/>
                <a:gd name="T8" fmla="*/ 0 w 71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23">
                  <a:moveTo>
                    <a:pt x="0" y="23"/>
                  </a:moveTo>
                  <a:cubicBezTo>
                    <a:pt x="26" y="8"/>
                    <a:pt x="26" y="8"/>
                    <a:pt x="26" y="8"/>
                  </a:cubicBezTo>
                  <a:cubicBezTo>
                    <a:pt x="38" y="1"/>
                    <a:pt x="53" y="0"/>
                    <a:pt x="71" y="7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27" y="15"/>
                    <a:pt x="12" y="16"/>
                    <a:pt x="0" y="23"/>
                  </a:cubicBez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7" name="Freeform 355">
              <a:extLst>
                <a:ext uri="{FF2B5EF4-FFF2-40B4-BE49-F238E27FC236}">
                  <a16:creationId xmlns:a16="http://schemas.microsoft.com/office/drawing/2014/main" id="{54E2D596-1F3D-47CC-B1BF-ACCA1E87DE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74163" y="1345626"/>
              <a:ext cx="52388" cy="28575"/>
            </a:xfrm>
            <a:custGeom>
              <a:avLst/>
              <a:gdLst>
                <a:gd name="T0" fmla="*/ 0 w 33"/>
                <a:gd name="T1" fmla="*/ 18 h 18"/>
                <a:gd name="T2" fmla="*/ 26 w 33"/>
                <a:gd name="T3" fmla="*/ 3 h 18"/>
                <a:gd name="T4" fmla="*/ 33 w 33"/>
                <a:gd name="T5" fmla="*/ 0 h 18"/>
                <a:gd name="T6" fmla="*/ 7 w 33"/>
                <a:gd name="T7" fmla="*/ 15 h 18"/>
                <a:gd name="T8" fmla="*/ 0 w 33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0" y="18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9" y="2"/>
                    <a:pt x="31" y="1"/>
                    <a:pt x="33" y="0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5" y="16"/>
                    <a:pt x="3" y="17"/>
                    <a:pt x="0" y="18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8" name="Freeform 356">
              <a:extLst>
                <a:ext uri="{FF2B5EF4-FFF2-40B4-BE49-F238E27FC236}">
                  <a16:creationId xmlns:a16="http://schemas.microsoft.com/office/drawing/2014/main" id="{8F056FDB-3715-45FA-951D-D2539B6475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85276" y="1342451"/>
              <a:ext cx="50800" cy="26988"/>
            </a:xfrm>
            <a:custGeom>
              <a:avLst/>
              <a:gdLst>
                <a:gd name="T0" fmla="*/ 0 w 32"/>
                <a:gd name="T1" fmla="*/ 17 h 17"/>
                <a:gd name="T2" fmla="*/ 26 w 32"/>
                <a:gd name="T3" fmla="*/ 2 h 17"/>
                <a:gd name="T4" fmla="*/ 32 w 32"/>
                <a:gd name="T5" fmla="*/ 0 h 17"/>
                <a:gd name="T6" fmla="*/ 6 w 32"/>
                <a:gd name="T7" fmla="*/ 15 h 17"/>
                <a:gd name="T8" fmla="*/ 0 w 32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0" y="17"/>
                  </a:moveTo>
                  <a:cubicBezTo>
                    <a:pt x="26" y="2"/>
                    <a:pt x="26" y="2"/>
                    <a:pt x="26" y="2"/>
                  </a:cubicBezTo>
                  <a:cubicBezTo>
                    <a:pt x="28" y="1"/>
                    <a:pt x="30" y="1"/>
                    <a:pt x="32" y="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6"/>
                    <a:pt x="2" y="16"/>
                    <a:pt x="0" y="17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49" name="Freeform 357">
              <a:extLst>
                <a:ext uri="{FF2B5EF4-FFF2-40B4-BE49-F238E27FC236}">
                  <a16:creationId xmlns:a16="http://schemas.microsoft.com/office/drawing/2014/main" id="{6EF0BE5C-3627-497E-A165-A06452AF3D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4801" y="1342451"/>
              <a:ext cx="49213" cy="23813"/>
            </a:xfrm>
            <a:custGeom>
              <a:avLst/>
              <a:gdLst>
                <a:gd name="T0" fmla="*/ 0 w 31"/>
                <a:gd name="T1" fmla="*/ 15 h 15"/>
                <a:gd name="T2" fmla="*/ 26 w 31"/>
                <a:gd name="T3" fmla="*/ 0 h 15"/>
                <a:gd name="T4" fmla="*/ 31 w 31"/>
                <a:gd name="T5" fmla="*/ 0 h 15"/>
                <a:gd name="T6" fmla="*/ 5 w 31"/>
                <a:gd name="T7" fmla="*/ 15 h 15"/>
                <a:gd name="T8" fmla="*/ 0 w 31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5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29" y="0"/>
                    <a:pt x="31" y="0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3" y="15"/>
                    <a:pt x="2" y="15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0" name="Freeform 358">
              <a:extLst>
                <a:ext uri="{FF2B5EF4-FFF2-40B4-BE49-F238E27FC236}">
                  <a16:creationId xmlns:a16="http://schemas.microsoft.com/office/drawing/2014/main" id="{AF74E70C-21C4-4DA0-8B2A-CDBEA3FE58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02738" y="1340864"/>
              <a:ext cx="47625" cy="25400"/>
            </a:xfrm>
            <a:custGeom>
              <a:avLst/>
              <a:gdLst>
                <a:gd name="T0" fmla="*/ 0 w 30"/>
                <a:gd name="T1" fmla="*/ 16 h 16"/>
                <a:gd name="T2" fmla="*/ 26 w 30"/>
                <a:gd name="T3" fmla="*/ 1 h 16"/>
                <a:gd name="T4" fmla="*/ 30 w 30"/>
                <a:gd name="T5" fmla="*/ 0 h 16"/>
                <a:gd name="T6" fmla="*/ 4 w 30"/>
                <a:gd name="T7" fmla="*/ 15 h 16"/>
                <a:gd name="T8" fmla="*/ 0 w 30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0" y="16"/>
                  </a:moveTo>
                  <a:cubicBezTo>
                    <a:pt x="26" y="1"/>
                    <a:pt x="26" y="1"/>
                    <a:pt x="26" y="1"/>
                  </a:cubicBezTo>
                  <a:cubicBezTo>
                    <a:pt x="27" y="0"/>
                    <a:pt x="29" y="0"/>
                    <a:pt x="30" y="0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6"/>
                    <a:pt x="1" y="16"/>
                    <a:pt x="0" y="16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1" name="Freeform 359">
              <a:extLst>
                <a:ext uri="{FF2B5EF4-FFF2-40B4-BE49-F238E27FC236}">
                  <a16:creationId xmlns:a16="http://schemas.microsoft.com/office/drawing/2014/main" id="{CA06FD13-794E-4B66-9336-BE3D42791A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09088" y="1340864"/>
              <a:ext cx="47625" cy="25400"/>
            </a:xfrm>
            <a:custGeom>
              <a:avLst/>
              <a:gdLst>
                <a:gd name="T0" fmla="*/ 0 w 30"/>
                <a:gd name="T1" fmla="*/ 15 h 16"/>
                <a:gd name="T2" fmla="*/ 26 w 30"/>
                <a:gd name="T3" fmla="*/ 0 h 16"/>
                <a:gd name="T4" fmla="*/ 30 w 30"/>
                <a:gd name="T5" fmla="*/ 1 h 16"/>
                <a:gd name="T6" fmla="*/ 4 w 30"/>
                <a:gd name="T7" fmla="*/ 16 h 16"/>
                <a:gd name="T8" fmla="*/ 0 w 30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2" y="15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2" name="Freeform 360">
              <a:extLst>
                <a:ext uri="{FF2B5EF4-FFF2-40B4-BE49-F238E27FC236}">
                  <a16:creationId xmlns:a16="http://schemas.microsoft.com/office/drawing/2014/main" id="{AFE368E4-F388-42A3-BA8A-AB644B3345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15438" y="1342451"/>
              <a:ext cx="47625" cy="23813"/>
            </a:xfrm>
            <a:custGeom>
              <a:avLst/>
              <a:gdLst>
                <a:gd name="T0" fmla="*/ 0 w 30"/>
                <a:gd name="T1" fmla="*/ 15 h 15"/>
                <a:gd name="T2" fmla="*/ 26 w 30"/>
                <a:gd name="T3" fmla="*/ 0 h 15"/>
                <a:gd name="T4" fmla="*/ 30 w 30"/>
                <a:gd name="T5" fmla="*/ 0 h 15"/>
                <a:gd name="T6" fmla="*/ 4 w 30"/>
                <a:gd name="T7" fmla="*/ 15 h 15"/>
                <a:gd name="T8" fmla="*/ 0 w 30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9" y="0"/>
                    <a:pt x="30" y="0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1" y="15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3" name="Freeform 361">
              <a:extLst>
                <a:ext uri="{FF2B5EF4-FFF2-40B4-BE49-F238E27FC236}">
                  <a16:creationId xmlns:a16="http://schemas.microsoft.com/office/drawing/2014/main" id="{FE024BEA-9FAA-4CA3-A5A0-9C86BF42EC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21788" y="1342451"/>
              <a:ext cx="46038" cy="25400"/>
            </a:xfrm>
            <a:custGeom>
              <a:avLst/>
              <a:gdLst>
                <a:gd name="T0" fmla="*/ 0 w 29"/>
                <a:gd name="T1" fmla="*/ 15 h 16"/>
                <a:gd name="T2" fmla="*/ 26 w 29"/>
                <a:gd name="T3" fmla="*/ 0 h 16"/>
                <a:gd name="T4" fmla="*/ 29 w 29"/>
                <a:gd name="T5" fmla="*/ 1 h 16"/>
                <a:gd name="T6" fmla="*/ 4 w 29"/>
                <a:gd name="T7" fmla="*/ 16 h 16"/>
                <a:gd name="T8" fmla="*/ 0 w 29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0"/>
                    <a:pt x="29" y="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2" y="15"/>
                    <a:pt x="1" y="15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4" name="Freeform 362">
              <a:extLst>
                <a:ext uri="{FF2B5EF4-FFF2-40B4-BE49-F238E27FC236}">
                  <a16:creationId xmlns:a16="http://schemas.microsoft.com/office/drawing/2014/main" id="{BA2A3F8B-7C31-4F73-90FE-8C508635B2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28138" y="1344039"/>
              <a:ext cx="46038" cy="23813"/>
            </a:xfrm>
            <a:custGeom>
              <a:avLst/>
              <a:gdLst>
                <a:gd name="T0" fmla="*/ 0 w 29"/>
                <a:gd name="T1" fmla="*/ 15 h 15"/>
                <a:gd name="T2" fmla="*/ 25 w 29"/>
                <a:gd name="T3" fmla="*/ 0 h 15"/>
                <a:gd name="T4" fmla="*/ 29 w 29"/>
                <a:gd name="T5" fmla="*/ 0 h 15"/>
                <a:gd name="T6" fmla="*/ 3 w 29"/>
                <a:gd name="T7" fmla="*/ 15 h 15"/>
                <a:gd name="T8" fmla="*/ 0 w 29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0" y="15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8" y="0"/>
                    <a:pt x="29" y="0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5" name="Freeform 363">
              <a:extLst>
                <a:ext uri="{FF2B5EF4-FFF2-40B4-BE49-F238E27FC236}">
                  <a16:creationId xmlns:a16="http://schemas.microsoft.com/office/drawing/2014/main" id="{04A426B7-0E0B-480A-A76F-06A3A9418F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32901" y="1344039"/>
              <a:ext cx="46038" cy="25400"/>
            </a:xfrm>
            <a:custGeom>
              <a:avLst/>
              <a:gdLst>
                <a:gd name="T0" fmla="*/ 0 w 29"/>
                <a:gd name="T1" fmla="*/ 15 h 16"/>
                <a:gd name="T2" fmla="*/ 26 w 29"/>
                <a:gd name="T3" fmla="*/ 0 h 16"/>
                <a:gd name="T4" fmla="*/ 29 w 29"/>
                <a:gd name="T5" fmla="*/ 1 h 16"/>
                <a:gd name="T6" fmla="*/ 3 w 29"/>
                <a:gd name="T7" fmla="*/ 16 h 16"/>
                <a:gd name="T8" fmla="*/ 0 w 29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8" y="1"/>
                    <a:pt x="29" y="1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6"/>
                    <a:pt x="1" y="16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6" name="Freeform 364">
              <a:extLst>
                <a:ext uri="{FF2B5EF4-FFF2-40B4-BE49-F238E27FC236}">
                  <a16:creationId xmlns:a16="http://schemas.microsoft.com/office/drawing/2014/main" id="{B7DDB1E6-C423-4767-A5A5-4F3DD8BF1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37663" y="1345626"/>
              <a:ext cx="47625" cy="25400"/>
            </a:xfrm>
            <a:custGeom>
              <a:avLst/>
              <a:gdLst>
                <a:gd name="T0" fmla="*/ 0 w 30"/>
                <a:gd name="T1" fmla="*/ 15 h 16"/>
                <a:gd name="T2" fmla="*/ 26 w 30"/>
                <a:gd name="T3" fmla="*/ 0 h 16"/>
                <a:gd name="T4" fmla="*/ 30 w 30"/>
                <a:gd name="T5" fmla="*/ 1 h 16"/>
                <a:gd name="T6" fmla="*/ 4 w 30"/>
                <a:gd name="T7" fmla="*/ 16 h 16"/>
                <a:gd name="T8" fmla="*/ 0 w 30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9" y="1"/>
                    <a:pt x="30" y="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2" y="16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7" name="Freeform 365">
              <a:extLst>
                <a:ext uri="{FF2B5EF4-FFF2-40B4-BE49-F238E27FC236}">
                  <a16:creationId xmlns:a16="http://schemas.microsoft.com/office/drawing/2014/main" id="{FD4B2285-5BFD-4842-A83B-B0F8C1142E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44013" y="1347214"/>
              <a:ext cx="42863" cy="25400"/>
            </a:xfrm>
            <a:custGeom>
              <a:avLst/>
              <a:gdLst>
                <a:gd name="T0" fmla="*/ 0 w 27"/>
                <a:gd name="T1" fmla="*/ 15 h 16"/>
                <a:gd name="T2" fmla="*/ 26 w 27"/>
                <a:gd name="T3" fmla="*/ 0 h 16"/>
                <a:gd name="T4" fmla="*/ 27 w 27"/>
                <a:gd name="T5" fmla="*/ 1 h 16"/>
                <a:gd name="T6" fmla="*/ 1 w 27"/>
                <a:gd name="T7" fmla="*/ 16 h 16"/>
                <a:gd name="T8" fmla="*/ 0 w 27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5"/>
                  </a:moveTo>
                  <a:lnTo>
                    <a:pt x="26" y="0"/>
                  </a:lnTo>
                  <a:lnTo>
                    <a:pt x="27" y="1"/>
                  </a:lnTo>
                  <a:lnTo>
                    <a:pt x="1" y="16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8" name="Freeform 366">
              <a:extLst>
                <a:ext uri="{FF2B5EF4-FFF2-40B4-BE49-F238E27FC236}">
                  <a16:creationId xmlns:a16="http://schemas.microsoft.com/office/drawing/2014/main" id="{D53D0A74-B29B-4AF0-8204-BE6938017F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44013" y="1347214"/>
              <a:ext cx="42863" cy="25400"/>
            </a:xfrm>
            <a:custGeom>
              <a:avLst/>
              <a:gdLst>
                <a:gd name="T0" fmla="*/ 0 w 27"/>
                <a:gd name="T1" fmla="*/ 15 h 16"/>
                <a:gd name="T2" fmla="*/ 26 w 27"/>
                <a:gd name="T3" fmla="*/ 0 h 16"/>
                <a:gd name="T4" fmla="*/ 27 w 27"/>
                <a:gd name="T5" fmla="*/ 1 h 16"/>
                <a:gd name="T6" fmla="*/ 1 w 27"/>
                <a:gd name="T7" fmla="*/ 16 h 16"/>
                <a:gd name="T8" fmla="*/ 0 w 27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5"/>
                  </a:moveTo>
                  <a:lnTo>
                    <a:pt x="26" y="0"/>
                  </a:lnTo>
                  <a:lnTo>
                    <a:pt x="27" y="1"/>
                  </a:lnTo>
                  <a:lnTo>
                    <a:pt x="1" y="16"/>
                  </a:lnTo>
                  <a:lnTo>
                    <a:pt x="0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59" name="Freeform 367">
              <a:extLst>
                <a:ext uri="{FF2B5EF4-FFF2-40B4-BE49-F238E27FC236}">
                  <a16:creationId xmlns:a16="http://schemas.microsoft.com/office/drawing/2014/main" id="{A721BFB3-40A2-4732-AB36-DC0F5CE3FB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53551" y="1561526"/>
              <a:ext cx="88900" cy="50800"/>
            </a:xfrm>
            <a:custGeom>
              <a:avLst/>
              <a:gdLst>
                <a:gd name="T0" fmla="*/ 0 w 56"/>
                <a:gd name="T1" fmla="*/ 15 h 32"/>
                <a:gd name="T2" fmla="*/ 26 w 56"/>
                <a:gd name="T3" fmla="*/ 0 h 32"/>
                <a:gd name="T4" fmla="*/ 56 w 56"/>
                <a:gd name="T5" fmla="*/ 17 h 32"/>
                <a:gd name="T6" fmla="*/ 30 w 56"/>
                <a:gd name="T7" fmla="*/ 32 h 32"/>
                <a:gd name="T8" fmla="*/ 0 w 56"/>
                <a:gd name="T9" fmla="*/ 1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32">
                  <a:moveTo>
                    <a:pt x="0" y="15"/>
                  </a:moveTo>
                  <a:lnTo>
                    <a:pt x="26" y="0"/>
                  </a:lnTo>
                  <a:lnTo>
                    <a:pt x="56" y="17"/>
                  </a:lnTo>
                  <a:lnTo>
                    <a:pt x="30" y="32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0" name="Freeform 368">
              <a:extLst>
                <a:ext uri="{FF2B5EF4-FFF2-40B4-BE49-F238E27FC236}">
                  <a16:creationId xmlns:a16="http://schemas.microsoft.com/office/drawing/2014/main" id="{EFFC8D1B-ED1A-45C3-BFB9-333D5DEB1B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63076" y="1588514"/>
              <a:ext cx="79375" cy="109538"/>
            </a:xfrm>
            <a:custGeom>
              <a:avLst/>
              <a:gdLst>
                <a:gd name="T0" fmla="*/ 26 w 50"/>
                <a:gd name="T1" fmla="*/ 54 h 69"/>
                <a:gd name="T2" fmla="*/ 0 w 50"/>
                <a:gd name="T3" fmla="*/ 69 h 69"/>
                <a:gd name="T4" fmla="*/ 24 w 50"/>
                <a:gd name="T5" fmla="*/ 15 h 69"/>
                <a:gd name="T6" fmla="*/ 50 w 50"/>
                <a:gd name="T7" fmla="*/ 0 h 69"/>
                <a:gd name="T8" fmla="*/ 26 w 50"/>
                <a:gd name="T9" fmla="*/ 5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9">
                  <a:moveTo>
                    <a:pt x="26" y="54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15" y="60"/>
                    <a:pt x="24" y="41"/>
                    <a:pt x="24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26"/>
                    <a:pt x="41" y="45"/>
                    <a:pt x="26" y="54"/>
                  </a:cubicBez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1" name="Freeform 369">
              <a:extLst>
                <a:ext uri="{FF2B5EF4-FFF2-40B4-BE49-F238E27FC236}">
                  <a16:creationId xmlns:a16="http://schemas.microsoft.com/office/drawing/2014/main" id="{ACDBB8E1-8BF2-4A17-BE18-104503AFCE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1176" y="1588514"/>
              <a:ext cx="41275" cy="23813"/>
            </a:xfrm>
            <a:custGeom>
              <a:avLst/>
              <a:gdLst>
                <a:gd name="T0" fmla="*/ 0 w 26"/>
                <a:gd name="T1" fmla="*/ 15 h 15"/>
                <a:gd name="T2" fmla="*/ 26 w 26"/>
                <a:gd name="T3" fmla="*/ 0 h 15"/>
                <a:gd name="T4" fmla="*/ 26 w 26"/>
                <a:gd name="T5" fmla="*/ 0 h 15"/>
                <a:gd name="T6" fmla="*/ 0 w 26"/>
                <a:gd name="T7" fmla="*/ 15 h 15"/>
                <a:gd name="T8" fmla="*/ 0 w 26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5">
                  <a:moveTo>
                    <a:pt x="0" y="15"/>
                  </a:moveTo>
                  <a:lnTo>
                    <a:pt x="26" y="0"/>
                  </a:lnTo>
                  <a:lnTo>
                    <a:pt x="26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2" name="Freeform 370">
              <a:extLst>
                <a:ext uri="{FF2B5EF4-FFF2-40B4-BE49-F238E27FC236}">
                  <a16:creationId xmlns:a16="http://schemas.microsoft.com/office/drawing/2014/main" id="{64EB96C5-8584-4324-95D3-CEC9DA6B63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1176" y="1588514"/>
              <a:ext cx="41275" cy="23813"/>
            </a:xfrm>
            <a:custGeom>
              <a:avLst/>
              <a:gdLst>
                <a:gd name="T0" fmla="*/ 0 w 26"/>
                <a:gd name="T1" fmla="*/ 15 h 15"/>
                <a:gd name="T2" fmla="*/ 26 w 26"/>
                <a:gd name="T3" fmla="*/ 0 h 15"/>
                <a:gd name="T4" fmla="*/ 26 w 26"/>
                <a:gd name="T5" fmla="*/ 0 h 15"/>
                <a:gd name="T6" fmla="*/ 0 w 26"/>
                <a:gd name="T7" fmla="*/ 15 h 15"/>
                <a:gd name="T8" fmla="*/ 0 w 26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5">
                  <a:moveTo>
                    <a:pt x="0" y="15"/>
                  </a:moveTo>
                  <a:lnTo>
                    <a:pt x="26" y="0"/>
                  </a:lnTo>
                  <a:lnTo>
                    <a:pt x="26" y="0"/>
                  </a:lnTo>
                  <a:lnTo>
                    <a:pt x="0" y="15"/>
                  </a:lnTo>
                  <a:lnTo>
                    <a:pt x="0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3" name="Freeform 371">
              <a:extLst>
                <a:ext uri="{FF2B5EF4-FFF2-40B4-BE49-F238E27FC236}">
                  <a16:creationId xmlns:a16="http://schemas.microsoft.com/office/drawing/2014/main" id="{A3FCFDF1-E8D6-49A8-9ED5-E322ADB752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1176" y="1588514"/>
              <a:ext cx="41275" cy="30163"/>
            </a:xfrm>
            <a:custGeom>
              <a:avLst/>
              <a:gdLst>
                <a:gd name="T0" fmla="*/ 0 w 26"/>
                <a:gd name="T1" fmla="*/ 15 h 19"/>
                <a:gd name="T2" fmla="*/ 26 w 26"/>
                <a:gd name="T3" fmla="*/ 0 h 19"/>
                <a:gd name="T4" fmla="*/ 26 w 26"/>
                <a:gd name="T5" fmla="*/ 4 h 19"/>
                <a:gd name="T6" fmla="*/ 0 w 26"/>
                <a:gd name="T7" fmla="*/ 19 h 19"/>
                <a:gd name="T8" fmla="*/ 0 w 26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9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2"/>
                    <a:pt x="26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7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4" name="Freeform 372">
              <a:extLst>
                <a:ext uri="{FF2B5EF4-FFF2-40B4-BE49-F238E27FC236}">
                  <a16:creationId xmlns:a16="http://schemas.microsoft.com/office/drawing/2014/main" id="{DCE75E98-93AC-4EAB-B98C-3CD8E7446B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1176" y="1594864"/>
              <a:ext cx="41275" cy="30163"/>
            </a:xfrm>
            <a:custGeom>
              <a:avLst/>
              <a:gdLst>
                <a:gd name="T0" fmla="*/ 0 w 26"/>
                <a:gd name="T1" fmla="*/ 15 h 19"/>
                <a:gd name="T2" fmla="*/ 26 w 26"/>
                <a:gd name="T3" fmla="*/ 0 h 19"/>
                <a:gd name="T4" fmla="*/ 26 w 26"/>
                <a:gd name="T5" fmla="*/ 4 h 19"/>
                <a:gd name="T6" fmla="*/ 0 w 26"/>
                <a:gd name="T7" fmla="*/ 19 h 19"/>
                <a:gd name="T8" fmla="*/ 0 w 26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9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2"/>
                    <a:pt x="26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7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5" name="Freeform 373">
              <a:extLst>
                <a:ext uri="{FF2B5EF4-FFF2-40B4-BE49-F238E27FC236}">
                  <a16:creationId xmlns:a16="http://schemas.microsoft.com/office/drawing/2014/main" id="{C8243BBE-53E7-4167-89D3-CA9C4E64C1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9588" y="1601214"/>
              <a:ext cx="42863" cy="30163"/>
            </a:xfrm>
            <a:custGeom>
              <a:avLst/>
              <a:gdLst>
                <a:gd name="T0" fmla="*/ 1 w 27"/>
                <a:gd name="T1" fmla="*/ 15 h 19"/>
                <a:gd name="T2" fmla="*/ 27 w 27"/>
                <a:gd name="T3" fmla="*/ 0 h 19"/>
                <a:gd name="T4" fmla="*/ 26 w 27"/>
                <a:gd name="T5" fmla="*/ 4 h 19"/>
                <a:gd name="T6" fmla="*/ 0 w 27"/>
                <a:gd name="T7" fmla="*/ 19 h 19"/>
                <a:gd name="T8" fmla="*/ 1 w 27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9">
                  <a:moveTo>
                    <a:pt x="1" y="15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2"/>
                    <a:pt x="26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18"/>
                    <a:pt x="1" y="17"/>
                    <a:pt x="1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6" name="Freeform 374">
              <a:extLst>
                <a:ext uri="{FF2B5EF4-FFF2-40B4-BE49-F238E27FC236}">
                  <a16:creationId xmlns:a16="http://schemas.microsoft.com/office/drawing/2014/main" id="{A6694DDD-7390-4D36-9040-C7E9E0BA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9588" y="1607564"/>
              <a:ext cx="41275" cy="30163"/>
            </a:xfrm>
            <a:custGeom>
              <a:avLst/>
              <a:gdLst>
                <a:gd name="T0" fmla="*/ 0 w 26"/>
                <a:gd name="T1" fmla="*/ 15 h 19"/>
                <a:gd name="T2" fmla="*/ 26 w 26"/>
                <a:gd name="T3" fmla="*/ 0 h 19"/>
                <a:gd name="T4" fmla="*/ 26 w 26"/>
                <a:gd name="T5" fmla="*/ 4 h 19"/>
                <a:gd name="T6" fmla="*/ 0 w 26"/>
                <a:gd name="T7" fmla="*/ 19 h 19"/>
                <a:gd name="T8" fmla="*/ 0 w 26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9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2"/>
                    <a:pt x="26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7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7" name="Freeform 375">
              <a:extLst>
                <a:ext uri="{FF2B5EF4-FFF2-40B4-BE49-F238E27FC236}">
                  <a16:creationId xmlns:a16="http://schemas.microsoft.com/office/drawing/2014/main" id="{C0CCA350-5273-4F92-8115-EF3DE8326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8001" y="1613914"/>
              <a:ext cx="42863" cy="30163"/>
            </a:xfrm>
            <a:custGeom>
              <a:avLst/>
              <a:gdLst>
                <a:gd name="T0" fmla="*/ 1 w 27"/>
                <a:gd name="T1" fmla="*/ 15 h 19"/>
                <a:gd name="T2" fmla="*/ 27 w 27"/>
                <a:gd name="T3" fmla="*/ 0 h 19"/>
                <a:gd name="T4" fmla="*/ 26 w 27"/>
                <a:gd name="T5" fmla="*/ 4 h 19"/>
                <a:gd name="T6" fmla="*/ 0 w 27"/>
                <a:gd name="T7" fmla="*/ 19 h 19"/>
                <a:gd name="T8" fmla="*/ 1 w 27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9">
                  <a:moveTo>
                    <a:pt x="1" y="15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6" y="2"/>
                    <a:pt x="26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1" y="17"/>
                    <a:pt x="1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8" name="Freeform 376">
              <a:extLst>
                <a:ext uri="{FF2B5EF4-FFF2-40B4-BE49-F238E27FC236}">
                  <a16:creationId xmlns:a16="http://schemas.microsoft.com/office/drawing/2014/main" id="{82E9944D-0818-4BD7-8FCD-665F549C9E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6413" y="1620264"/>
              <a:ext cx="42863" cy="31750"/>
            </a:xfrm>
            <a:custGeom>
              <a:avLst/>
              <a:gdLst>
                <a:gd name="T0" fmla="*/ 1 w 27"/>
                <a:gd name="T1" fmla="*/ 15 h 20"/>
                <a:gd name="T2" fmla="*/ 27 w 27"/>
                <a:gd name="T3" fmla="*/ 0 h 20"/>
                <a:gd name="T4" fmla="*/ 26 w 27"/>
                <a:gd name="T5" fmla="*/ 5 h 20"/>
                <a:gd name="T6" fmla="*/ 0 w 27"/>
                <a:gd name="T7" fmla="*/ 20 h 20"/>
                <a:gd name="T8" fmla="*/ 1 w 27"/>
                <a:gd name="T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0">
                  <a:moveTo>
                    <a:pt x="1" y="15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2"/>
                    <a:pt x="26" y="3"/>
                    <a:pt x="26" y="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7"/>
                    <a:pt x="1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69" name="Freeform 377">
              <a:extLst>
                <a:ext uri="{FF2B5EF4-FFF2-40B4-BE49-F238E27FC236}">
                  <a16:creationId xmlns:a16="http://schemas.microsoft.com/office/drawing/2014/main" id="{41722B85-F237-4B44-BCCA-41F164B30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3238" y="1628201"/>
              <a:ext cx="44450" cy="30163"/>
            </a:xfrm>
            <a:custGeom>
              <a:avLst/>
              <a:gdLst>
                <a:gd name="T0" fmla="*/ 2 w 28"/>
                <a:gd name="T1" fmla="*/ 15 h 19"/>
                <a:gd name="T2" fmla="*/ 28 w 28"/>
                <a:gd name="T3" fmla="*/ 0 h 19"/>
                <a:gd name="T4" fmla="*/ 26 w 28"/>
                <a:gd name="T5" fmla="*/ 4 h 19"/>
                <a:gd name="T6" fmla="*/ 0 w 28"/>
                <a:gd name="T7" fmla="*/ 19 h 19"/>
                <a:gd name="T8" fmla="*/ 2 w 28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5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7" y="1"/>
                    <a:pt x="27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18"/>
                    <a:pt x="1" y="16"/>
                    <a:pt x="2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0" name="Freeform 378">
              <a:extLst>
                <a:ext uri="{FF2B5EF4-FFF2-40B4-BE49-F238E27FC236}">
                  <a16:creationId xmlns:a16="http://schemas.microsoft.com/office/drawing/2014/main" id="{4FEB728C-A934-4378-8531-B367677881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0063" y="1634551"/>
              <a:ext cx="44450" cy="31750"/>
            </a:xfrm>
            <a:custGeom>
              <a:avLst/>
              <a:gdLst>
                <a:gd name="T0" fmla="*/ 2 w 28"/>
                <a:gd name="T1" fmla="*/ 15 h 20"/>
                <a:gd name="T2" fmla="*/ 28 w 28"/>
                <a:gd name="T3" fmla="*/ 0 h 20"/>
                <a:gd name="T4" fmla="*/ 26 w 28"/>
                <a:gd name="T5" fmla="*/ 5 h 20"/>
                <a:gd name="T6" fmla="*/ 0 w 28"/>
                <a:gd name="T7" fmla="*/ 20 h 20"/>
                <a:gd name="T8" fmla="*/ 2 w 28"/>
                <a:gd name="T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0">
                  <a:moveTo>
                    <a:pt x="2" y="15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2"/>
                    <a:pt x="27" y="3"/>
                    <a:pt x="26" y="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18"/>
                    <a:pt x="2" y="17"/>
                    <a:pt x="2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1" name="Freeform 379">
              <a:extLst>
                <a:ext uri="{FF2B5EF4-FFF2-40B4-BE49-F238E27FC236}">
                  <a16:creationId xmlns:a16="http://schemas.microsoft.com/office/drawing/2014/main" id="{C6BC1372-855D-4123-8185-29A410A0F5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5301" y="1642489"/>
              <a:ext cx="46038" cy="33338"/>
            </a:xfrm>
            <a:custGeom>
              <a:avLst/>
              <a:gdLst>
                <a:gd name="T0" fmla="*/ 3 w 29"/>
                <a:gd name="T1" fmla="*/ 15 h 21"/>
                <a:gd name="T2" fmla="*/ 29 w 29"/>
                <a:gd name="T3" fmla="*/ 0 h 21"/>
                <a:gd name="T4" fmla="*/ 26 w 29"/>
                <a:gd name="T5" fmla="*/ 5 h 21"/>
                <a:gd name="T6" fmla="*/ 0 w 29"/>
                <a:gd name="T7" fmla="*/ 21 h 21"/>
                <a:gd name="T8" fmla="*/ 3 w 29"/>
                <a:gd name="T9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1">
                  <a:moveTo>
                    <a:pt x="3" y="15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8" y="2"/>
                    <a:pt x="27" y="4"/>
                    <a:pt x="26" y="5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19"/>
                    <a:pt x="2" y="17"/>
                    <a:pt x="3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2" name="Freeform 380">
              <a:extLst>
                <a:ext uri="{FF2B5EF4-FFF2-40B4-BE49-F238E27FC236}">
                  <a16:creationId xmlns:a16="http://schemas.microsoft.com/office/drawing/2014/main" id="{AE929917-6392-4543-AECA-0E1B7657AE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63076" y="1650426"/>
              <a:ext cx="63500" cy="47625"/>
            </a:xfrm>
            <a:custGeom>
              <a:avLst/>
              <a:gdLst>
                <a:gd name="T0" fmla="*/ 14 w 40"/>
                <a:gd name="T1" fmla="*/ 16 h 30"/>
                <a:gd name="T2" fmla="*/ 40 w 40"/>
                <a:gd name="T3" fmla="*/ 0 h 30"/>
                <a:gd name="T4" fmla="*/ 26 w 40"/>
                <a:gd name="T5" fmla="*/ 15 h 30"/>
                <a:gd name="T6" fmla="*/ 0 w 40"/>
                <a:gd name="T7" fmla="*/ 30 h 30"/>
                <a:gd name="T8" fmla="*/ 14 w 40"/>
                <a:gd name="T9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0">
                  <a:moveTo>
                    <a:pt x="14" y="16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6" y="7"/>
                    <a:pt x="31" y="11"/>
                    <a:pt x="26" y="15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5" y="26"/>
                    <a:pt x="10" y="22"/>
                    <a:pt x="14" y="16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3" name="Freeform 381">
              <a:extLst>
                <a:ext uri="{FF2B5EF4-FFF2-40B4-BE49-F238E27FC236}">
                  <a16:creationId xmlns:a16="http://schemas.microsoft.com/office/drawing/2014/main" id="{212943B6-DD20-4E63-91D7-2B8492090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93226" y="1167826"/>
              <a:ext cx="41275" cy="285750"/>
            </a:xfrm>
            <a:custGeom>
              <a:avLst/>
              <a:gdLst>
                <a:gd name="T0" fmla="*/ 0 w 26"/>
                <a:gd name="T1" fmla="*/ 15 h 180"/>
                <a:gd name="T2" fmla="*/ 26 w 26"/>
                <a:gd name="T3" fmla="*/ 0 h 180"/>
                <a:gd name="T4" fmla="*/ 26 w 26"/>
                <a:gd name="T5" fmla="*/ 165 h 180"/>
                <a:gd name="T6" fmla="*/ 0 w 26"/>
                <a:gd name="T7" fmla="*/ 180 h 180"/>
                <a:gd name="T8" fmla="*/ 0 w 26"/>
                <a:gd name="T9" fmla="*/ 1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0">
                  <a:moveTo>
                    <a:pt x="0" y="15"/>
                  </a:moveTo>
                  <a:lnTo>
                    <a:pt x="26" y="0"/>
                  </a:lnTo>
                  <a:lnTo>
                    <a:pt x="26" y="165"/>
                  </a:lnTo>
                  <a:lnTo>
                    <a:pt x="0" y="18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4" name="Freeform 382">
              <a:extLst>
                <a:ext uri="{FF2B5EF4-FFF2-40B4-BE49-F238E27FC236}">
                  <a16:creationId xmlns:a16="http://schemas.microsoft.com/office/drawing/2014/main" id="{9C47771A-6E82-4EE7-804A-70F08B6214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45601" y="1139251"/>
              <a:ext cx="88900" cy="52388"/>
            </a:xfrm>
            <a:custGeom>
              <a:avLst/>
              <a:gdLst>
                <a:gd name="T0" fmla="*/ 0 w 56"/>
                <a:gd name="T1" fmla="*/ 15 h 33"/>
                <a:gd name="T2" fmla="*/ 26 w 56"/>
                <a:gd name="T3" fmla="*/ 0 h 33"/>
                <a:gd name="T4" fmla="*/ 56 w 56"/>
                <a:gd name="T5" fmla="*/ 18 h 33"/>
                <a:gd name="T6" fmla="*/ 30 w 56"/>
                <a:gd name="T7" fmla="*/ 33 h 33"/>
                <a:gd name="T8" fmla="*/ 0 w 56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33">
                  <a:moveTo>
                    <a:pt x="0" y="15"/>
                  </a:moveTo>
                  <a:lnTo>
                    <a:pt x="26" y="0"/>
                  </a:lnTo>
                  <a:lnTo>
                    <a:pt x="56" y="18"/>
                  </a:lnTo>
                  <a:lnTo>
                    <a:pt x="30" y="33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5" name="Freeform 383">
              <a:extLst>
                <a:ext uri="{FF2B5EF4-FFF2-40B4-BE49-F238E27FC236}">
                  <a16:creationId xmlns:a16="http://schemas.microsoft.com/office/drawing/2014/main" id="{23740B8A-FB86-40EB-8A9B-BD0C7E67AA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36063" y="1163064"/>
              <a:ext cx="265113" cy="566738"/>
            </a:xfrm>
            <a:custGeom>
              <a:avLst/>
              <a:gdLst>
                <a:gd name="T0" fmla="*/ 99 w 167"/>
                <a:gd name="T1" fmla="*/ 18 h 358"/>
                <a:gd name="T2" fmla="*/ 99 w 167"/>
                <a:gd name="T3" fmla="*/ 183 h 358"/>
                <a:gd name="T4" fmla="*/ 84 w 167"/>
                <a:gd name="T5" fmla="*/ 174 h 358"/>
                <a:gd name="T6" fmla="*/ 30 w 167"/>
                <a:gd name="T7" fmla="*/ 204 h 358"/>
                <a:gd name="T8" fmla="*/ 83 w 167"/>
                <a:gd name="T9" fmla="*/ 296 h 358"/>
                <a:gd name="T10" fmla="*/ 137 w 167"/>
                <a:gd name="T11" fmla="*/ 266 h 358"/>
                <a:gd name="T12" fmla="*/ 167 w 167"/>
                <a:gd name="T13" fmla="*/ 283 h 358"/>
                <a:gd name="T14" fmla="*/ 83 w 167"/>
                <a:gd name="T15" fmla="*/ 331 h 358"/>
                <a:gd name="T16" fmla="*/ 0 w 167"/>
                <a:gd name="T17" fmla="*/ 187 h 358"/>
                <a:gd name="T18" fmla="*/ 69 w 167"/>
                <a:gd name="T19" fmla="*/ 132 h 358"/>
                <a:gd name="T20" fmla="*/ 69 w 167"/>
                <a:gd name="T21" fmla="*/ 0 h 358"/>
                <a:gd name="T22" fmla="*/ 99 w 167"/>
                <a:gd name="T23" fmla="*/ 18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7" h="358">
                  <a:moveTo>
                    <a:pt x="99" y="18"/>
                  </a:moveTo>
                  <a:cubicBezTo>
                    <a:pt x="99" y="183"/>
                    <a:pt x="99" y="183"/>
                    <a:pt x="99" y="183"/>
                  </a:cubicBezTo>
                  <a:cubicBezTo>
                    <a:pt x="84" y="174"/>
                    <a:pt x="84" y="174"/>
                    <a:pt x="84" y="174"/>
                  </a:cubicBezTo>
                  <a:cubicBezTo>
                    <a:pt x="54" y="157"/>
                    <a:pt x="31" y="171"/>
                    <a:pt x="30" y="204"/>
                  </a:cubicBezTo>
                  <a:cubicBezTo>
                    <a:pt x="30" y="238"/>
                    <a:pt x="54" y="279"/>
                    <a:pt x="83" y="296"/>
                  </a:cubicBezTo>
                  <a:cubicBezTo>
                    <a:pt x="113" y="313"/>
                    <a:pt x="137" y="299"/>
                    <a:pt x="137" y="266"/>
                  </a:cubicBezTo>
                  <a:cubicBezTo>
                    <a:pt x="167" y="283"/>
                    <a:pt x="167" y="283"/>
                    <a:pt x="167" y="283"/>
                  </a:cubicBezTo>
                  <a:cubicBezTo>
                    <a:pt x="167" y="336"/>
                    <a:pt x="129" y="358"/>
                    <a:pt x="83" y="331"/>
                  </a:cubicBezTo>
                  <a:cubicBezTo>
                    <a:pt x="37" y="304"/>
                    <a:pt x="0" y="240"/>
                    <a:pt x="0" y="187"/>
                  </a:cubicBezTo>
                  <a:cubicBezTo>
                    <a:pt x="0" y="140"/>
                    <a:pt x="30" y="118"/>
                    <a:pt x="69" y="132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99" y="18"/>
                  </a:lnTo>
                  <a:close/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6" name="Freeform 384">
              <a:extLst>
                <a:ext uri="{FF2B5EF4-FFF2-40B4-BE49-F238E27FC236}">
                  <a16:creationId xmlns:a16="http://schemas.microsoft.com/office/drawing/2014/main" id="{F8AADA79-861F-4142-90A6-BA10783770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7888" y="5331839"/>
              <a:ext cx="311150" cy="365125"/>
            </a:xfrm>
            <a:custGeom>
              <a:avLst/>
              <a:gdLst>
                <a:gd name="T0" fmla="*/ 0 w 196"/>
                <a:gd name="T1" fmla="*/ 114 h 230"/>
                <a:gd name="T2" fmla="*/ 196 w 196"/>
                <a:gd name="T3" fmla="*/ 0 h 230"/>
                <a:gd name="T4" fmla="*/ 196 w 196"/>
                <a:gd name="T5" fmla="*/ 116 h 230"/>
                <a:gd name="T6" fmla="*/ 0 w 196"/>
                <a:gd name="T7" fmla="*/ 230 h 230"/>
                <a:gd name="T8" fmla="*/ 0 w 196"/>
                <a:gd name="T9" fmla="*/ 11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230">
                  <a:moveTo>
                    <a:pt x="0" y="114"/>
                  </a:moveTo>
                  <a:lnTo>
                    <a:pt x="196" y="0"/>
                  </a:lnTo>
                  <a:lnTo>
                    <a:pt x="196" y="116"/>
                  </a:lnTo>
                  <a:lnTo>
                    <a:pt x="0" y="230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7" name="Freeform 385">
              <a:extLst>
                <a:ext uri="{FF2B5EF4-FFF2-40B4-BE49-F238E27FC236}">
                  <a16:creationId xmlns:a16="http://schemas.microsoft.com/office/drawing/2014/main" id="{7195A070-0108-4DBC-A9D9-18B9112590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79101" y="5068314"/>
              <a:ext cx="769938" cy="444500"/>
            </a:xfrm>
            <a:custGeom>
              <a:avLst/>
              <a:gdLst>
                <a:gd name="T0" fmla="*/ 0 w 485"/>
                <a:gd name="T1" fmla="*/ 113 h 280"/>
                <a:gd name="T2" fmla="*/ 196 w 485"/>
                <a:gd name="T3" fmla="*/ 0 h 280"/>
                <a:gd name="T4" fmla="*/ 485 w 485"/>
                <a:gd name="T5" fmla="*/ 166 h 280"/>
                <a:gd name="T6" fmla="*/ 289 w 485"/>
                <a:gd name="T7" fmla="*/ 280 h 280"/>
                <a:gd name="T8" fmla="*/ 0 w 485"/>
                <a:gd name="T9" fmla="*/ 11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5" h="280">
                  <a:moveTo>
                    <a:pt x="0" y="113"/>
                  </a:moveTo>
                  <a:lnTo>
                    <a:pt x="196" y="0"/>
                  </a:lnTo>
                  <a:lnTo>
                    <a:pt x="485" y="166"/>
                  </a:lnTo>
                  <a:lnTo>
                    <a:pt x="289" y="280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26A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8" name="Freeform 386">
              <a:extLst>
                <a:ext uri="{FF2B5EF4-FFF2-40B4-BE49-F238E27FC236}">
                  <a16:creationId xmlns:a16="http://schemas.microsoft.com/office/drawing/2014/main" id="{CC21A5E8-8C94-4246-A714-1555E35454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79101" y="5247701"/>
              <a:ext cx="458788" cy="449263"/>
            </a:xfrm>
            <a:custGeom>
              <a:avLst/>
              <a:gdLst>
                <a:gd name="T0" fmla="*/ 289 w 289"/>
                <a:gd name="T1" fmla="*/ 167 h 283"/>
                <a:gd name="T2" fmla="*/ 289 w 289"/>
                <a:gd name="T3" fmla="*/ 283 h 283"/>
                <a:gd name="T4" fmla="*/ 0 w 289"/>
                <a:gd name="T5" fmla="*/ 116 h 283"/>
                <a:gd name="T6" fmla="*/ 0 w 289"/>
                <a:gd name="T7" fmla="*/ 0 h 283"/>
                <a:gd name="T8" fmla="*/ 289 w 289"/>
                <a:gd name="T9" fmla="*/ 16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" h="283">
                  <a:moveTo>
                    <a:pt x="289" y="167"/>
                  </a:moveTo>
                  <a:lnTo>
                    <a:pt x="289" y="283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289" y="167"/>
                  </a:lnTo>
                  <a:close/>
                </a:path>
              </a:pathLst>
            </a:custGeom>
            <a:solidFill>
              <a:srgbClr val="008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79" name="Freeform 387">
              <a:extLst>
                <a:ext uri="{FF2B5EF4-FFF2-40B4-BE49-F238E27FC236}">
                  <a16:creationId xmlns:a16="http://schemas.microsoft.com/office/drawing/2014/main" id="{3170181C-18C7-4A50-8DDE-A5DE9293B4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8913" y="882076"/>
              <a:ext cx="1868488" cy="1077913"/>
            </a:xfrm>
            <a:custGeom>
              <a:avLst/>
              <a:gdLst>
                <a:gd name="T0" fmla="*/ 0 w 1177"/>
                <a:gd name="T1" fmla="*/ 34 h 679"/>
                <a:gd name="T2" fmla="*/ 59 w 1177"/>
                <a:gd name="T3" fmla="*/ 0 h 679"/>
                <a:gd name="T4" fmla="*/ 1177 w 1177"/>
                <a:gd name="T5" fmla="*/ 645 h 679"/>
                <a:gd name="T6" fmla="*/ 1118 w 1177"/>
                <a:gd name="T7" fmla="*/ 679 h 679"/>
                <a:gd name="T8" fmla="*/ 0 w 1177"/>
                <a:gd name="T9" fmla="*/ 34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7" h="679">
                  <a:moveTo>
                    <a:pt x="0" y="34"/>
                  </a:moveTo>
                  <a:lnTo>
                    <a:pt x="59" y="0"/>
                  </a:lnTo>
                  <a:lnTo>
                    <a:pt x="1177" y="645"/>
                  </a:lnTo>
                  <a:lnTo>
                    <a:pt x="1118" y="679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80C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0" name="Freeform 388">
              <a:extLst>
                <a:ext uri="{FF2B5EF4-FFF2-40B4-BE49-F238E27FC236}">
                  <a16:creationId xmlns:a16="http://schemas.microsoft.com/office/drawing/2014/main" id="{E4554067-0525-410F-80D8-AAAB12432C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53738" y="2045714"/>
              <a:ext cx="246063" cy="142875"/>
            </a:xfrm>
            <a:custGeom>
              <a:avLst/>
              <a:gdLst>
                <a:gd name="T0" fmla="*/ 0 w 155"/>
                <a:gd name="T1" fmla="*/ 34 h 90"/>
                <a:gd name="T2" fmla="*/ 59 w 155"/>
                <a:gd name="T3" fmla="*/ 0 h 90"/>
                <a:gd name="T4" fmla="*/ 155 w 155"/>
                <a:gd name="T5" fmla="*/ 56 h 90"/>
                <a:gd name="T6" fmla="*/ 96 w 155"/>
                <a:gd name="T7" fmla="*/ 90 h 90"/>
                <a:gd name="T8" fmla="*/ 0 w 155"/>
                <a:gd name="T9" fmla="*/ 3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90">
                  <a:moveTo>
                    <a:pt x="0" y="34"/>
                  </a:moveTo>
                  <a:lnTo>
                    <a:pt x="59" y="0"/>
                  </a:lnTo>
                  <a:lnTo>
                    <a:pt x="155" y="56"/>
                  </a:lnTo>
                  <a:lnTo>
                    <a:pt x="96" y="9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94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1" name="Freeform 389">
              <a:extLst>
                <a:ext uri="{FF2B5EF4-FFF2-40B4-BE49-F238E27FC236}">
                  <a16:creationId xmlns:a16="http://schemas.microsoft.com/office/drawing/2014/main" id="{2A49624A-1B6E-4569-8199-B674511E54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44213" y="2099689"/>
              <a:ext cx="161925" cy="3284538"/>
            </a:xfrm>
            <a:custGeom>
              <a:avLst/>
              <a:gdLst>
                <a:gd name="T0" fmla="*/ 0 w 102"/>
                <a:gd name="T1" fmla="*/ 2013 h 2069"/>
                <a:gd name="T2" fmla="*/ 6 w 102"/>
                <a:gd name="T3" fmla="*/ 0 h 2069"/>
                <a:gd name="T4" fmla="*/ 102 w 102"/>
                <a:gd name="T5" fmla="*/ 56 h 2069"/>
                <a:gd name="T6" fmla="*/ 97 w 102"/>
                <a:gd name="T7" fmla="*/ 2069 h 2069"/>
                <a:gd name="T8" fmla="*/ 0 w 102"/>
                <a:gd name="T9" fmla="*/ 2013 h 2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2069">
                  <a:moveTo>
                    <a:pt x="0" y="2013"/>
                  </a:moveTo>
                  <a:lnTo>
                    <a:pt x="6" y="0"/>
                  </a:lnTo>
                  <a:lnTo>
                    <a:pt x="102" y="56"/>
                  </a:lnTo>
                  <a:lnTo>
                    <a:pt x="97" y="2069"/>
                  </a:lnTo>
                  <a:lnTo>
                    <a:pt x="0" y="2013"/>
                  </a:ln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2" name="Freeform 390">
              <a:extLst>
                <a:ext uri="{FF2B5EF4-FFF2-40B4-BE49-F238E27FC236}">
                  <a16:creationId xmlns:a16="http://schemas.microsoft.com/office/drawing/2014/main" id="{1563A76C-F4F6-49CC-9A73-C623AD0E5B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53738" y="1906014"/>
              <a:ext cx="246063" cy="142875"/>
            </a:xfrm>
            <a:custGeom>
              <a:avLst/>
              <a:gdLst>
                <a:gd name="T0" fmla="*/ 0 w 155"/>
                <a:gd name="T1" fmla="*/ 34 h 90"/>
                <a:gd name="T2" fmla="*/ 59 w 155"/>
                <a:gd name="T3" fmla="*/ 0 h 90"/>
                <a:gd name="T4" fmla="*/ 155 w 155"/>
                <a:gd name="T5" fmla="*/ 55 h 90"/>
                <a:gd name="T6" fmla="*/ 97 w 155"/>
                <a:gd name="T7" fmla="*/ 90 h 90"/>
                <a:gd name="T8" fmla="*/ 0 w 155"/>
                <a:gd name="T9" fmla="*/ 3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90">
                  <a:moveTo>
                    <a:pt x="0" y="34"/>
                  </a:moveTo>
                  <a:lnTo>
                    <a:pt x="59" y="0"/>
                  </a:lnTo>
                  <a:lnTo>
                    <a:pt x="155" y="55"/>
                  </a:lnTo>
                  <a:lnTo>
                    <a:pt x="97" y="9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94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3" name="Freeform 391">
              <a:extLst>
                <a:ext uri="{FF2B5EF4-FFF2-40B4-BE49-F238E27FC236}">
                  <a16:creationId xmlns:a16="http://schemas.microsoft.com/office/drawing/2014/main" id="{68F3E53A-B3EE-4270-BEB7-0FB931C52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8913" y="936051"/>
              <a:ext cx="1928813" cy="1252538"/>
            </a:xfrm>
            <a:custGeom>
              <a:avLst/>
              <a:gdLst>
                <a:gd name="T0" fmla="*/ 1215 w 1215"/>
                <a:gd name="T1" fmla="*/ 701 h 789"/>
                <a:gd name="T2" fmla="*/ 1214 w 1215"/>
                <a:gd name="T3" fmla="*/ 789 h 789"/>
                <a:gd name="T4" fmla="*/ 1118 w 1215"/>
                <a:gd name="T5" fmla="*/ 733 h 789"/>
                <a:gd name="T6" fmla="*/ 0 w 1215"/>
                <a:gd name="T7" fmla="*/ 89 h 789"/>
                <a:gd name="T8" fmla="*/ 0 w 1215"/>
                <a:gd name="T9" fmla="*/ 0 h 789"/>
                <a:gd name="T10" fmla="*/ 1118 w 1215"/>
                <a:gd name="T11" fmla="*/ 645 h 789"/>
                <a:gd name="T12" fmla="*/ 1215 w 1215"/>
                <a:gd name="T13" fmla="*/ 701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5" h="789">
                  <a:moveTo>
                    <a:pt x="1215" y="701"/>
                  </a:moveTo>
                  <a:lnTo>
                    <a:pt x="1214" y="789"/>
                  </a:lnTo>
                  <a:lnTo>
                    <a:pt x="1118" y="733"/>
                  </a:lnTo>
                  <a:lnTo>
                    <a:pt x="0" y="89"/>
                  </a:lnTo>
                  <a:lnTo>
                    <a:pt x="0" y="0"/>
                  </a:lnTo>
                  <a:lnTo>
                    <a:pt x="1118" y="645"/>
                  </a:lnTo>
                  <a:lnTo>
                    <a:pt x="1215" y="701"/>
                  </a:ln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4" name="Freeform 392">
              <a:extLst>
                <a:ext uri="{FF2B5EF4-FFF2-40B4-BE49-F238E27FC236}">
                  <a16:creationId xmlns:a16="http://schemas.microsoft.com/office/drawing/2014/main" id="{23D77ADD-551A-477F-A5E1-393AC43FD5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55326" y="1683764"/>
              <a:ext cx="246063" cy="115888"/>
            </a:xfrm>
            <a:custGeom>
              <a:avLst/>
              <a:gdLst>
                <a:gd name="T0" fmla="*/ 0 w 155"/>
                <a:gd name="T1" fmla="*/ 73 h 73"/>
                <a:gd name="T2" fmla="*/ 58 w 155"/>
                <a:gd name="T3" fmla="*/ 39 h 73"/>
                <a:gd name="T4" fmla="*/ 155 w 155"/>
                <a:gd name="T5" fmla="*/ 0 h 73"/>
                <a:gd name="T6" fmla="*/ 96 w 155"/>
                <a:gd name="T7" fmla="*/ 34 h 73"/>
                <a:gd name="T8" fmla="*/ 0 w 155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73">
                  <a:moveTo>
                    <a:pt x="0" y="73"/>
                  </a:moveTo>
                  <a:lnTo>
                    <a:pt x="58" y="39"/>
                  </a:lnTo>
                  <a:lnTo>
                    <a:pt x="155" y="0"/>
                  </a:lnTo>
                  <a:lnTo>
                    <a:pt x="96" y="34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26A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5" name="Freeform 393">
              <a:extLst>
                <a:ext uri="{FF2B5EF4-FFF2-40B4-BE49-F238E27FC236}">
                  <a16:creationId xmlns:a16="http://schemas.microsoft.com/office/drawing/2014/main" id="{94ACCEA0-F08C-40C8-AEDC-679076DCD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8201" y="1993326"/>
              <a:ext cx="101600" cy="3390900"/>
            </a:xfrm>
            <a:custGeom>
              <a:avLst/>
              <a:gdLst>
                <a:gd name="T0" fmla="*/ 5 w 64"/>
                <a:gd name="T1" fmla="*/ 123 h 2136"/>
                <a:gd name="T2" fmla="*/ 5 w 64"/>
                <a:gd name="T3" fmla="*/ 123 h 2136"/>
                <a:gd name="T4" fmla="*/ 0 w 64"/>
                <a:gd name="T5" fmla="*/ 2136 h 2136"/>
                <a:gd name="T6" fmla="*/ 58 w 64"/>
                <a:gd name="T7" fmla="*/ 2101 h 2136"/>
                <a:gd name="T8" fmla="*/ 64 w 64"/>
                <a:gd name="T9" fmla="*/ 89 h 2136"/>
                <a:gd name="T10" fmla="*/ 64 w 64"/>
                <a:gd name="T11" fmla="*/ 0 h 2136"/>
                <a:gd name="T12" fmla="*/ 6 w 64"/>
                <a:gd name="T13" fmla="*/ 35 h 2136"/>
                <a:gd name="T14" fmla="*/ 5 w 64"/>
                <a:gd name="T15" fmla="*/ 123 h 2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2136">
                  <a:moveTo>
                    <a:pt x="5" y="123"/>
                  </a:moveTo>
                  <a:lnTo>
                    <a:pt x="5" y="123"/>
                  </a:lnTo>
                  <a:lnTo>
                    <a:pt x="0" y="2136"/>
                  </a:lnTo>
                  <a:lnTo>
                    <a:pt x="58" y="2101"/>
                  </a:lnTo>
                  <a:lnTo>
                    <a:pt x="64" y="89"/>
                  </a:lnTo>
                  <a:lnTo>
                    <a:pt x="64" y="0"/>
                  </a:lnTo>
                  <a:lnTo>
                    <a:pt x="6" y="35"/>
                  </a:lnTo>
                  <a:lnTo>
                    <a:pt x="5" y="123"/>
                  </a:lnTo>
                  <a:close/>
                </a:path>
              </a:pathLst>
            </a:custGeom>
            <a:solidFill>
              <a:srgbClr val="80C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6" name="Freeform 394">
              <a:extLst>
                <a:ext uri="{FF2B5EF4-FFF2-40B4-BE49-F238E27FC236}">
                  <a16:creationId xmlns:a16="http://schemas.microsoft.com/office/drawing/2014/main" id="{D5A4E643-CFA6-4ED7-A65D-0CD36BEE6A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7726" y="1683764"/>
              <a:ext cx="93663" cy="365125"/>
            </a:xfrm>
            <a:custGeom>
              <a:avLst/>
              <a:gdLst>
                <a:gd name="T0" fmla="*/ 59 w 59"/>
                <a:gd name="T1" fmla="*/ 0 h 230"/>
                <a:gd name="T2" fmla="*/ 0 w 59"/>
                <a:gd name="T3" fmla="*/ 34 h 230"/>
                <a:gd name="T4" fmla="*/ 0 w 59"/>
                <a:gd name="T5" fmla="*/ 230 h 230"/>
                <a:gd name="T6" fmla="*/ 58 w 59"/>
                <a:gd name="T7" fmla="*/ 195 h 230"/>
                <a:gd name="T8" fmla="*/ 59 w 59"/>
                <a:gd name="T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30">
                  <a:moveTo>
                    <a:pt x="59" y="0"/>
                  </a:moveTo>
                  <a:lnTo>
                    <a:pt x="0" y="34"/>
                  </a:lnTo>
                  <a:lnTo>
                    <a:pt x="0" y="230"/>
                  </a:lnTo>
                  <a:lnTo>
                    <a:pt x="58" y="195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80C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7" name="Freeform 395">
              <a:extLst>
                <a:ext uri="{FF2B5EF4-FFF2-40B4-BE49-F238E27FC236}">
                  <a16:creationId xmlns:a16="http://schemas.microsoft.com/office/drawing/2014/main" id="{8FD5F529-8265-4154-8FFC-8FA3C8B34F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53738" y="1737739"/>
              <a:ext cx="153988" cy="311150"/>
            </a:xfrm>
            <a:custGeom>
              <a:avLst/>
              <a:gdLst>
                <a:gd name="T0" fmla="*/ 1 w 97"/>
                <a:gd name="T1" fmla="*/ 39 h 196"/>
                <a:gd name="T2" fmla="*/ 97 w 97"/>
                <a:gd name="T3" fmla="*/ 0 h 196"/>
                <a:gd name="T4" fmla="*/ 97 w 97"/>
                <a:gd name="T5" fmla="*/ 196 h 196"/>
                <a:gd name="T6" fmla="*/ 0 w 97"/>
                <a:gd name="T7" fmla="*/ 140 h 196"/>
                <a:gd name="T8" fmla="*/ 1 w 97"/>
                <a:gd name="T9" fmla="*/ 3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96">
                  <a:moveTo>
                    <a:pt x="1" y="39"/>
                  </a:moveTo>
                  <a:lnTo>
                    <a:pt x="97" y="0"/>
                  </a:lnTo>
                  <a:lnTo>
                    <a:pt x="97" y="196"/>
                  </a:lnTo>
                  <a:lnTo>
                    <a:pt x="0" y="140"/>
                  </a:lnTo>
                  <a:lnTo>
                    <a:pt x="1" y="39"/>
                  </a:ln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8" name="Freeform 396">
              <a:extLst>
                <a:ext uri="{FF2B5EF4-FFF2-40B4-BE49-F238E27FC236}">
                  <a16:creationId xmlns:a16="http://schemas.microsoft.com/office/drawing/2014/main" id="{81A5573C-BA09-49C7-956D-3197C2A4A3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50451" y="2741039"/>
              <a:ext cx="409575" cy="749300"/>
            </a:xfrm>
            <a:custGeom>
              <a:avLst/>
              <a:gdLst>
                <a:gd name="T0" fmla="*/ 53 w 258"/>
                <a:gd name="T1" fmla="*/ 45 h 473"/>
                <a:gd name="T2" fmla="*/ 131 w 258"/>
                <a:gd name="T3" fmla="*/ 0 h 473"/>
                <a:gd name="T4" fmla="*/ 78 w 258"/>
                <a:gd name="T5" fmla="*/ 116 h 473"/>
                <a:gd name="T6" fmla="*/ 258 w 258"/>
                <a:gd name="T7" fmla="*/ 428 h 473"/>
                <a:gd name="T8" fmla="*/ 181 w 258"/>
                <a:gd name="T9" fmla="*/ 473 h 473"/>
                <a:gd name="T10" fmla="*/ 1 w 258"/>
                <a:gd name="T11" fmla="*/ 161 h 473"/>
                <a:gd name="T12" fmla="*/ 53 w 258"/>
                <a:gd name="T13" fmla="*/ 45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" h="473">
                  <a:moveTo>
                    <a:pt x="53" y="45"/>
                  </a:moveTo>
                  <a:cubicBezTo>
                    <a:pt x="131" y="0"/>
                    <a:pt x="131" y="0"/>
                    <a:pt x="131" y="0"/>
                  </a:cubicBezTo>
                  <a:cubicBezTo>
                    <a:pt x="98" y="19"/>
                    <a:pt x="78" y="59"/>
                    <a:pt x="78" y="116"/>
                  </a:cubicBezTo>
                  <a:cubicBezTo>
                    <a:pt x="78" y="231"/>
                    <a:pt x="158" y="370"/>
                    <a:pt x="258" y="428"/>
                  </a:cubicBezTo>
                  <a:cubicBezTo>
                    <a:pt x="181" y="473"/>
                    <a:pt x="181" y="473"/>
                    <a:pt x="181" y="473"/>
                  </a:cubicBezTo>
                  <a:cubicBezTo>
                    <a:pt x="81" y="415"/>
                    <a:pt x="0" y="276"/>
                    <a:pt x="1" y="161"/>
                  </a:cubicBezTo>
                  <a:cubicBezTo>
                    <a:pt x="1" y="104"/>
                    <a:pt x="21" y="64"/>
                    <a:pt x="53" y="45"/>
                  </a:cubicBezTo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89" name="Freeform 397">
              <a:extLst>
                <a:ext uri="{FF2B5EF4-FFF2-40B4-BE49-F238E27FC236}">
                  <a16:creationId xmlns:a16="http://schemas.microsoft.com/office/drawing/2014/main" id="{28F56DF1-316D-4D38-AD4D-16B3653324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7788" y="3418901"/>
              <a:ext cx="327025" cy="122238"/>
            </a:xfrm>
            <a:custGeom>
              <a:avLst/>
              <a:gdLst>
                <a:gd name="T0" fmla="*/ 206 w 206"/>
                <a:gd name="T1" fmla="*/ 13 h 77"/>
                <a:gd name="T2" fmla="*/ 128 w 206"/>
                <a:gd name="T3" fmla="*/ 58 h 77"/>
                <a:gd name="T4" fmla="*/ 0 w 206"/>
                <a:gd name="T5" fmla="*/ 45 h 77"/>
                <a:gd name="T6" fmla="*/ 77 w 206"/>
                <a:gd name="T7" fmla="*/ 0 h 77"/>
                <a:gd name="T8" fmla="*/ 206 w 206"/>
                <a:gd name="T9" fmla="*/ 1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77">
                  <a:moveTo>
                    <a:pt x="206" y="13"/>
                  </a:moveTo>
                  <a:cubicBezTo>
                    <a:pt x="128" y="58"/>
                    <a:pt x="128" y="58"/>
                    <a:pt x="128" y="58"/>
                  </a:cubicBezTo>
                  <a:cubicBezTo>
                    <a:pt x="96" y="77"/>
                    <a:pt x="50" y="74"/>
                    <a:pt x="0" y="45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27" y="29"/>
                    <a:pt x="173" y="32"/>
                    <a:pt x="206" y="13"/>
                  </a:cubicBezTo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90" name="Freeform 398">
              <a:extLst>
                <a:ext uri="{FF2B5EF4-FFF2-40B4-BE49-F238E27FC236}">
                  <a16:creationId xmlns:a16="http://schemas.microsoft.com/office/drawing/2014/main" id="{D3C34DAB-EE70-4236-9AD7-588000D829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34588" y="2710876"/>
              <a:ext cx="327025" cy="122238"/>
            </a:xfrm>
            <a:custGeom>
              <a:avLst/>
              <a:gdLst>
                <a:gd name="T0" fmla="*/ 78 w 206"/>
                <a:gd name="T1" fmla="*/ 19 h 77"/>
                <a:gd name="T2" fmla="*/ 206 w 206"/>
                <a:gd name="T3" fmla="*/ 32 h 77"/>
                <a:gd name="T4" fmla="*/ 129 w 206"/>
                <a:gd name="T5" fmla="*/ 77 h 77"/>
                <a:gd name="T6" fmla="*/ 0 w 206"/>
                <a:gd name="T7" fmla="*/ 64 h 77"/>
                <a:gd name="T8" fmla="*/ 78 w 206"/>
                <a:gd name="T9" fmla="*/ 1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77">
                  <a:moveTo>
                    <a:pt x="78" y="19"/>
                  </a:moveTo>
                  <a:cubicBezTo>
                    <a:pt x="111" y="0"/>
                    <a:pt x="156" y="3"/>
                    <a:pt x="206" y="32"/>
                  </a:cubicBezTo>
                  <a:cubicBezTo>
                    <a:pt x="129" y="77"/>
                    <a:pt x="129" y="77"/>
                    <a:pt x="129" y="77"/>
                  </a:cubicBezTo>
                  <a:cubicBezTo>
                    <a:pt x="79" y="48"/>
                    <a:pt x="33" y="45"/>
                    <a:pt x="0" y="64"/>
                  </a:cubicBezTo>
                  <a:cubicBezTo>
                    <a:pt x="24" y="51"/>
                    <a:pt x="54" y="33"/>
                    <a:pt x="78" y="19"/>
                  </a:cubicBezTo>
                </a:path>
              </a:pathLst>
            </a:custGeom>
            <a:solidFill>
              <a:srgbClr val="B2DF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91" name="Freeform 399">
              <a:extLst>
                <a:ext uri="{FF2B5EF4-FFF2-40B4-BE49-F238E27FC236}">
                  <a16:creationId xmlns:a16="http://schemas.microsoft.com/office/drawing/2014/main" id="{E01CB968-2895-4A7E-A4C0-EB282DFE7E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9376" y="2761676"/>
              <a:ext cx="282575" cy="217488"/>
            </a:xfrm>
            <a:custGeom>
              <a:avLst/>
              <a:gdLst>
                <a:gd name="T0" fmla="*/ 77 w 178"/>
                <a:gd name="T1" fmla="*/ 0 h 138"/>
                <a:gd name="T2" fmla="*/ 178 w 178"/>
                <a:gd name="T3" fmla="*/ 94 h 138"/>
                <a:gd name="T4" fmla="*/ 101 w 178"/>
                <a:gd name="T5" fmla="*/ 138 h 138"/>
                <a:gd name="T6" fmla="*/ 0 w 178"/>
                <a:gd name="T7" fmla="*/ 45 h 138"/>
                <a:gd name="T8" fmla="*/ 77 w 178"/>
                <a:gd name="T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138">
                  <a:moveTo>
                    <a:pt x="77" y="0"/>
                  </a:moveTo>
                  <a:cubicBezTo>
                    <a:pt x="115" y="21"/>
                    <a:pt x="149" y="55"/>
                    <a:pt x="178" y="94"/>
                  </a:cubicBezTo>
                  <a:cubicBezTo>
                    <a:pt x="152" y="109"/>
                    <a:pt x="127" y="123"/>
                    <a:pt x="101" y="138"/>
                  </a:cubicBezTo>
                  <a:cubicBezTo>
                    <a:pt x="72" y="99"/>
                    <a:pt x="37" y="66"/>
                    <a:pt x="0" y="45"/>
                  </a:cubicBezTo>
                  <a:cubicBezTo>
                    <a:pt x="23" y="31"/>
                    <a:pt x="54" y="13"/>
                    <a:pt x="77" y="0"/>
                  </a:cubicBezTo>
                </a:path>
              </a:pathLst>
            </a:custGeom>
            <a:solidFill>
              <a:srgbClr val="B2DF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92" name="Freeform 400">
              <a:extLst>
                <a:ext uri="{FF2B5EF4-FFF2-40B4-BE49-F238E27FC236}">
                  <a16:creationId xmlns:a16="http://schemas.microsoft.com/office/drawing/2014/main" id="{ADE77BDD-CB0D-48D8-952B-EE6E849BF2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9713" y="2909314"/>
              <a:ext cx="249238" cy="601663"/>
            </a:xfrm>
            <a:custGeom>
              <a:avLst/>
              <a:gdLst>
                <a:gd name="T0" fmla="*/ 156 w 157"/>
                <a:gd name="T1" fmla="*/ 218 h 379"/>
                <a:gd name="T2" fmla="*/ 104 w 157"/>
                <a:gd name="T3" fmla="*/ 334 h 379"/>
                <a:gd name="T4" fmla="*/ 26 w 157"/>
                <a:gd name="T5" fmla="*/ 379 h 379"/>
                <a:gd name="T6" fmla="*/ 79 w 157"/>
                <a:gd name="T7" fmla="*/ 263 h 379"/>
                <a:gd name="T8" fmla="*/ 0 w 157"/>
                <a:gd name="T9" fmla="*/ 44 h 379"/>
                <a:gd name="T10" fmla="*/ 77 w 157"/>
                <a:gd name="T11" fmla="*/ 0 h 379"/>
                <a:gd name="T12" fmla="*/ 156 w 157"/>
                <a:gd name="T13" fmla="*/ 218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379">
                  <a:moveTo>
                    <a:pt x="156" y="218"/>
                  </a:moveTo>
                  <a:cubicBezTo>
                    <a:pt x="156" y="275"/>
                    <a:pt x="136" y="315"/>
                    <a:pt x="104" y="334"/>
                  </a:cubicBezTo>
                  <a:cubicBezTo>
                    <a:pt x="26" y="379"/>
                    <a:pt x="26" y="379"/>
                    <a:pt x="26" y="379"/>
                  </a:cubicBezTo>
                  <a:cubicBezTo>
                    <a:pt x="59" y="360"/>
                    <a:pt x="79" y="320"/>
                    <a:pt x="79" y="263"/>
                  </a:cubicBezTo>
                  <a:cubicBezTo>
                    <a:pt x="79" y="191"/>
                    <a:pt x="48" y="110"/>
                    <a:pt x="0" y="44"/>
                  </a:cubicBezTo>
                  <a:cubicBezTo>
                    <a:pt x="26" y="29"/>
                    <a:pt x="51" y="15"/>
                    <a:pt x="77" y="0"/>
                  </a:cubicBezTo>
                  <a:cubicBezTo>
                    <a:pt x="125" y="65"/>
                    <a:pt x="157" y="146"/>
                    <a:pt x="156" y="218"/>
                  </a:cubicBezTo>
                </a:path>
              </a:pathLst>
            </a:custGeom>
            <a:solidFill>
              <a:srgbClr val="B2DF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93" name="Freeform 401">
              <a:extLst>
                <a:ext uri="{FF2B5EF4-FFF2-40B4-BE49-F238E27FC236}">
                  <a16:creationId xmlns:a16="http://schemas.microsoft.com/office/drawing/2014/main" id="{C692E2E8-30BC-40AB-9CC5-131FF6EB37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2426" y="3253801"/>
              <a:ext cx="234950" cy="377825"/>
            </a:xfrm>
            <a:custGeom>
              <a:avLst/>
              <a:gdLst>
                <a:gd name="T0" fmla="*/ 77 w 148"/>
                <a:gd name="T1" fmla="*/ 193 h 238"/>
                <a:gd name="T2" fmla="*/ 0 w 148"/>
                <a:gd name="T3" fmla="*/ 238 h 238"/>
                <a:gd name="T4" fmla="*/ 69 w 148"/>
                <a:gd name="T5" fmla="*/ 116 h 238"/>
                <a:gd name="T6" fmla="*/ 71 w 148"/>
                <a:gd name="T7" fmla="*/ 82 h 238"/>
                <a:gd name="T8" fmla="*/ 69 w 148"/>
                <a:gd name="T9" fmla="*/ 45 h 238"/>
                <a:gd name="T10" fmla="*/ 146 w 148"/>
                <a:gd name="T11" fmla="*/ 0 h 238"/>
                <a:gd name="T12" fmla="*/ 148 w 148"/>
                <a:gd name="T13" fmla="*/ 37 h 238"/>
                <a:gd name="T14" fmla="*/ 146 w 148"/>
                <a:gd name="T15" fmla="*/ 71 h 238"/>
                <a:gd name="T16" fmla="*/ 77 w 148"/>
                <a:gd name="T17" fmla="*/ 193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238">
                  <a:moveTo>
                    <a:pt x="77" y="193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37" y="217"/>
                    <a:pt x="62" y="175"/>
                    <a:pt x="69" y="116"/>
                  </a:cubicBezTo>
                  <a:cubicBezTo>
                    <a:pt x="70" y="105"/>
                    <a:pt x="71" y="94"/>
                    <a:pt x="71" y="82"/>
                  </a:cubicBezTo>
                  <a:cubicBezTo>
                    <a:pt x="71" y="70"/>
                    <a:pt x="70" y="58"/>
                    <a:pt x="69" y="45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8" y="13"/>
                    <a:pt x="148" y="25"/>
                    <a:pt x="148" y="37"/>
                  </a:cubicBezTo>
                  <a:cubicBezTo>
                    <a:pt x="148" y="49"/>
                    <a:pt x="147" y="61"/>
                    <a:pt x="146" y="71"/>
                  </a:cubicBezTo>
                  <a:cubicBezTo>
                    <a:pt x="139" y="130"/>
                    <a:pt x="114" y="172"/>
                    <a:pt x="77" y="193"/>
                  </a:cubicBez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94" name="Freeform 402">
              <a:extLst>
                <a:ext uri="{FF2B5EF4-FFF2-40B4-BE49-F238E27FC236}">
                  <a16:creationId xmlns:a16="http://schemas.microsoft.com/office/drawing/2014/main" id="{05C2684D-B788-42E7-A93C-D584E0B540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64738" y="2579114"/>
              <a:ext cx="779463" cy="746125"/>
            </a:xfrm>
            <a:custGeom>
              <a:avLst/>
              <a:gdLst>
                <a:gd name="T0" fmla="*/ 0 w 491"/>
                <a:gd name="T1" fmla="*/ 71 h 471"/>
                <a:gd name="T2" fmla="*/ 77 w 491"/>
                <a:gd name="T3" fmla="*/ 26 h 471"/>
                <a:gd name="T4" fmla="*/ 250 w 491"/>
                <a:gd name="T5" fmla="*/ 43 h 471"/>
                <a:gd name="T6" fmla="*/ 491 w 491"/>
                <a:gd name="T7" fmla="*/ 426 h 471"/>
                <a:gd name="T8" fmla="*/ 414 w 491"/>
                <a:gd name="T9" fmla="*/ 471 h 471"/>
                <a:gd name="T10" fmla="*/ 173 w 491"/>
                <a:gd name="T11" fmla="*/ 88 h 471"/>
                <a:gd name="T12" fmla="*/ 0 w 491"/>
                <a:gd name="T13" fmla="*/ 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1" h="471">
                  <a:moveTo>
                    <a:pt x="0" y="71"/>
                  </a:moveTo>
                  <a:cubicBezTo>
                    <a:pt x="77" y="26"/>
                    <a:pt x="77" y="26"/>
                    <a:pt x="77" y="26"/>
                  </a:cubicBezTo>
                  <a:cubicBezTo>
                    <a:pt x="122" y="0"/>
                    <a:pt x="183" y="4"/>
                    <a:pt x="250" y="43"/>
                  </a:cubicBezTo>
                  <a:cubicBezTo>
                    <a:pt x="374" y="114"/>
                    <a:pt x="477" y="280"/>
                    <a:pt x="491" y="426"/>
                  </a:cubicBezTo>
                  <a:cubicBezTo>
                    <a:pt x="414" y="471"/>
                    <a:pt x="414" y="471"/>
                    <a:pt x="414" y="471"/>
                  </a:cubicBezTo>
                  <a:cubicBezTo>
                    <a:pt x="399" y="325"/>
                    <a:pt x="297" y="159"/>
                    <a:pt x="173" y="88"/>
                  </a:cubicBezTo>
                  <a:cubicBezTo>
                    <a:pt x="106" y="48"/>
                    <a:pt x="44" y="45"/>
                    <a:pt x="0" y="71"/>
                  </a:cubicBez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95" name="Freeform 403">
              <a:extLst>
                <a:ext uri="{FF2B5EF4-FFF2-40B4-BE49-F238E27FC236}">
                  <a16:creationId xmlns:a16="http://schemas.microsoft.com/office/drawing/2014/main" id="{36772FCF-5DA7-40D8-93AC-54EBEC0BB9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852026" y="2594989"/>
              <a:ext cx="773113" cy="1123950"/>
            </a:xfrm>
            <a:custGeom>
              <a:avLst/>
              <a:gdLst>
                <a:gd name="T0" fmla="*/ 485 w 487"/>
                <a:gd name="T1" fmla="*/ 461 h 709"/>
                <a:gd name="T2" fmla="*/ 487 w 487"/>
                <a:gd name="T3" fmla="*/ 498 h 709"/>
                <a:gd name="T4" fmla="*/ 485 w 487"/>
                <a:gd name="T5" fmla="*/ 532 h 709"/>
                <a:gd name="T6" fmla="*/ 243 w 487"/>
                <a:gd name="T7" fmla="*/ 637 h 709"/>
                <a:gd name="T8" fmla="*/ 0 w 487"/>
                <a:gd name="T9" fmla="*/ 217 h 709"/>
                <a:gd name="T10" fmla="*/ 244 w 487"/>
                <a:gd name="T11" fmla="*/ 78 h 709"/>
                <a:gd name="T12" fmla="*/ 485 w 487"/>
                <a:gd name="T13" fmla="*/ 461 h 709"/>
                <a:gd name="T14" fmla="*/ 243 w 487"/>
                <a:gd name="T15" fmla="*/ 565 h 709"/>
                <a:gd name="T16" fmla="*/ 424 w 487"/>
                <a:gd name="T17" fmla="*/ 462 h 709"/>
                <a:gd name="T18" fmla="*/ 244 w 487"/>
                <a:gd name="T19" fmla="*/ 150 h 709"/>
                <a:gd name="T20" fmla="*/ 63 w 487"/>
                <a:gd name="T21" fmla="*/ 253 h 709"/>
                <a:gd name="T22" fmla="*/ 243 w 487"/>
                <a:gd name="T23" fmla="*/ 565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7" h="709">
                  <a:moveTo>
                    <a:pt x="485" y="461"/>
                  </a:moveTo>
                  <a:cubicBezTo>
                    <a:pt x="486" y="474"/>
                    <a:pt x="487" y="486"/>
                    <a:pt x="487" y="498"/>
                  </a:cubicBezTo>
                  <a:cubicBezTo>
                    <a:pt x="487" y="510"/>
                    <a:pt x="486" y="521"/>
                    <a:pt x="485" y="532"/>
                  </a:cubicBezTo>
                  <a:cubicBezTo>
                    <a:pt x="469" y="661"/>
                    <a:pt x="367" y="709"/>
                    <a:pt x="243" y="637"/>
                  </a:cubicBezTo>
                  <a:cubicBezTo>
                    <a:pt x="108" y="559"/>
                    <a:pt x="0" y="371"/>
                    <a:pt x="0" y="217"/>
                  </a:cubicBezTo>
                  <a:cubicBezTo>
                    <a:pt x="0" y="62"/>
                    <a:pt x="110" y="0"/>
                    <a:pt x="244" y="78"/>
                  </a:cubicBezTo>
                  <a:cubicBezTo>
                    <a:pt x="368" y="149"/>
                    <a:pt x="470" y="315"/>
                    <a:pt x="485" y="461"/>
                  </a:cubicBezTo>
                  <a:moveTo>
                    <a:pt x="243" y="565"/>
                  </a:moveTo>
                  <a:cubicBezTo>
                    <a:pt x="343" y="623"/>
                    <a:pt x="424" y="576"/>
                    <a:pt x="424" y="462"/>
                  </a:cubicBezTo>
                  <a:cubicBezTo>
                    <a:pt x="425" y="347"/>
                    <a:pt x="344" y="207"/>
                    <a:pt x="244" y="150"/>
                  </a:cubicBezTo>
                  <a:cubicBezTo>
                    <a:pt x="144" y="92"/>
                    <a:pt x="63" y="138"/>
                    <a:pt x="63" y="253"/>
                  </a:cubicBezTo>
                  <a:cubicBezTo>
                    <a:pt x="62" y="368"/>
                    <a:pt x="143" y="507"/>
                    <a:pt x="243" y="56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96" name="Freeform 404">
              <a:extLst>
                <a:ext uri="{FF2B5EF4-FFF2-40B4-BE49-F238E27FC236}">
                  <a16:creationId xmlns:a16="http://schemas.microsoft.com/office/drawing/2014/main" id="{2DD836FD-C3F6-439E-9090-8E71F721FE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7188" y="3242689"/>
              <a:ext cx="7938" cy="157163"/>
            </a:xfrm>
            <a:custGeom>
              <a:avLst/>
              <a:gdLst>
                <a:gd name="T0" fmla="*/ 0 w 5"/>
                <a:gd name="T1" fmla="*/ 0 h 99"/>
                <a:gd name="T2" fmla="*/ 0 w 5"/>
                <a:gd name="T3" fmla="*/ 99 h 99"/>
                <a:gd name="T4" fmla="*/ 4 w 5"/>
                <a:gd name="T5" fmla="*/ 79 h 99"/>
                <a:gd name="T6" fmla="*/ 5 w 5"/>
                <a:gd name="T7" fmla="*/ 53 h 99"/>
                <a:gd name="T8" fmla="*/ 5 w 5"/>
                <a:gd name="T9" fmla="*/ 52 h 99"/>
                <a:gd name="T10" fmla="*/ 5 w 5"/>
                <a:gd name="T11" fmla="*/ 52 h 99"/>
                <a:gd name="T12" fmla="*/ 5 w 5"/>
                <a:gd name="T13" fmla="*/ 52 h 99"/>
                <a:gd name="T14" fmla="*/ 5 w 5"/>
                <a:gd name="T15" fmla="*/ 51 h 99"/>
                <a:gd name="T16" fmla="*/ 5 w 5"/>
                <a:gd name="T17" fmla="*/ 51 h 99"/>
                <a:gd name="T18" fmla="*/ 5 w 5"/>
                <a:gd name="T19" fmla="*/ 50 h 99"/>
                <a:gd name="T20" fmla="*/ 5 w 5"/>
                <a:gd name="T21" fmla="*/ 50 h 99"/>
                <a:gd name="T22" fmla="*/ 5 w 5"/>
                <a:gd name="T23" fmla="*/ 50 h 99"/>
                <a:gd name="T24" fmla="*/ 5 w 5"/>
                <a:gd name="T25" fmla="*/ 49 h 99"/>
                <a:gd name="T26" fmla="*/ 5 w 5"/>
                <a:gd name="T27" fmla="*/ 49 h 99"/>
                <a:gd name="T28" fmla="*/ 5 w 5"/>
                <a:gd name="T29" fmla="*/ 48 h 99"/>
                <a:gd name="T30" fmla="*/ 5 w 5"/>
                <a:gd name="T31" fmla="*/ 48 h 99"/>
                <a:gd name="T32" fmla="*/ 5 w 5"/>
                <a:gd name="T33" fmla="*/ 47 h 99"/>
                <a:gd name="T34" fmla="*/ 5 w 5"/>
                <a:gd name="T35" fmla="*/ 47 h 99"/>
                <a:gd name="T36" fmla="*/ 5 w 5"/>
                <a:gd name="T37" fmla="*/ 47 h 99"/>
                <a:gd name="T38" fmla="*/ 5 w 5"/>
                <a:gd name="T39" fmla="*/ 46 h 99"/>
                <a:gd name="T40" fmla="*/ 5 w 5"/>
                <a:gd name="T41" fmla="*/ 45 h 99"/>
                <a:gd name="T42" fmla="*/ 5 w 5"/>
                <a:gd name="T43" fmla="*/ 45 h 99"/>
                <a:gd name="T44" fmla="*/ 5 w 5"/>
                <a:gd name="T45" fmla="*/ 45 h 99"/>
                <a:gd name="T46" fmla="*/ 5 w 5"/>
                <a:gd name="T47" fmla="*/ 44 h 99"/>
                <a:gd name="T48" fmla="*/ 5 w 5"/>
                <a:gd name="T49" fmla="*/ 44 h 99"/>
                <a:gd name="T50" fmla="*/ 5 w 5"/>
                <a:gd name="T51" fmla="*/ 44 h 99"/>
                <a:gd name="T52" fmla="*/ 5 w 5"/>
                <a:gd name="T53" fmla="*/ 43 h 99"/>
                <a:gd name="T54" fmla="*/ 5 w 5"/>
                <a:gd name="T55" fmla="*/ 43 h 99"/>
                <a:gd name="T56" fmla="*/ 5 w 5"/>
                <a:gd name="T57" fmla="*/ 42 h 99"/>
                <a:gd name="T58" fmla="*/ 5 w 5"/>
                <a:gd name="T59" fmla="*/ 42 h 99"/>
                <a:gd name="T60" fmla="*/ 5 w 5"/>
                <a:gd name="T61" fmla="*/ 41 h 99"/>
                <a:gd name="T62" fmla="*/ 5 w 5"/>
                <a:gd name="T63" fmla="*/ 41 h 99"/>
                <a:gd name="T64" fmla="*/ 5 w 5"/>
                <a:gd name="T65" fmla="*/ 41 h 99"/>
                <a:gd name="T66" fmla="*/ 5 w 5"/>
                <a:gd name="T67" fmla="*/ 40 h 99"/>
                <a:gd name="T68" fmla="*/ 5 w 5"/>
                <a:gd name="T69" fmla="*/ 38 h 99"/>
                <a:gd name="T70" fmla="*/ 5 w 5"/>
                <a:gd name="T71" fmla="*/ 38 h 99"/>
                <a:gd name="T72" fmla="*/ 5 w 5"/>
                <a:gd name="T73" fmla="*/ 37 h 99"/>
                <a:gd name="T74" fmla="*/ 5 w 5"/>
                <a:gd name="T75" fmla="*/ 37 h 99"/>
                <a:gd name="T76" fmla="*/ 5 w 5"/>
                <a:gd name="T77" fmla="*/ 34 h 99"/>
                <a:gd name="T78" fmla="*/ 5 w 5"/>
                <a:gd name="T79" fmla="*/ 34 h 99"/>
                <a:gd name="T80" fmla="*/ 0 w 5"/>
                <a:gd name="T8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99">
                  <a:moveTo>
                    <a:pt x="0" y="0"/>
                  </a:moveTo>
                  <a:cubicBezTo>
                    <a:pt x="0" y="99"/>
                    <a:pt x="0" y="99"/>
                    <a:pt x="0" y="99"/>
                  </a:cubicBezTo>
                  <a:cubicBezTo>
                    <a:pt x="1" y="93"/>
                    <a:pt x="3" y="86"/>
                    <a:pt x="4" y="79"/>
                  </a:cubicBezTo>
                  <a:cubicBezTo>
                    <a:pt x="5" y="71"/>
                    <a:pt x="5" y="62"/>
                    <a:pt x="5" y="53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6"/>
                    <a:pt x="5" y="46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40"/>
                    <a:pt x="5" y="39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7"/>
                    <a:pt x="5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6"/>
                    <a:pt x="5" y="35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4" y="23"/>
                    <a:pt x="2" y="11"/>
                    <a:pt x="0" y="0"/>
                  </a:cubicBezTo>
                </a:path>
              </a:pathLst>
            </a:custGeom>
            <a:solidFill>
              <a:srgbClr val="C0E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97" name="Freeform 405">
              <a:extLst>
                <a:ext uri="{FF2B5EF4-FFF2-40B4-BE49-F238E27FC236}">
                  <a16:creationId xmlns:a16="http://schemas.microsoft.com/office/drawing/2014/main" id="{A995C9ED-8B19-42D8-AAB8-71EADEAD5E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2101" y="3066476"/>
              <a:ext cx="65088" cy="436563"/>
            </a:xfrm>
            <a:custGeom>
              <a:avLst/>
              <a:gdLst>
                <a:gd name="T0" fmla="*/ 26 w 41"/>
                <a:gd name="T1" fmla="*/ 247 h 275"/>
                <a:gd name="T2" fmla="*/ 37 w 41"/>
                <a:gd name="T3" fmla="*/ 93 h 275"/>
                <a:gd name="T4" fmla="*/ 36 w 41"/>
                <a:gd name="T5" fmla="*/ 89 h 275"/>
                <a:gd name="T6" fmla="*/ 35 w 41"/>
                <a:gd name="T7" fmla="*/ 86 h 275"/>
                <a:gd name="T8" fmla="*/ 35 w 41"/>
                <a:gd name="T9" fmla="*/ 85 h 275"/>
                <a:gd name="T10" fmla="*/ 34 w 41"/>
                <a:gd name="T11" fmla="*/ 82 h 275"/>
                <a:gd name="T12" fmla="*/ 34 w 41"/>
                <a:gd name="T13" fmla="*/ 80 h 275"/>
                <a:gd name="T14" fmla="*/ 33 w 41"/>
                <a:gd name="T15" fmla="*/ 78 h 275"/>
                <a:gd name="T16" fmla="*/ 33 w 41"/>
                <a:gd name="T17" fmla="*/ 77 h 275"/>
                <a:gd name="T18" fmla="*/ 32 w 41"/>
                <a:gd name="T19" fmla="*/ 76 h 275"/>
                <a:gd name="T20" fmla="*/ 32 w 41"/>
                <a:gd name="T21" fmla="*/ 74 h 275"/>
                <a:gd name="T22" fmla="*/ 32 w 41"/>
                <a:gd name="T23" fmla="*/ 73 h 275"/>
                <a:gd name="T24" fmla="*/ 31 w 41"/>
                <a:gd name="T25" fmla="*/ 72 h 275"/>
                <a:gd name="T26" fmla="*/ 31 w 41"/>
                <a:gd name="T27" fmla="*/ 70 h 275"/>
                <a:gd name="T28" fmla="*/ 30 w 41"/>
                <a:gd name="T29" fmla="*/ 69 h 275"/>
                <a:gd name="T30" fmla="*/ 30 w 41"/>
                <a:gd name="T31" fmla="*/ 68 h 275"/>
                <a:gd name="T32" fmla="*/ 30 w 41"/>
                <a:gd name="T33" fmla="*/ 66 h 275"/>
                <a:gd name="T34" fmla="*/ 29 w 41"/>
                <a:gd name="T35" fmla="*/ 65 h 275"/>
                <a:gd name="T36" fmla="*/ 29 w 41"/>
                <a:gd name="T37" fmla="*/ 64 h 275"/>
                <a:gd name="T38" fmla="*/ 28 w 41"/>
                <a:gd name="T39" fmla="*/ 63 h 275"/>
                <a:gd name="T40" fmla="*/ 28 w 41"/>
                <a:gd name="T41" fmla="*/ 61 h 275"/>
                <a:gd name="T42" fmla="*/ 27 w 41"/>
                <a:gd name="T43" fmla="*/ 60 h 275"/>
                <a:gd name="T44" fmla="*/ 27 w 41"/>
                <a:gd name="T45" fmla="*/ 58 h 275"/>
                <a:gd name="T46" fmla="*/ 27 w 41"/>
                <a:gd name="T47" fmla="*/ 57 h 275"/>
                <a:gd name="T48" fmla="*/ 26 w 41"/>
                <a:gd name="T49" fmla="*/ 55 h 275"/>
                <a:gd name="T50" fmla="*/ 25 w 41"/>
                <a:gd name="T51" fmla="*/ 54 h 275"/>
                <a:gd name="T52" fmla="*/ 24 w 41"/>
                <a:gd name="T53" fmla="*/ 51 h 275"/>
                <a:gd name="T54" fmla="*/ 24 w 41"/>
                <a:gd name="T55" fmla="*/ 50 h 275"/>
                <a:gd name="T56" fmla="*/ 23 w 41"/>
                <a:gd name="T57" fmla="*/ 48 h 275"/>
                <a:gd name="T58" fmla="*/ 23 w 41"/>
                <a:gd name="T59" fmla="*/ 47 h 275"/>
                <a:gd name="T60" fmla="*/ 22 w 41"/>
                <a:gd name="T61" fmla="*/ 44 h 275"/>
                <a:gd name="T62" fmla="*/ 21 w 41"/>
                <a:gd name="T63" fmla="*/ 43 h 275"/>
                <a:gd name="T64" fmla="*/ 20 w 41"/>
                <a:gd name="T65" fmla="*/ 40 h 275"/>
                <a:gd name="T66" fmla="*/ 18 w 41"/>
                <a:gd name="T67" fmla="*/ 36 h 275"/>
                <a:gd name="T68" fmla="*/ 16 w 41"/>
                <a:gd name="T69" fmla="*/ 29 h 275"/>
                <a:gd name="T70" fmla="*/ 14 w 41"/>
                <a:gd name="T71" fmla="*/ 26 h 275"/>
                <a:gd name="T72" fmla="*/ 13 w 41"/>
                <a:gd name="T73" fmla="*/ 23 h 275"/>
                <a:gd name="T74" fmla="*/ 12 w 41"/>
                <a:gd name="T75" fmla="*/ 22 h 275"/>
                <a:gd name="T76" fmla="*/ 10 w 41"/>
                <a:gd name="T77" fmla="*/ 16 h 275"/>
                <a:gd name="T78" fmla="*/ 9 w 41"/>
                <a:gd name="T79" fmla="*/ 15 h 275"/>
                <a:gd name="T80" fmla="*/ 8 w 41"/>
                <a:gd name="T81" fmla="*/ 13 h 275"/>
                <a:gd name="T82" fmla="*/ 7 w 41"/>
                <a:gd name="T83" fmla="*/ 12 h 275"/>
                <a:gd name="T84" fmla="*/ 6 w 41"/>
                <a:gd name="T85" fmla="*/ 10 h 275"/>
                <a:gd name="T86" fmla="*/ 6 w 41"/>
                <a:gd name="T87" fmla="*/ 9 h 275"/>
                <a:gd name="T88" fmla="*/ 5 w 41"/>
                <a:gd name="T89" fmla="*/ 7 h 275"/>
                <a:gd name="T90" fmla="*/ 4 w 41"/>
                <a:gd name="T91" fmla="*/ 6 h 275"/>
                <a:gd name="T92" fmla="*/ 4 w 41"/>
                <a:gd name="T93" fmla="*/ 5 h 275"/>
                <a:gd name="T94" fmla="*/ 3 w 41"/>
                <a:gd name="T95" fmla="*/ 4 h 275"/>
                <a:gd name="T96" fmla="*/ 2 w 41"/>
                <a:gd name="T97" fmla="*/ 2 h 275"/>
                <a:gd name="T98" fmla="*/ 2 w 41"/>
                <a:gd name="T99" fmla="*/ 1 h 275"/>
                <a:gd name="T100" fmla="*/ 1 w 41"/>
                <a:gd name="T101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1" h="275">
                  <a:moveTo>
                    <a:pt x="1" y="0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10" y="268"/>
                    <a:pt x="19" y="258"/>
                    <a:pt x="26" y="247"/>
                  </a:cubicBezTo>
                  <a:cubicBezTo>
                    <a:pt x="32" y="236"/>
                    <a:pt x="37" y="224"/>
                    <a:pt x="41" y="210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0" y="105"/>
                    <a:pt x="39" y="99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2"/>
                    <a:pt x="37" y="91"/>
                    <a:pt x="36" y="89"/>
                  </a:cubicBezTo>
                  <a:cubicBezTo>
                    <a:pt x="36" y="89"/>
                    <a:pt x="36" y="89"/>
                    <a:pt x="36" y="89"/>
                  </a:cubicBezTo>
                  <a:cubicBezTo>
                    <a:pt x="36" y="89"/>
                    <a:pt x="36" y="89"/>
                    <a:pt x="36" y="89"/>
                  </a:cubicBezTo>
                  <a:cubicBezTo>
                    <a:pt x="36" y="89"/>
                    <a:pt x="36" y="89"/>
                    <a:pt x="36" y="89"/>
                  </a:cubicBezTo>
                  <a:cubicBezTo>
                    <a:pt x="36" y="88"/>
                    <a:pt x="36" y="87"/>
                    <a:pt x="35" y="86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5" y="85"/>
                    <a:pt x="35" y="85"/>
                  </a:cubicBezTo>
                  <a:cubicBezTo>
                    <a:pt x="35" y="85"/>
                    <a:pt x="35" y="85"/>
                    <a:pt x="35" y="85"/>
                  </a:cubicBezTo>
                  <a:cubicBezTo>
                    <a:pt x="35" y="84"/>
                    <a:pt x="35" y="83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1"/>
                    <a:pt x="34" y="80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8"/>
                    <a:pt x="33" y="78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8"/>
                    <a:pt x="33" y="77"/>
                  </a:cubicBezTo>
                  <a:cubicBezTo>
                    <a:pt x="33" y="77"/>
                    <a:pt x="33" y="77"/>
                    <a:pt x="33" y="77"/>
                  </a:cubicBezTo>
                  <a:cubicBezTo>
                    <a:pt x="33" y="77"/>
                    <a:pt x="33" y="77"/>
                    <a:pt x="33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76"/>
                    <a:pt x="33" y="76"/>
                    <a:pt x="32" y="76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32" y="74"/>
                    <a:pt x="32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2" y="73"/>
                    <a:pt x="32" y="72"/>
                  </a:cubicBezTo>
                  <a:cubicBezTo>
                    <a:pt x="32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0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1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6"/>
                  </a:cubicBezTo>
                  <a:cubicBezTo>
                    <a:pt x="30" y="66"/>
                    <a:pt x="30" y="66"/>
                    <a:pt x="29" y="66"/>
                  </a:cubicBezTo>
                  <a:cubicBezTo>
                    <a:pt x="29" y="66"/>
                    <a:pt x="29" y="66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3"/>
                  </a:cubicBezTo>
                  <a:cubicBezTo>
                    <a:pt x="29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0"/>
                    <a:pt x="28" y="60"/>
                  </a:cubicBezTo>
                  <a:cubicBezTo>
                    <a:pt x="28" y="60"/>
                    <a:pt x="27" y="60"/>
                    <a:pt x="27" y="60"/>
                  </a:cubicBezTo>
                  <a:cubicBezTo>
                    <a:pt x="27" y="60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58"/>
                    <a:pt x="27" y="58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6" y="56"/>
                    <a:pt x="26" y="56"/>
                  </a:cubicBezTo>
                  <a:cubicBezTo>
                    <a:pt x="26" y="56"/>
                    <a:pt x="26" y="55"/>
                    <a:pt x="26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52"/>
                    <a:pt x="25" y="52"/>
                    <a:pt x="24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3" y="49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6"/>
                    <a:pt x="22" y="46"/>
                    <a:pt x="22" y="46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22" y="45"/>
                    <a:pt x="22" y="45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1" y="44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0" y="41"/>
                    <a:pt x="20" y="40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39"/>
                    <a:pt x="19" y="37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5"/>
                    <a:pt x="17" y="34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6" y="32"/>
                    <a:pt x="16" y="31"/>
                    <a:pt x="16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28"/>
                    <a:pt x="14" y="27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3" y="24"/>
                    <a:pt x="13" y="24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1"/>
                    <a:pt x="11" y="20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18"/>
                    <a:pt x="10" y="17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4"/>
                    <a:pt x="8" y="14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2"/>
                    <a:pt x="7" y="12"/>
                    <a:pt x="7" y="12"/>
                  </a:cubicBezTo>
                  <a:cubicBezTo>
                    <a:pt x="7" y="12"/>
                    <a:pt x="7" y="12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0"/>
                    <a:pt x="6" y="10"/>
                  </a:cubicBezTo>
                  <a:cubicBezTo>
                    <a:pt x="6" y="10"/>
                    <a:pt x="6" y="10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6"/>
                    <a:pt x="4" y="6"/>
                    <a:pt x="4" y="6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D5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Freeform 407">
              <a:extLst>
                <a:ext uri="{FF2B5EF4-FFF2-40B4-BE49-F238E27FC236}">
                  <a16:creationId xmlns:a16="http://schemas.microsoft.com/office/drawing/2014/main" id="{5BA46C6B-3272-48A9-97B2-E5975ACC32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0626" y="2793426"/>
              <a:ext cx="373063" cy="736600"/>
            </a:xfrm>
            <a:custGeom>
              <a:avLst/>
              <a:gdLst>
                <a:gd name="T0" fmla="*/ 19 w 235"/>
                <a:gd name="T1" fmla="*/ 0 h 465"/>
                <a:gd name="T2" fmla="*/ 19 w 235"/>
                <a:gd name="T3" fmla="*/ 0 h 465"/>
                <a:gd name="T4" fmla="*/ 0 w 235"/>
                <a:gd name="T5" fmla="*/ 2 h 465"/>
                <a:gd name="T6" fmla="*/ 154 w 235"/>
                <a:gd name="T7" fmla="*/ 91 h 465"/>
                <a:gd name="T8" fmla="*/ 153 w 235"/>
                <a:gd name="T9" fmla="*/ 462 h 465"/>
                <a:gd name="T10" fmla="*/ 180 w 235"/>
                <a:gd name="T11" fmla="*/ 465 h 465"/>
                <a:gd name="T12" fmla="*/ 190 w 235"/>
                <a:gd name="T13" fmla="*/ 464 h 465"/>
                <a:gd name="T14" fmla="*/ 234 w 235"/>
                <a:gd name="T15" fmla="*/ 448 h 465"/>
                <a:gd name="T16" fmla="*/ 235 w 235"/>
                <a:gd name="T17" fmla="*/ 173 h 465"/>
                <a:gd name="T18" fmla="*/ 235 w 235"/>
                <a:gd name="T19" fmla="*/ 173 h 465"/>
                <a:gd name="T20" fmla="*/ 235 w 235"/>
                <a:gd name="T21" fmla="*/ 172 h 465"/>
                <a:gd name="T22" fmla="*/ 235 w 235"/>
                <a:gd name="T23" fmla="*/ 172 h 465"/>
                <a:gd name="T24" fmla="*/ 234 w 235"/>
                <a:gd name="T25" fmla="*/ 171 h 465"/>
                <a:gd name="T26" fmla="*/ 234 w 235"/>
                <a:gd name="T27" fmla="*/ 171 h 465"/>
                <a:gd name="T28" fmla="*/ 234 w 235"/>
                <a:gd name="T29" fmla="*/ 171 h 465"/>
                <a:gd name="T30" fmla="*/ 234 w 235"/>
                <a:gd name="T31" fmla="*/ 170 h 465"/>
                <a:gd name="T32" fmla="*/ 233 w 235"/>
                <a:gd name="T33" fmla="*/ 169 h 465"/>
                <a:gd name="T34" fmla="*/ 233 w 235"/>
                <a:gd name="T35" fmla="*/ 169 h 465"/>
                <a:gd name="T36" fmla="*/ 233 w 235"/>
                <a:gd name="T37" fmla="*/ 169 h 465"/>
                <a:gd name="T38" fmla="*/ 233 w 235"/>
                <a:gd name="T39" fmla="*/ 168 h 465"/>
                <a:gd name="T40" fmla="*/ 233 w 235"/>
                <a:gd name="T41" fmla="*/ 168 h 465"/>
                <a:gd name="T42" fmla="*/ 232 w 235"/>
                <a:gd name="T43" fmla="*/ 168 h 465"/>
                <a:gd name="T44" fmla="*/ 231 w 235"/>
                <a:gd name="T45" fmla="*/ 165 h 465"/>
                <a:gd name="T46" fmla="*/ 231 w 235"/>
                <a:gd name="T47" fmla="*/ 165 h 465"/>
                <a:gd name="T48" fmla="*/ 231 w 235"/>
                <a:gd name="T49" fmla="*/ 165 h 465"/>
                <a:gd name="T50" fmla="*/ 231 w 235"/>
                <a:gd name="T51" fmla="*/ 165 h 465"/>
                <a:gd name="T52" fmla="*/ 140 w 235"/>
                <a:gd name="T53" fmla="*/ 53 h 465"/>
                <a:gd name="T54" fmla="*/ 100 w 235"/>
                <a:gd name="T55" fmla="*/ 25 h 465"/>
                <a:gd name="T56" fmla="*/ 19 w 235"/>
                <a:gd name="T57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5" h="465"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2" y="0"/>
                    <a:pt x="6" y="0"/>
                    <a:pt x="0" y="2"/>
                  </a:cubicBezTo>
                  <a:cubicBezTo>
                    <a:pt x="154" y="91"/>
                    <a:pt x="154" y="91"/>
                    <a:pt x="154" y="91"/>
                  </a:cubicBezTo>
                  <a:cubicBezTo>
                    <a:pt x="153" y="462"/>
                    <a:pt x="153" y="462"/>
                    <a:pt x="153" y="462"/>
                  </a:cubicBezTo>
                  <a:cubicBezTo>
                    <a:pt x="162" y="464"/>
                    <a:pt x="171" y="465"/>
                    <a:pt x="180" y="465"/>
                  </a:cubicBezTo>
                  <a:cubicBezTo>
                    <a:pt x="183" y="465"/>
                    <a:pt x="186" y="465"/>
                    <a:pt x="190" y="464"/>
                  </a:cubicBezTo>
                  <a:cubicBezTo>
                    <a:pt x="206" y="463"/>
                    <a:pt x="222" y="457"/>
                    <a:pt x="234" y="448"/>
                  </a:cubicBezTo>
                  <a:cubicBezTo>
                    <a:pt x="235" y="173"/>
                    <a:pt x="235" y="173"/>
                    <a:pt x="235" y="173"/>
                  </a:cubicBezTo>
                  <a:cubicBezTo>
                    <a:pt x="235" y="173"/>
                    <a:pt x="235" y="173"/>
                    <a:pt x="235" y="173"/>
                  </a:cubicBezTo>
                  <a:cubicBezTo>
                    <a:pt x="235" y="172"/>
                    <a:pt x="235" y="172"/>
                    <a:pt x="235" y="172"/>
                  </a:cubicBezTo>
                  <a:cubicBezTo>
                    <a:pt x="235" y="172"/>
                    <a:pt x="235" y="172"/>
                    <a:pt x="235" y="172"/>
                  </a:cubicBezTo>
                  <a:cubicBezTo>
                    <a:pt x="235" y="172"/>
                    <a:pt x="234" y="172"/>
                    <a:pt x="234" y="171"/>
                  </a:cubicBezTo>
                  <a:cubicBezTo>
                    <a:pt x="234" y="171"/>
                    <a:pt x="234" y="171"/>
                    <a:pt x="234" y="171"/>
                  </a:cubicBezTo>
                  <a:cubicBezTo>
                    <a:pt x="234" y="171"/>
                    <a:pt x="234" y="171"/>
                    <a:pt x="234" y="171"/>
                  </a:cubicBezTo>
                  <a:cubicBezTo>
                    <a:pt x="234" y="171"/>
                    <a:pt x="234" y="170"/>
                    <a:pt x="234" y="170"/>
                  </a:cubicBezTo>
                  <a:cubicBezTo>
                    <a:pt x="234" y="170"/>
                    <a:pt x="234" y="170"/>
                    <a:pt x="233" y="169"/>
                  </a:cubicBezTo>
                  <a:cubicBezTo>
                    <a:pt x="233" y="169"/>
                    <a:pt x="233" y="169"/>
                    <a:pt x="233" y="169"/>
                  </a:cubicBezTo>
                  <a:cubicBezTo>
                    <a:pt x="233" y="169"/>
                    <a:pt x="233" y="169"/>
                    <a:pt x="233" y="169"/>
                  </a:cubicBezTo>
                  <a:cubicBezTo>
                    <a:pt x="233" y="169"/>
                    <a:pt x="233" y="169"/>
                    <a:pt x="233" y="168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3" y="168"/>
                    <a:pt x="233" y="168"/>
                    <a:pt x="232" y="168"/>
                  </a:cubicBezTo>
                  <a:cubicBezTo>
                    <a:pt x="232" y="167"/>
                    <a:pt x="232" y="166"/>
                    <a:pt x="231" y="165"/>
                  </a:cubicBezTo>
                  <a:cubicBezTo>
                    <a:pt x="231" y="165"/>
                    <a:pt x="231" y="165"/>
                    <a:pt x="231" y="165"/>
                  </a:cubicBezTo>
                  <a:cubicBezTo>
                    <a:pt x="231" y="165"/>
                    <a:pt x="231" y="165"/>
                    <a:pt x="231" y="165"/>
                  </a:cubicBezTo>
                  <a:cubicBezTo>
                    <a:pt x="231" y="165"/>
                    <a:pt x="231" y="165"/>
                    <a:pt x="231" y="165"/>
                  </a:cubicBezTo>
                  <a:cubicBezTo>
                    <a:pt x="207" y="122"/>
                    <a:pt x="175" y="83"/>
                    <a:pt x="140" y="53"/>
                  </a:cubicBezTo>
                  <a:cubicBezTo>
                    <a:pt x="127" y="42"/>
                    <a:pt x="114" y="33"/>
                    <a:pt x="100" y="25"/>
                  </a:cubicBezTo>
                  <a:cubicBezTo>
                    <a:pt x="71" y="8"/>
                    <a:pt x="43" y="0"/>
                    <a:pt x="19" y="0"/>
                  </a:cubicBezTo>
                </a:path>
              </a:pathLst>
            </a:custGeom>
            <a:solidFill>
              <a:srgbClr val="CDD3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408">
              <a:extLst>
                <a:ext uri="{FF2B5EF4-FFF2-40B4-BE49-F238E27FC236}">
                  <a16:creationId xmlns:a16="http://schemas.microsoft.com/office/drawing/2014/main" id="{4A251A24-EA0F-418D-99DD-A63D46BD3D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52038" y="2796601"/>
              <a:ext cx="373063" cy="728663"/>
            </a:xfrm>
            <a:custGeom>
              <a:avLst/>
              <a:gdLst>
                <a:gd name="T0" fmla="*/ 17 w 235"/>
                <a:gd name="T1" fmla="*/ 47 h 460"/>
                <a:gd name="T2" fmla="*/ 17 w 235"/>
                <a:gd name="T3" fmla="*/ 47 h 460"/>
                <a:gd name="T4" fmla="*/ 16 w 235"/>
                <a:gd name="T5" fmla="*/ 49 h 460"/>
                <a:gd name="T6" fmla="*/ 16 w 235"/>
                <a:gd name="T7" fmla="*/ 50 h 460"/>
                <a:gd name="T8" fmla="*/ 15 w 235"/>
                <a:gd name="T9" fmla="*/ 51 h 460"/>
                <a:gd name="T10" fmla="*/ 15 w 235"/>
                <a:gd name="T11" fmla="*/ 52 h 460"/>
                <a:gd name="T12" fmla="*/ 14 w 235"/>
                <a:gd name="T13" fmla="*/ 53 h 460"/>
                <a:gd name="T14" fmla="*/ 14 w 235"/>
                <a:gd name="T15" fmla="*/ 55 h 460"/>
                <a:gd name="T16" fmla="*/ 13 w 235"/>
                <a:gd name="T17" fmla="*/ 56 h 460"/>
                <a:gd name="T18" fmla="*/ 12 w 235"/>
                <a:gd name="T19" fmla="*/ 58 h 460"/>
                <a:gd name="T20" fmla="*/ 11 w 235"/>
                <a:gd name="T21" fmla="*/ 60 h 460"/>
                <a:gd name="T22" fmla="*/ 10 w 235"/>
                <a:gd name="T23" fmla="*/ 63 h 460"/>
                <a:gd name="T24" fmla="*/ 9 w 235"/>
                <a:gd name="T25" fmla="*/ 66 h 460"/>
                <a:gd name="T26" fmla="*/ 2 w 235"/>
                <a:gd name="T27" fmla="*/ 92 h 460"/>
                <a:gd name="T28" fmla="*/ 2 w 235"/>
                <a:gd name="T29" fmla="*/ 93 h 460"/>
                <a:gd name="T30" fmla="*/ 2 w 235"/>
                <a:gd name="T31" fmla="*/ 97 h 460"/>
                <a:gd name="T32" fmla="*/ 1 w 235"/>
                <a:gd name="T33" fmla="*/ 99 h 460"/>
                <a:gd name="T34" fmla="*/ 1 w 235"/>
                <a:gd name="T35" fmla="*/ 101 h 460"/>
                <a:gd name="T36" fmla="*/ 1 w 235"/>
                <a:gd name="T37" fmla="*/ 102 h 460"/>
                <a:gd name="T38" fmla="*/ 1 w 235"/>
                <a:gd name="T39" fmla="*/ 103 h 460"/>
                <a:gd name="T40" fmla="*/ 1 w 235"/>
                <a:gd name="T41" fmla="*/ 105 h 460"/>
                <a:gd name="T42" fmla="*/ 1 w 235"/>
                <a:gd name="T43" fmla="*/ 106 h 460"/>
                <a:gd name="T44" fmla="*/ 1 w 235"/>
                <a:gd name="T45" fmla="*/ 107 h 460"/>
                <a:gd name="T46" fmla="*/ 0 w 235"/>
                <a:gd name="T47" fmla="*/ 108 h 460"/>
                <a:gd name="T48" fmla="*/ 0 w 235"/>
                <a:gd name="T49" fmla="*/ 109 h 460"/>
                <a:gd name="T50" fmla="*/ 0 w 235"/>
                <a:gd name="T51" fmla="*/ 110 h 460"/>
                <a:gd name="T52" fmla="*/ 0 w 235"/>
                <a:gd name="T53" fmla="*/ 111 h 460"/>
                <a:gd name="T54" fmla="*/ 0 w 235"/>
                <a:gd name="T55" fmla="*/ 112 h 460"/>
                <a:gd name="T56" fmla="*/ 0 w 235"/>
                <a:gd name="T57" fmla="*/ 113 h 460"/>
                <a:gd name="T58" fmla="*/ 0 w 235"/>
                <a:gd name="T59" fmla="*/ 114 h 460"/>
                <a:gd name="T60" fmla="*/ 0 w 235"/>
                <a:gd name="T61" fmla="*/ 115 h 460"/>
                <a:gd name="T62" fmla="*/ 0 w 235"/>
                <a:gd name="T63" fmla="*/ 116 h 460"/>
                <a:gd name="T64" fmla="*/ 0 w 235"/>
                <a:gd name="T65" fmla="*/ 117 h 460"/>
                <a:gd name="T66" fmla="*/ 0 w 235"/>
                <a:gd name="T67" fmla="*/ 118 h 460"/>
                <a:gd name="T68" fmla="*/ 0 w 235"/>
                <a:gd name="T69" fmla="*/ 119 h 460"/>
                <a:gd name="T70" fmla="*/ 0 w 235"/>
                <a:gd name="T71" fmla="*/ 120 h 460"/>
                <a:gd name="T72" fmla="*/ 0 w 235"/>
                <a:gd name="T73" fmla="*/ 121 h 460"/>
                <a:gd name="T74" fmla="*/ 0 w 235"/>
                <a:gd name="T75" fmla="*/ 121 h 460"/>
                <a:gd name="T76" fmla="*/ 0 w 235"/>
                <a:gd name="T77" fmla="*/ 122 h 460"/>
                <a:gd name="T78" fmla="*/ 0 w 235"/>
                <a:gd name="T79" fmla="*/ 123 h 460"/>
                <a:gd name="T80" fmla="*/ 0 w 235"/>
                <a:gd name="T81" fmla="*/ 124 h 460"/>
                <a:gd name="T82" fmla="*/ 0 w 235"/>
                <a:gd name="T83" fmla="*/ 125 h 460"/>
                <a:gd name="T84" fmla="*/ 0 w 235"/>
                <a:gd name="T85" fmla="*/ 126 h 460"/>
                <a:gd name="T86" fmla="*/ 17 w 235"/>
                <a:gd name="T87" fmla="*/ 227 h 460"/>
                <a:gd name="T88" fmla="*/ 81 w 235"/>
                <a:gd name="T89" fmla="*/ 0 h 460"/>
                <a:gd name="T90" fmla="*/ 46 w 235"/>
                <a:gd name="T91" fmla="*/ 14 h 460"/>
                <a:gd name="T92" fmla="*/ 233 w 235"/>
                <a:gd name="T93" fmla="*/ 370 h 460"/>
                <a:gd name="T94" fmla="*/ 142 w 235"/>
                <a:gd name="T95" fmla="*/ 412 h 460"/>
                <a:gd name="T96" fmla="*/ 184 w 235"/>
                <a:gd name="T97" fmla="*/ 440 h 460"/>
                <a:gd name="T98" fmla="*/ 235 w 235"/>
                <a:gd name="T99" fmla="*/ 89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35" h="460">
                  <a:moveTo>
                    <a:pt x="18" y="46"/>
                  </a:moveTo>
                  <a:cubicBezTo>
                    <a:pt x="18" y="46"/>
                    <a:pt x="18" y="47"/>
                    <a:pt x="17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17" y="48"/>
                    <a:pt x="17" y="48"/>
                  </a:cubicBezTo>
                  <a:cubicBezTo>
                    <a:pt x="17" y="48"/>
                    <a:pt x="17" y="48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50"/>
                    <a:pt x="16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6" y="50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2"/>
                    <a:pt x="14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4"/>
                    <a:pt x="14" y="54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3" y="55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2" y="57"/>
                    <a:pt x="12" y="57"/>
                    <a:pt x="12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9"/>
                    <a:pt x="12" y="59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1"/>
                    <a:pt x="11" y="62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0" y="64"/>
                    <a:pt x="9" y="65"/>
                    <a:pt x="9" y="66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6" y="74"/>
                    <a:pt x="4" y="83"/>
                    <a:pt x="2" y="92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2" y="92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5"/>
                    <a:pt x="2" y="96"/>
                    <a:pt x="2" y="97"/>
                  </a:cubicBezTo>
                  <a:cubicBezTo>
                    <a:pt x="2" y="97"/>
                    <a:pt x="2" y="98"/>
                    <a:pt x="2" y="98"/>
                  </a:cubicBezTo>
                  <a:cubicBezTo>
                    <a:pt x="2" y="98"/>
                    <a:pt x="1" y="99"/>
                    <a:pt x="1" y="99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1" y="100"/>
                    <a:pt x="1" y="100"/>
                    <a:pt x="1" y="101"/>
                  </a:cubicBezTo>
                  <a:cubicBezTo>
                    <a:pt x="1" y="101"/>
                    <a:pt x="1" y="101"/>
                    <a:pt x="1" y="101"/>
                  </a:cubicBezTo>
                  <a:cubicBezTo>
                    <a:pt x="1" y="101"/>
                    <a:pt x="1" y="102"/>
                    <a:pt x="1" y="102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1" y="102"/>
                    <a:pt x="1" y="103"/>
                    <a:pt x="1" y="103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1" y="104"/>
                    <a:pt x="1" y="105"/>
                    <a:pt x="1" y="105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1" y="106"/>
                    <a:pt x="1" y="107"/>
                    <a:pt x="1" y="107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0" y="107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09"/>
                    <a:pt x="0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1"/>
                    <a:pt x="0" y="111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3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0" y="114"/>
                    <a:pt x="0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5"/>
                    <a:pt x="0" y="115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0"/>
                    <a:pt x="0" y="120"/>
                    <a:pt x="0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5"/>
                    <a:pt x="0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25"/>
                    <a:pt x="0" y="126"/>
                    <a:pt x="0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6"/>
                    <a:pt x="0" y="126"/>
                    <a:pt x="0" y="127"/>
                  </a:cubicBezTo>
                  <a:cubicBezTo>
                    <a:pt x="0" y="159"/>
                    <a:pt x="6" y="193"/>
                    <a:pt x="17" y="227"/>
                  </a:cubicBezTo>
                  <a:cubicBezTo>
                    <a:pt x="18" y="46"/>
                    <a:pt x="18" y="46"/>
                    <a:pt x="18" y="46"/>
                  </a:cubicBezTo>
                  <a:moveTo>
                    <a:pt x="81" y="0"/>
                  </a:moveTo>
                  <a:cubicBezTo>
                    <a:pt x="71" y="1"/>
                    <a:pt x="61" y="5"/>
                    <a:pt x="53" y="10"/>
                  </a:cubicBezTo>
                  <a:cubicBezTo>
                    <a:pt x="51" y="11"/>
                    <a:pt x="48" y="13"/>
                    <a:pt x="46" y="14"/>
                  </a:cubicBezTo>
                  <a:cubicBezTo>
                    <a:pt x="234" y="122"/>
                    <a:pt x="234" y="122"/>
                    <a:pt x="234" y="122"/>
                  </a:cubicBezTo>
                  <a:cubicBezTo>
                    <a:pt x="233" y="370"/>
                    <a:pt x="233" y="370"/>
                    <a:pt x="233" y="370"/>
                  </a:cubicBezTo>
                  <a:cubicBezTo>
                    <a:pt x="26" y="251"/>
                    <a:pt x="26" y="251"/>
                    <a:pt x="26" y="251"/>
                  </a:cubicBezTo>
                  <a:cubicBezTo>
                    <a:pt x="52" y="313"/>
                    <a:pt x="93" y="372"/>
                    <a:pt x="142" y="412"/>
                  </a:cubicBezTo>
                  <a:cubicBezTo>
                    <a:pt x="184" y="436"/>
                    <a:pt x="184" y="436"/>
                    <a:pt x="184" y="436"/>
                  </a:cubicBezTo>
                  <a:cubicBezTo>
                    <a:pt x="184" y="440"/>
                    <a:pt x="184" y="440"/>
                    <a:pt x="184" y="440"/>
                  </a:cubicBezTo>
                  <a:cubicBezTo>
                    <a:pt x="202" y="450"/>
                    <a:pt x="218" y="456"/>
                    <a:pt x="234" y="460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81" y="0"/>
                    <a:pt x="81" y="0"/>
                    <a:pt x="81" y="0"/>
                  </a:cubicBezTo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409">
              <a:extLst>
                <a:ext uri="{FF2B5EF4-FFF2-40B4-BE49-F238E27FC236}">
                  <a16:creationId xmlns:a16="http://schemas.microsoft.com/office/drawing/2014/main" id="{FB2E4707-F2E7-4606-8124-8404D302FA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7463" y="3449064"/>
              <a:ext cx="66675" cy="44450"/>
            </a:xfrm>
            <a:custGeom>
              <a:avLst/>
              <a:gdLst>
                <a:gd name="T0" fmla="*/ 0 w 42"/>
                <a:gd name="T1" fmla="*/ 0 h 28"/>
                <a:gd name="T2" fmla="*/ 38 w 42"/>
                <a:gd name="T3" fmla="*/ 26 h 28"/>
                <a:gd name="T4" fmla="*/ 38 w 42"/>
                <a:gd name="T5" fmla="*/ 26 h 28"/>
                <a:gd name="T6" fmla="*/ 42 w 42"/>
                <a:gd name="T7" fmla="*/ 28 h 28"/>
                <a:gd name="T8" fmla="*/ 42 w 42"/>
                <a:gd name="T9" fmla="*/ 24 h 28"/>
                <a:gd name="T10" fmla="*/ 0 w 42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8">
                  <a:moveTo>
                    <a:pt x="0" y="0"/>
                  </a:moveTo>
                  <a:cubicBezTo>
                    <a:pt x="12" y="10"/>
                    <a:pt x="25" y="19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9" y="27"/>
                    <a:pt x="41" y="28"/>
                    <a:pt x="42" y="28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FE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410">
              <a:extLst>
                <a:ext uri="{FF2B5EF4-FFF2-40B4-BE49-F238E27FC236}">
                  <a16:creationId xmlns:a16="http://schemas.microsoft.com/office/drawing/2014/main" id="{0BBE0ACF-89BA-422C-AD43-49179B178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79026" y="2818826"/>
              <a:ext cx="344488" cy="563563"/>
            </a:xfrm>
            <a:custGeom>
              <a:avLst/>
              <a:gdLst>
                <a:gd name="T0" fmla="*/ 29 w 217"/>
                <a:gd name="T1" fmla="*/ 0 h 356"/>
                <a:gd name="T2" fmla="*/ 13 w 217"/>
                <a:gd name="T3" fmla="*/ 15 h 356"/>
                <a:gd name="T4" fmla="*/ 13 w 217"/>
                <a:gd name="T5" fmla="*/ 15 h 356"/>
                <a:gd name="T6" fmla="*/ 12 w 217"/>
                <a:gd name="T7" fmla="*/ 16 h 356"/>
                <a:gd name="T8" fmla="*/ 12 w 217"/>
                <a:gd name="T9" fmla="*/ 16 h 356"/>
                <a:gd name="T10" fmla="*/ 11 w 217"/>
                <a:gd name="T11" fmla="*/ 17 h 356"/>
                <a:gd name="T12" fmla="*/ 11 w 217"/>
                <a:gd name="T13" fmla="*/ 17 h 356"/>
                <a:gd name="T14" fmla="*/ 11 w 217"/>
                <a:gd name="T15" fmla="*/ 18 h 356"/>
                <a:gd name="T16" fmla="*/ 11 w 217"/>
                <a:gd name="T17" fmla="*/ 18 h 356"/>
                <a:gd name="T18" fmla="*/ 10 w 217"/>
                <a:gd name="T19" fmla="*/ 19 h 356"/>
                <a:gd name="T20" fmla="*/ 10 w 217"/>
                <a:gd name="T21" fmla="*/ 19 h 356"/>
                <a:gd name="T22" fmla="*/ 9 w 217"/>
                <a:gd name="T23" fmla="*/ 20 h 356"/>
                <a:gd name="T24" fmla="*/ 9 w 217"/>
                <a:gd name="T25" fmla="*/ 20 h 356"/>
                <a:gd name="T26" fmla="*/ 8 w 217"/>
                <a:gd name="T27" fmla="*/ 21 h 356"/>
                <a:gd name="T28" fmla="*/ 8 w 217"/>
                <a:gd name="T29" fmla="*/ 21 h 356"/>
                <a:gd name="T30" fmla="*/ 8 w 217"/>
                <a:gd name="T31" fmla="*/ 21 h 356"/>
                <a:gd name="T32" fmla="*/ 8 w 217"/>
                <a:gd name="T33" fmla="*/ 21 h 356"/>
                <a:gd name="T34" fmla="*/ 7 w 217"/>
                <a:gd name="T35" fmla="*/ 22 h 356"/>
                <a:gd name="T36" fmla="*/ 7 w 217"/>
                <a:gd name="T37" fmla="*/ 22 h 356"/>
                <a:gd name="T38" fmla="*/ 7 w 217"/>
                <a:gd name="T39" fmla="*/ 22 h 356"/>
                <a:gd name="T40" fmla="*/ 7 w 217"/>
                <a:gd name="T41" fmla="*/ 22 h 356"/>
                <a:gd name="T42" fmla="*/ 6 w 217"/>
                <a:gd name="T43" fmla="*/ 24 h 356"/>
                <a:gd name="T44" fmla="*/ 6 w 217"/>
                <a:gd name="T45" fmla="*/ 24 h 356"/>
                <a:gd name="T46" fmla="*/ 5 w 217"/>
                <a:gd name="T47" fmla="*/ 25 h 356"/>
                <a:gd name="T48" fmla="*/ 5 w 217"/>
                <a:gd name="T49" fmla="*/ 25 h 356"/>
                <a:gd name="T50" fmla="*/ 5 w 217"/>
                <a:gd name="T51" fmla="*/ 25 h 356"/>
                <a:gd name="T52" fmla="*/ 5 w 217"/>
                <a:gd name="T53" fmla="*/ 25 h 356"/>
                <a:gd name="T54" fmla="*/ 4 w 217"/>
                <a:gd name="T55" fmla="*/ 26 h 356"/>
                <a:gd name="T56" fmla="*/ 4 w 217"/>
                <a:gd name="T57" fmla="*/ 26 h 356"/>
                <a:gd name="T58" fmla="*/ 4 w 217"/>
                <a:gd name="T59" fmla="*/ 28 h 356"/>
                <a:gd name="T60" fmla="*/ 3 w 217"/>
                <a:gd name="T61" fmla="*/ 28 h 356"/>
                <a:gd name="T62" fmla="*/ 3 w 217"/>
                <a:gd name="T63" fmla="*/ 28 h 356"/>
                <a:gd name="T64" fmla="*/ 3 w 217"/>
                <a:gd name="T65" fmla="*/ 28 h 356"/>
                <a:gd name="T66" fmla="*/ 3 w 217"/>
                <a:gd name="T67" fmla="*/ 29 h 356"/>
                <a:gd name="T68" fmla="*/ 3 w 217"/>
                <a:gd name="T69" fmla="*/ 29 h 356"/>
                <a:gd name="T70" fmla="*/ 3 w 217"/>
                <a:gd name="T71" fmla="*/ 29 h 356"/>
                <a:gd name="T72" fmla="*/ 2 w 217"/>
                <a:gd name="T73" fmla="*/ 29 h 356"/>
                <a:gd name="T74" fmla="*/ 2 w 217"/>
                <a:gd name="T75" fmla="*/ 30 h 356"/>
                <a:gd name="T76" fmla="*/ 2 w 217"/>
                <a:gd name="T77" fmla="*/ 31 h 356"/>
                <a:gd name="T78" fmla="*/ 1 w 217"/>
                <a:gd name="T79" fmla="*/ 32 h 356"/>
                <a:gd name="T80" fmla="*/ 1 w 217"/>
                <a:gd name="T81" fmla="*/ 32 h 356"/>
                <a:gd name="T82" fmla="*/ 1 w 217"/>
                <a:gd name="T83" fmla="*/ 32 h 356"/>
                <a:gd name="T84" fmla="*/ 0 w 217"/>
                <a:gd name="T85" fmla="*/ 213 h 356"/>
                <a:gd name="T86" fmla="*/ 9 w 217"/>
                <a:gd name="T87" fmla="*/ 237 h 356"/>
                <a:gd name="T88" fmla="*/ 216 w 217"/>
                <a:gd name="T89" fmla="*/ 356 h 356"/>
                <a:gd name="T90" fmla="*/ 217 w 217"/>
                <a:gd name="T91" fmla="*/ 108 h 356"/>
                <a:gd name="T92" fmla="*/ 29 w 217"/>
                <a:gd name="T93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7" h="356">
                  <a:moveTo>
                    <a:pt x="29" y="0"/>
                  </a:moveTo>
                  <a:cubicBezTo>
                    <a:pt x="23" y="4"/>
                    <a:pt x="18" y="9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0" y="18"/>
                    <a:pt x="10" y="18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9" y="19"/>
                    <a:pt x="9" y="19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3"/>
                    <a:pt x="6" y="23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7"/>
                    <a:pt x="4" y="27"/>
                    <a:pt x="4" y="28"/>
                  </a:cubicBezTo>
                  <a:cubicBezTo>
                    <a:pt x="4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1"/>
                    <a:pt x="2" y="31"/>
                  </a:cubicBezTo>
                  <a:cubicBezTo>
                    <a:pt x="1" y="31"/>
                    <a:pt x="1" y="31"/>
                    <a:pt x="1" y="3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3" y="221"/>
                    <a:pt x="6" y="229"/>
                    <a:pt x="9" y="237"/>
                  </a:cubicBezTo>
                  <a:cubicBezTo>
                    <a:pt x="216" y="356"/>
                    <a:pt x="216" y="356"/>
                    <a:pt x="216" y="356"/>
                  </a:cubicBezTo>
                  <a:cubicBezTo>
                    <a:pt x="217" y="108"/>
                    <a:pt x="217" y="108"/>
                    <a:pt x="217" y="108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rgbClr val="DFE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411">
              <a:extLst>
                <a:ext uri="{FF2B5EF4-FFF2-40B4-BE49-F238E27FC236}">
                  <a16:creationId xmlns:a16="http://schemas.microsoft.com/office/drawing/2014/main" id="{5BCEDBBC-441F-4393-9941-85907EFE19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21963" y="3325239"/>
              <a:ext cx="174625" cy="214313"/>
            </a:xfrm>
            <a:custGeom>
              <a:avLst/>
              <a:gdLst>
                <a:gd name="T0" fmla="*/ 110 w 110"/>
                <a:gd name="T1" fmla="*/ 64 h 135"/>
                <a:gd name="T2" fmla="*/ 110 w 110"/>
                <a:gd name="T3" fmla="*/ 135 h 135"/>
                <a:gd name="T4" fmla="*/ 0 w 110"/>
                <a:gd name="T5" fmla="*/ 71 h 135"/>
                <a:gd name="T6" fmla="*/ 2 w 110"/>
                <a:gd name="T7" fmla="*/ 37 h 135"/>
                <a:gd name="T8" fmla="*/ 0 w 110"/>
                <a:gd name="T9" fmla="*/ 0 h 135"/>
                <a:gd name="T10" fmla="*/ 110 w 110"/>
                <a:gd name="T11" fmla="*/ 6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135">
                  <a:moveTo>
                    <a:pt x="110" y="64"/>
                  </a:moveTo>
                  <a:cubicBezTo>
                    <a:pt x="110" y="135"/>
                    <a:pt x="110" y="135"/>
                    <a:pt x="110" y="13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1" y="60"/>
                    <a:pt x="2" y="49"/>
                    <a:pt x="2" y="37"/>
                  </a:cubicBezTo>
                  <a:cubicBezTo>
                    <a:pt x="2" y="25"/>
                    <a:pt x="1" y="13"/>
                    <a:pt x="0" y="0"/>
                  </a:cubicBezTo>
                  <a:lnTo>
                    <a:pt x="110" y="64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412">
              <a:extLst>
                <a:ext uri="{FF2B5EF4-FFF2-40B4-BE49-F238E27FC236}">
                  <a16:creationId xmlns:a16="http://schemas.microsoft.com/office/drawing/2014/main" id="{20499814-EF58-4D29-8DE7-7A91F78A46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21963" y="3253801"/>
              <a:ext cx="296863" cy="173038"/>
            </a:xfrm>
            <a:custGeom>
              <a:avLst/>
              <a:gdLst>
                <a:gd name="T0" fmla="*/ 0 w 187"/>
                <a:gd name="T1" fmla="*/ 45 h 109"/>
                <a:gd name="T2" fmla="*/ 77 w 187"/>
                <a:gd name="T3" fmla="*/ 0 h 109"/>
                <a:gd name="T4" fmla="*/ 187 w 187"/>
                <a:gd name="T5" fmla="*/ 64 h 109"/>
                <a:gd name="T6" fmla="*/ 110 w 187"/>
                <a:gd name="T7" fmla="*/ 109 h 109"/>
                <a:gd name="T8" fmla="*/ 0 w 187"/>
                <a:gd name="T9" fmla="*/ 4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09">
                  <a:moveTo>
                    <a:pt x="0" y="45"/>
                  </a:moveTo>
                  <a:lnTo>
                    <a:pt x="77" y="0"/>
                  </a:lnTo>
                  <a:lnTo>
                    <a:pt x="187" y="64"/>
                  </a:lnTo>
                  <a:lnTo>
                    <a:pt x="110" y="109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413">
              <a:extLst>
                <a:ext uri="{FF2B5EF4-FFF2-40B4-BE49-F238E27FC236}">
                  <a16:creationId xmlns:a16="http://schemas.microsoft.com/office/drawing/2014/main" id="{2E82FCFB-A347-48C4-B2BF-72F20669F4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96588" y="3355401"/>
              <a:ext cx="122238" cy="184150"/>
            </a:xfrm>
            <a:custGeom>
              <a:avLst/>
              <a:gdLst>
                <a:gd name="T0" fmla="*/ 0 w 77"/>
                <a:gd name="T1" fmla="*/ 45 h 116"/>
                <a:gd name="T2" fmla="*/ 77 w 77"/>
                <a:gd name="T3" fmla="*/ 0 h 116"/>
                <a:gd name="T4" fmla="*/ 77 w 77"/>
                <a:gd name="T5" fmla="*/ 71 h 116"/>
                <a:gd name="T6" fmla="*/ 0 w 77"/>
                <a:gd name="T7" fmla="*/ 116 h 116"/>
                <a:gd name="T8" fmla="*/ 0 w 77"/>
                <a:gd name="T9" fmla="*/ 4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16">
                  <a:moveTo>
                    <a:pt x="0" y="45"/>
                  </a:moveTo>
                  <a:lnTo>
                    <a:pt x="77" y="0"/>
                  </a:lnTo>
                  <a:lnTo>
                    <a:pt x="77" y="71"/>
                  </a:lnTo>
                  <a:lnTo>
                    <a:pt x="0" y="116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414">
              <a:extLst>
                <a:ext uri="{FF2B5EF4-FFF2-40B4-BE49-F238E27FC236}">
                  <a16:creationId xmlns:a16="http://schemas.microsoft.com/office/drawing/2014/main" id="{27493B26-3AFA-44A1-9693-E53BCD2A76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96588" y="3296664"/>
              <a:ext cx="568325" cy="328613"/>
            </a:xfrm>
            <a:custGeom>
              <a:avLst/>
              <a:gdLst>
                <a:gd name="T0" fmla="*/ 0 w 358"/>
                <a:gd name="T1" fmla="*/ 45 h 207"/>
                <a:gd name="T2" fmla="*/ 77 w 358"/>
                <a:gd name="T3" fmla="*/ 0 h 207"/>
                <a:gd name="T4" fmla="*/ 358 w 358"/>
                <a:gd name="T5" fmla="*/ 162 h 207"/>
                <a:gd name="T6" fmla="*/ 281 w 358"/>
                <a:gd name="T7" fmla="*/ 207 h 207"/>
                <a:gd name="T8" fmla="*/ 0 w 358"/>
                <a:gd name="T9" fmla="*/ 4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207">
                  <a:moveTo>
                    <a:pt x="0" y="45"/>
                  </a:moveTo>
                  <a:lnTo>
                    <a:pt x="77" y="0"/>
                  </a:lnTo>
                  <a:lnTo>
                    <a:pt x="358" y="162"/>
                  </a:lnTo>
                  <a:lnTo>
                    <a:pt x="281" y="207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FF8A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415">
              <a:extLst>
                <a:ext uri="{FF2B5EF4-FFF2-40B4-BE49-F238E27FC236}">
                  <a16:creationId xmlns:a16="http://schemas.microsoft.com/office/drawing/2014/main" id="{2BFA147E-F51C-4B29-9308-3776E8D12F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42676" y="3553839"/>
              <a:ext cx="222250" cy="307975"/>
            </a:xfrm>
            <a:custGeom>
              <a:avLst/>
              <a:gdLst>
                <a:gd name="T0" fmla="*/ 122 w 140"/>
                <a:gd name="T1" fmla="*/ 150 h 194"/>
                <a:gd name="T2" fmla="*/ 44 w 140"/>
                <a:gd name="T3" fmla="*/ 194 h 194"/>
                <a:gd name="T4" fmla="*/ 63 w 140"/>
                <a:gd name="T5" fmla="*/ 154 h 194"/>
                <a:gd name="T6" fmla="*/ 0 w 140"/>
                <a:gd name="T7" fmla="*/ 45 h 194"/>
                <a:gd name="T8" fmla="*/ 77 w 140"/>
                <a:gd name="T9" fmla="*/ 0 h 194"/>
                <a:gd name="T10" fmla="*/ 140 w 140"/>
                <a:gd name="T11" fmla="*/ 109 h 194"/>
                <a:gd name="T12" fmla="*/ 122 w 140"/>
                <a:gd name="T13" fmla="*/ 15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194">
                  <a:moveTo>
                    <a:pt x="122" y="150"/>
                  </a:moveTo>
                  <a:cubicBezTo>
                    <a:pt x="44" y="194"/>
                    <a:pt x="44" y="194"/>
                    <a:pt x="44" y="194"/>
                  </a:cubicBezTo>
                  <a:cubicBezTo>
                    <a:pt x="56" y="188"/>
                    <a:pt x="63" y="174"/>
                    <a:pt x="63" y="154"/>
                  </a:cubicBezTo>
                  <a:cubicBezTo>
                    <a:pt x="63" y="114"/>
                    <a:pt x="35" y="65"/>
                    <a:pt x="0" y="45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12" y="20"/>
                    <a:pt x="140" y="69"/>
                    <a:pt x="140" y="109"/>
                  </a:cubicBezTo>
                  <a:cubicBezTo>
                    <a:pt x="140" y="129"/>
                    <a:pt x="133" y="143"/>
                    <a:pt x="122" y="150"/>
                  </a:cubicBezTo>
                  <a:close/>
                </a:path>
              </a:pathLst>
            </a:custGeom>
            <a:solidFill>
              <a:srgbClr val="FF8A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416">
              <a:extLst>
                <a:ext uri="{FF2B5EF4-FFF2-40B4-BE49-F238E27FC236}">
                  <a16:creationId xmlns:a16="http://schemas.microsoft.com/office/drawing/2014/main" id="{B1B243B8-91B1-4DB8-A204-34086C180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96588" y="3368101"/>
              <a:ext cx="546100" cy="519113"/>
            </a:xfrm>
            <a:custGeom>
              <a:avLst/>
              <a:gdLst>
                <a:gd name="T0" fmla="*/ 281 w 344"/>
                <a:gd name="T1" fmla="*/ 162 h 327"/>
                <a:gd name="T2" fmla="*/ 344 w 344"/>
                <a:gd name="T3" fmla="*/ 271 h 327"/>
                <a:gd name="T4" fmla="*/ 280 w 344"/>
                <a:gd name="T5" fmla="*/ 307 h 327"/>
                <a:gd name="T6" fmla="*/ 0 w 344"/>
                <a:gd name="T7" fmla="*/ 145 h 327"/>
                <a:gd name="T8" fmla="*/ 0 w 344"/>
                <a:gd name="T9" fmla="*/ 108 h 327"/>
                <a:gd name="T10" fmla="*/ 0 w 344"/>
                <a:gd name="T11" fmla="*/ 37 h 327"/>
                <a:gd name="T12" fmla="*/ 0 w 344"/>
                <a:gd name="T13" fmla="*/ 0 h 327"/>
                <a:gd name="T14" fmla="*/ 281 w 344"/>
                <a:gd name="T15" fmla="*/ 16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4" h="327">
                  <a:moveTo>
                    <a:pt x="281" y="162"/>
                  </a:moveTo>
                  <a:cubicBezTo>
                    <a:pt x="316" y="182"/>
                    <a:pt x="344" y="231"/>
                    <a:pt x="344" y="271"/>
                  </a:cubicBezTo>
                  <a:cubicBezTo>
                    <a:pt x="344" y="311"/>
                    <a:pt x="315" y="327"/>
                    <a:pt x="280" y="307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81" y="162"/>
                  </a:lnTo>
                  <a:close/>
                </a:path>
              </a:pathLst>
            </a:custGeom>
            <a:solidFill>
              <a:srgbClr val="F451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417">
              <a:extLst>
                <a:ext uri="{FF2B5EF4-FFF2-40B4-BE49-F238E27FC236}">
                  <a16:creationId xmlns:a16="http://schemas.microsoft.com/office/drawing/2014/main" id="{B4716DC4-C888-4000-B31F-F4C554A68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6838" y="1499614"/>
              <a:ext cx="265113" cy="1187450"/>
            </a:xfrm>
            <a:custGeom>
              <a:avLst/>
              <a:gdLst>
                <a:gd name="T0" fmla="*/ 166 w 167"/>
                <a:gd name="T1" fmla="*/ 30 h 749"/>
                <a:gd name="T2" fmla="*/ 165 w 167"/>
                <a:gd name="T3" fmla="*/ 28 h 749"/>
                <a:gd name="T4" fmla="*/ 163 w 167"/>
                <a:gd name="T5" fmla="*/ 23 h 749"/>
                <a:gd name="T6" fmla="*/ 162 w 167"/>
                <a:gd name="T7" fmla="*/ 23 h 749"/>
                <a:gd name="T8" fmla="*/ 159 w 167"/>
                <a:gd name="T9" fmla="*/ 17 h 749"/>
                <a:gd name="T10" fmla="*/ 159 w 167"/>
                <a:gd name="T11" fmla="*/ 16 h 749"/>
                <a:gd name="T12" fmla="*/ 157 w 167"/>
                <a:gd name="T13" fmla="*/ 10 h 749"/>
                <a:gd name="T14" fmla="*/ 157 w 167"/>
                <a:gd name="T15" fmla="*/ 10 h 749"/>
                <a:gd name="T16" fmla="*/ 155 w 167"/>
                <a:gd name="T17" fmla="*/ 3 h 749"/>
                <a:gd name="T18" fmla="*/ 154 w 167"/>
                <a:gd name="T19" fmla="*/ 3 h 749"/>
                <a:gd name="T20" fmla="*/ 154 w 167"/>
                <a:gd name="T21" fmla="*/ 0 h 749"/>
                <a:gd name="T22" fmla="*/ 0 w 167"/>
                <a:gd name="T23" fmla="*/ 738 h 749"/>
                <a:gd name="T24" fmla="*/ 18 w 167"/>
                <a:gd name="T25" fmla="*/ 749 h 749"/>
                <a:gd name="T26" fmla="*/ 167 w 167"/>
                <a:gd name="T27" fmla="*/ 32 h 749"/>
                <a:gd name="T28" fmla="*/ 166 w 167"/>
                <a:gd name="T29" fmla="*/ 30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7" h="749">
                  <a:moveTo>
                    <a:pt x="166" y="30"/>
                  </a:moveTo>
                  <a:cubicBezTo>
                    <a:pt x="166" y="29"/>
                    <a:pt x="166" y="29"/>
                    <a:pt x="165" y="28"/>
                  </a:cubicBezTo>
                  <a:cubicBezTo>
                    <a:pt x="164" y="27"/>
                    <a:pt x="163" y="25"/>
                    <a:pt x="163" y="23"/>
                  </a:cubicBezTo>
                  <a:cubicBezTo>
                    <a:pt x="162" y="23"/>
                    <a:pt x="162" y="23"/>
                    <a:pt x="162" y="23"/>
                  </a:cubicBezTo>
                  <a:cubicBezTo>
                    <a:pt x="161" y="21"/>
                    <a:pt x="160" y="19"/>
                    <a:pt x="159" y="17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8" y="14"/>
                    <a:pt x="158" y="12"/>
                    <a:pt x="157" y="10"/>
                  </a:cubicBezTo>
                  <a:cubicBezTo>
                    <a:pt x="157" y="10"/>
                    <a:pt x="157" y="10"/>
                    <a:pt x="157" y="10"/>
                  </a:cubicBezTo>
                  <a:cubicBezTo>
                    <a:pt x="156" y="8"/>
                    <a:pt x="155" y="6"/>
                    <a:pt x="155" y="3"/>
                  </a:cubicBezTo>
                  <a:cubicBezTo>
                    <a:pt x="154" y="3"/>
                    <a:pt x="154" y="3"/>
                    <a:pt x="154" y="3"/>
                  </a:cubicBezTo>
                  <a:cubicBezTo>
                    <a:pt x="154" y="2"/>
                    <a:pt x="154" y="1"/>
                    <a:pt x="154" y="0"/>
                  </a:cubicBezTo>
                  <a:cubicBezTo>
                    <a:pt x="0" y="738"/>
                    <a:pt x="0" y="738"/>
                    <a:pt x="0" y="738"/>
                  </a:cubicBezTo>
                  <a:cubicBezTo>
                    <a:pt x="18" y="749"/>
                    <a:pt x="18" y="749"/>
                    <a:pt x="18" y="749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7" y="31"/>
                    <a:pt x="166" y="30"/>
                    <a:pt x="166" y="30"/>
                  </a:cubicBez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418">
              <a:extLst>
                <a:ext uri="{FF2B5EF4-FFF2-40B4-BE49-F238E27FC236}">
                  <a16:creationId xmlns:a16="http://schemas.microsoft.com/office/drawing/2014/main" id="{696EBE99-A1CD-4099-8AB9-312025881D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52013" y="5487414"/>
              <a:ext cx="106363" cy="677863"/>
            </a:xfrm>
            <a:custGeom>
              <a:avLst/>
              <a:gdLst>
                <a:gd name="T0" fmla="*/ 1 w 67"/>
                <a:gd name="T1" fmla="*/ 38 h 427"/>
                <a:gd name="T2" fmla="*/ 67 w 67"/>
                <a:gd name="T3" fmla="*/ 0 h 427"/>
                <a:gd name="T4" fmla="*/ 66 w 67"/>
                <a:gd name="T5" fmla="*/ 388 h 427"/>
                <a:gd name="T6" fmla="*/ 0 w 67"/>
                <a:gd name="T7" fmla="*/ 427 h 427"/>
                <a:gd name="T8" fmla="*/ 1 w 67"/>
                <a:gd name="T9" fmla="*/ 38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427">
                  <a:moveTo>
                    <a:pt x="1" y="38"/>
                  </a:moveTo>
                  <a:lnTo>
                    <a:pt x="67" y="0"/>
                  </a:lnTo>
                  <a:lnTo>
                    <a:pt x="66" y="388"/>
                  </a:lnTo>
                  <a:lnTo>
                    <a:pt x="0" y="427"/>
                  </a:lnTo>
                  <a:lnTo>
                    <a:pt x="1" y="38"/>
                  </a:lnTo>
                  <a:close/>
                </a:path>
              </a:pathLst>
            </a:custGeom>
            <a:solidFill>
              <a:srgbClr val="FF8A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5" name="Freeform 419">
              <a:extLst>
                <a:ext uri="{FF2B5EF4-FFF2-40B4-BE49-F238E27FC236}">
                  <a16:creationId xmlns:a16="http://schemas.microsoft.com/office/drawing/2014/main" id="{4C41DE32-2B20-42D8-B099-F256288B5B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18613" y="5177851"/>
              <a:ext cx="639763" cy="369888"/>
            </a:xfrm>
            <a:custGeom>
              <a:avLst/>
              <a:gdLst>
                <a:gd name="T0" fmla="*/ 0 w 403"/>
                <a:gd name="T1" fmla="*/ 38 h 233"/>
                <a:gd name="T2" fmla="*/ 66 w 403"/>
                <a:gd name="T3" fmla="*/ 0 h 233"/>
                <a:gd name="T4" fmla="*/ 403 w 403"/>
                <a:gd name="T5" fmla="*/ 195 h 233"/>
                <a:gd name="T6" fmla="*/ 337 w 403"/>
                <a:gd name="T7" fmla="*/ 233 h 233"/>
                <a:gd name="T8" fmla="*/ 0 w 403"/>
                <a:gd name="T9" fmla="*/ 38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3" h="233">
                  <a:moveTo>
                    <a:pt x="0" y="38"/>
                  </a:moveTo>
                  <a:lnTo>
                    <a:pt x="66" y="0"/>
                  </a:lnTo>
                  <a:lnTo>
                    <a:pt x="403" y="195"/>
                  </a:lnTo>
                  <a:lnTo>
                    <a:pt x="337" y="233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FF70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6" name="Freeform 420">
              <a:extLst>
                <a:ext uri="{FF2B5EF4-FFF2-40B4-BE49-F238E27FC236}">
                  <a16:creationId xmlns:a16="http://schemas.microsoft.com/office/drawing/2014/main" id="{6FF5535F-6723-409A-87D9-A66D07CBD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15438" y="5238176"/>
              <a:ext cx="538163" cy="927100"/>
            </a:xfrm>
            <a:custGeom>
              <a:avLst/>
              <a:gdLst>
                <a:gd name="T0" fmla="*/ 339 w 339"/>
                <a:gd name="T1" fmla="*/ 195 h 584"/>
                <a:gd name="T2" fmla="*/ 338 w 339"/>
                <a:gd name="T3" fmla="*/ 584 h 584"/>
                <a:gd name="T4" fmla="*/ 0 w 339"/>
                <a:gd name="T5" fmla="*/ 388 h 584"/>
                <a:gd name="T6" fmla="*/ 2 w 339"/>
                <a:gd name="T7" fmla="*/ 0 h 584"/>
                <a:gd name="T8" fmla="*/ 339 w 339"/>
                <a:gd name="T9" fmla="*/ 195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9" h="584">
                  <a:moveTo>
                    <a:pt x="339" y="195"/>
                  </a:moveTo>
                  <a:lnTo>
                    <a:pt x="338" y="584"/>
                  </a:lnTo>
                  <a:lnTo>
                    <a:pt x="0" y="388"/>
                  </a:lnTo>
                  <a:lnTo>
                    <a:pt x="2" y="0"/>
                  </a:lnTo>
                  <a:lnTo>
                    <a:pt x="339" y="195"/>
                  </a:lnTo>
                  <a:close/>
                </a:path>
              </a:pathLst>
            </a:custGeom>
            <a:solidFill>
              <a:srgbClr val="F451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7" name="Freeform 421">
              <a:extLst>
                <a:ext uri="{FF2B5EF4-FFF2-40B4-BE49-F238E27FC236}">
                  <a16:creationId xmlns:a16="http://schemas.microsoft.com/office/drawing/2014/main" id="{194019F1-A16B-4FFC-9B4D-FA06F205E7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7526" y="5469951"/>
              <a:ext cx="155575" cy="228600"/>
            </a:xfrm>
            <a:custGeom>
              <a:avLst/>
              <a:gdLst>
                <a:gd name="T0" fmla="*/ 50 w 98"/>
                <a:gd name="T1" fmla="*/ 16 h 144"/>
                <a:gd name="T2" fmla="*/ 98 w 98"/>
                <a:gd name="T3" fmla="*/ 100 h 144"/>
                <a:gd name="T4" fmla="*/ 49 w 98"/>
                <a:gd name="T5" fmla="*/ 128 h 144"/>
                <a:gd name="T6" fmla="*/ 0 w 98"/>
                <a:gd name="T7" fmla="*/ 44 h 144"/>
                <a:gd name="T8" fmla="*/ 50 w 98"/>
                <a:gd name="T9" fmla="*/ 1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44">
                  <a:moveTo>
                    <a:pt x="50" y="16"/>
                  </a:moveTo>
                  <a:cubicBezTo>
                    <a:pt x="76" y="31"/>
                    <a:pt x="98" y="69"/>
                    <a:pt x="98" y="100"/>
                  </a:cubicBezTo>
                  <a:cubicBezTo>
                    <a:pt x="98" y="132"/>
                    <a:pt x="76" y="144"/>
                    <a:pt x="49" y="128"/>
                  </a:cubicBezTo>
                  <a:cubicBezTo>
                    <a:pt x="22" y="113"/>
                    <a:pt x="0" y="75"/>
                    <a:pt x="0" y="44"/>
                  </a:cubicBezTo>
                  <a:cubicBezTo>
                    <a:pt x="0" y="13"/>
                    <a:pt x="22" y="0"/>
                    <a:pt x="50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8" name="Freeform 422">
              <a:extLst>
                <a:ext uri="{FF2B5EF4-FFF2-40B4-BE49-F238E27FC236}">
                  <a16:creationId xmlns:a16="http://schemas.microsoft.com/office/drawing/2014/main" id="{B43F0D5F-6627-4329-8BFF-BA991A57BB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47201" y="5595364"/>
              <a:ext cx="274638" cy="323850"/>
            </a:xfrm>
            <a:custGeom>
              <a:avLst/>
              <a:gdLst>
                <a:gd name="T0" fmla="*/ 133 w 173"/>
                <a:gd name="T1" fmla="*/ 66 h 204"/>
                <a:gd name="T2" fmla="*/ 173 w 173"/>
                <a:gd name="T3" fmla="*/ 135 h 204"/>
                <a:gd name="T4" fmla="*/ 173 w 173"/>
                <a:gd name="T5" fmla="*/ 204 h 204"/>
                <a:gd name="T6" fmla="*/ 143 w 173"/>
                <a:gd name="T7" fmla="*/ 187 h 204"/>
                <a:gd name="T8" fmla="*/ 143 w 173"/>
                <a:gd name="T9" fmla="*/ 149 h 204"/>
                <a:gd name="T10" fmla="*/ 139 w 173"/>
                <a:gd name="T11" fmla="*/ 141 h 204"/>
                <a:gd name="T12" fmla="*/ 135 w 173"/>
                <a:gd name="T13" fmla="*/ 143 h 204"/>
                <a:gd name="T14" fmla="*/ 134 w 173"/>
                <a:gd name="T15" fmla="*/ 181 h 204"/>
                <a:gd name="T16" fmla="*/ 39 w 173"/>
                <a:gd name="T17" fmla="*/ 126 h 204"/>
                <a:gd name="T18" fmla="*/ 39 w 173"/>
                <a:gd name="T19" fmla="*/ 88 h 204"/>
                <a:gd name="T20" fmla="*/ 35 w 173"/>
                <a:gd name="T21" fmla="*/ 80 h 204"/>
                <a:gd name="T22" fmla="*/ 30 w 173"/>
                <a:gd name="T23" fmla="*/ 83 h 204"/>
                <a:gd name="T24" fmla="*/ 30 w 173"/>
                <a:gd name="T25" fmla="*/ 121 h 204"/>
                <a:gd name="T26" fmla="*/ 0 w 173"/>
                <a:gd name="T27" fmla="*/ 104 h 204"/>
                <a:gd name="T28" fmla="*/ 1 w 173"/>
                <a:gd name="T29" fmla="*/ 35 h 204"/>
                <a:gd name="T30" fmla="*/ 41 w 173"/>
                <a:gd name="T31" fmla="*/ 12 h 204"/>
                <a:gd name="T32" fmla="*/ 42 w 173"/>
                <a:gd name="T33" fmla="*/ 13 h 204"/>
                <a:gd name="T34" fmla="*/ 87 w 173"/>
                <a:gd name="T35" fmla="*/ 63 h 204"/>
                <a:gd name="T36" fmla="*/ 132 w 173"/>
                <a:gd name="T37" fmla="*/ 65 h 204"/>
                <a:gd name="T38" fmla="*/ 133 w 173"/>
                <a:gd name="T39" fmla="*/ 6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" h="204">
                  <a:moveTo>
                    <a:pt x="133" y="66"/>
                  </a:moveTo>
                  <a:cubicBezTo>
                    <a:pt x="155" y="79"/>
                    <a:pt x="173" y="110"/>
                    <a:pt x="173" y="135"/>
                  </a:cubicBezTo>
                  <a:cubicBezTo>
                    <a:pt x="173" y="204"/>
                    <a:pt x="173" y="204"/>
                    <a:pt x="173" y="204"/>
                  </a:cubicBezTo>
                  <a:cubicBezTo>
                    <a:pt x="143" y="187"/>
                    <a:pt x="143" y="187"/>
                    <a:pt x="143" y="187"/>
                  </a:cubicBezTo>
                  <a:cubicBezTo>
                    <a:pt x="143" y="149"/>
                    <a:pt x="143" y="149"/>
                    <a:pt x="143" y="149"/>
                  </a:cubicBezTo>
                  <a:cubicBezTo>
                    <a:pt x="143" y="146"/>
                    <a:pt x="141" y="142"/>
                    <a:pt x="139" y="141"/>
                  </a:cubicBezTo>
                  <a:cubicBezTo>
                    <a:pt x="137" y="140"/>
                    <a:pt x="135" y="141"/>
                    <a:pt x="135" y="143"/>
                  </a:cubicBezTo>
                  <a:cubicBezTo>
                    <a:pt x="134" y="181"/>
                    <a:pt x="134" y="181"/>
                    <a:pt x="134" y="181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39" y="85"/>
                    <a:pt x="37" y="82"/>
                    <a:pt x="35" y="80"/>
                  </a:cubicBezTo>
                  <a:cubicBezTo>
                    <a:pt x="32" y="79"/>
                    <a:pt x="30" y="80"/>
                    <a:pt x="30" y="83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10"/>
                    <a:pt x="19" y="0"/>
                    <a:pt x="41" y="12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53" y="34"/>
                    <a:pt x="69" y="53"/>
                    <a:pt x="87" y="63"/>
                  </a:cubicBezTo>
                  <a:cubicBezTo>
                    <a:pt x="105" y="74"/>
                    <a:pt x="121" y="74"/>
                    <a:pt x="132" y="65"/>
                  </a:cubicBezTo>
                  <a:lnTo>
                    <a:pt x="133" y="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9" name="Freeform 423">
              <a:extLst>
                <a:ext uri="{FF2B5EF4-FFF2-40B4-BE49-F238E27FC236}">
                  <a16:creationId xmlns:a16="http://schemas.microsoft.com/office/drawing/2014/main" id="{F1D5B7A9-4D93-4F8D-A8AF-ABE3C20BB8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1751" y="5528689"/>
              <a:ext cx="85725" cy="544513"/>
            </a:xfrm>
            <a:custGeom>
              <a:avLst/>
              <a:gdLst>
                <a:gd name="T0" fmla="*/ 1 w 54"/>
                <a:gd name="T1" fmla="*/ 30 h 343"/>
                <a:gd name="T2" fmla="*/ 54 w 54"/>
                <a:gd name="T3" fmla="*/ 0 h 343"/>
                <a:gd name="T4" fmla="*/ 53 w 54"/>
                <a:gd name="T5" fmla="*/ 312 h 343"/>
                <a:gd name="T6" fmla="*/ 0 w 54"/>
                <a:gd name="T7" fmla="*/ 343 h 343"/>
                <a:gd name="T8" fmla="*/ 1 w 54"/>
                <a:gd name="T9" fmla="*/ 3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43">
                  <a:moveTo>
                    <a:pt x="1" y="30"/>
                  </a:moveTo>
                  <a:lnTo>
                    <a:pt x="54" y="0"/>
                  </a:lnTo>
                  <a:lnTo>
                    <a:pt x="53" y="312"/>
                  </a:lnTo>
                  <a:lnTo>
                    <a:pt x="0" y="343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00AC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0" name="Freeform 424">
              <a:extLst>
                <a:ext uri="{FF2B5EF4-FFF2-40B4-BE49-F238E27FC236}">
                  <a16:creationId xmlns:a16="http://schemas.microsoft.com/office/drawing/2014/main" id="{6E058AD6-581D-4296-A2C9-54BF753C13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3126" y="5277864"/>
              <a:ext cx="514350" cy="298450"/>
            </a:xfrm>
            <a:custGeom>
              <a:avLst/>
              <a:gdLst>
                <a:gd name="T0" fmla="*/ 0 w 324"/>
                <a:gd name="T1" fmla="*/ 31 h 188"/>
                <a:gd name="T2" fmla="*/ 53 w 324"/>
                <a:gd name="T3" fmla="*/ 0 h 188"/>
                <a:gd name="T4" fmla="*/ 324 w 324"/>
                <a:gd name="T5" fmla="*/ 158 h 188"/>
                <a:gd name="T6" fmla="*/ 271 w 324"/>
                <a:gd name="T7" fmla="*/ 188 h 188"/>
                <a:gd name="T8" fmla="*/ 0 w 324"/>
                <a:gd name="T9" fmla="*/ 31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188">
                  <a:moveTo>
                    <a:pt x="0" y="31"/>
                  </a:moveTo>
                  <a:lnTo>
                    <a:pt x="53" y="0"/>
                  </a:lnTo>
                  <a:lnTo>
                    <a:pt x="324" y="158"/>
                  </a:lnTo>
                  <a:lnTo>
                    <a:pt x="271" y="188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008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1" name="Freeform 425">
              <a:extLst>
                <a:ext uri="{FF2B5EF4-FFF2-40B4-BE49-F238E27FC236}">
                  <a16:creationId xmlns:a16="http://schemas.microsoft.com/office/drawing/2014/main" id="{B5F20DCE-795C-4509-ABCA-7C4E84292D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9951" y="5327076"/>
              <a:ext cx="433388" cy="746125"/>
            </a:xfrm>
            <a:custGeom>
              <a:avLst/>
              <a:gdLst>
                <a:gd name="T0" fmla="*/ 273 w 273"/>
                <a:gd name="T1" fmla="*/ 157 h 470"/>
                <a:gd name="T2" fmla="*/ 272 w 273"/>
                <a:gd name="T3" fmla="*/ 470 h 470"/>
                <a:gd name="T4" fmla="*/ 0 w 273"/>
                <a:gd name="T5" fmla="*/ 313 h 470"/>
                <a:gd name="T6" fmla="*/ 2 w 273"/>
                <a:gd name="T7" fmla="*/ 0 h 470"/>
                <a:gd name="T8" fmla="*/ 273 w 273"/>
                <a:gd name="T9" fmla="*/ 15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470">
                  <a:moveTo>
                    <a:pt x="273" y="157"/>
                  </a:moveTo>
                  <a:lnTo>
                    <a:pt x="272" y="470"/>
                  </a:lnTo>
                  <a:lnTo>
                    <a:pt x="0" y="313"/>
                  </a:lnTo>
                  <a:lnTo>
                    <a:pt x="2" y="0"/>
                  </a:lnTo>
                  <a:lnTo>
                    <a:pt x="273" y="157"/>
                  </a:lnTo>
                  <a:close/>
                </a:path>
              </a:pathLst>
            </a:custGeom>
            <a:solidFill>
              <a:srgbClr val="00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2" name="Freeform 426">
              <a:extLst>
                <a:ext uri="{FF2B5EF4-FFF2-40B4-BE49-F238E27FC236}">
                  <a16:creationId xmlns:a16="http://schemas.microsoft.com/office/drawing/2014/main" id="{CB34F8CD-F752-43D7-9A04-E07FCC0B9B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62976" y="5552501"/>
              <a:ext cx="287338" cy="295275"/>
            </a:xfrm>
            <a:custGeom>
              <a:avLst/>
              <a:gdLst>
                <a:gd name="T0" fmla="*/ 154 w 181"/>
                <a:gd name="T1" fmla="*/ 76 h 186"/>
                <a:gd name="T2" fmla="*/ 145 w 181"/>
                <a:gd name="T3" fmla="*/ 44 h 186"/>
                <a:gd name="T4" fmla="*/ 145 w 181"/>
                <a:gd name="T5" fmla="*/ 33 h 186"/>
                <a:gd name="T6" fmla="*/ 138 w 181"/>
                <a:gd name="T7" fmla="*/ 26 h 186"/>
                <a:gd name="T8" fmla="*/ 124 w 181"/>
                <a:gd name="T9" fmla="*/ 17 h 186"/>
                <a:gd name="T10" fmla="*/ 120 w 181"/>
                <a:gd name="T11" fmla="*/ 14 h 186"/>
                <a:gd name="T12" fmla="*/ 111 w 181"/>
                <a:gd name="T13" fmla="*/ 18 h 186"/>
                <a:gd name="T14" fmla="*/ 76 w 181"/>
                <a:gd name="T15" fmla="*/ 9 h 186"/>
                <a:gd name="T16" fmla="*/ 70 w 181"/>
                <a:gd name="T17" fmla="*/ 0 h 186"/>
                <a:gd name="T18" fmla="*/ 63 w 181"/>
                <a:gd name="T19" fmla="*/ 0 h 186"/>
                <a:gd name="T20" fmla="*/ 54 w 181"/>
                <a:gd name="T21" fmla="*/ 2 h 186"/>
                <a:gd name="T22" fmla="*/ 42 w 181"/>
                <a:gd name="T23" fmla="*/ 5 h 186"/>
                <a:gd name="T24" fmla="*/ 41 w 181"/>
                <a:gd name="T25" fmla="*/ 16 h 186"/>
                <a:gd name="T26" fmla="*/ 18 w 181"/>
                <a:gd name="T27" fmla="*/ 37 h 186"/>
                <a:gd name="T28" fmla="*/ 9 w 181"/>
                <a:gd name="T29" fmla="*/ 36 h 186"/>
                <a:gd name="T30" fmla="*/ 6 w 181"/>
                <a:gd name="T31" fmla="*/ 41 h 186"/>
                <a:gd name="T32" fmla="*/ 4 w 181"/>
                <a:gd name="T33" fmla="*/ 47 h 186"/>
                <a:gd name="T34" fmla="*/ 1 w 181"/>
                <a:gd name="T35" fmla="*/ 58 h 186"/>
                <a:gd name="T36" fmla="*/ 3 w 181"/>
                <a:gd name="T37" fmla="*/ 69 h 186"/>
                <a:gd name="T38" fmla="*/ 19 w 181"/>
                <a:gd name="T39" fmla="*/ 78 h 186"/>
                <a:gd name="T40" fmla="*/ 15 w 181"/>
                <a:gd name="T41" fmla="*/ 108 h 186"/>
                <a:gd name="T42" fmla="*/ 10 w 181"/>
                <a:gd name="T43" fmla="*/ 117 h 186"/>
                <a:gd name="T44" fmla="*/ 17 w 181"/>
                <a:gd name="T45" fmla="*/ 130 h 186"/>
                <a:gd name="T46" fmla="*/ 26 w 181"/>
                <a:gd name="T47" fmla="*/ 143 h 186"/>
                <a:gd name="T48" fmla="*/ 37 w 181"/>
                <a:gd name="T49" fmla="*/ 144 h 186"/>
                <a:gd name="T50" fmla="*/ 68 w 181"/>
                <a:gd name="T51" fmla="*/ 156 h 186"/>
                <a:gd name="T52" fmla="*/ 68 w 181"/>
                <a:gd name="T53" fmla="*/ 173 h 186"/>
                <a:gd name="T54" fmla="*/ 77 w 181"/>
                <a:gd name="T55" fmla="*/ 180 h 186"/>
                <a:gd name="T56" fmla="*/ 89 w 181"/>
                <a:gd name="T57" fmla="*/ 184 h 186"/>
                <a:gd name="T58" fmla="*/ 96 w 181"/>
                <a:gd name="T59" fmla="*/ 185 h 186"/>
                <a:gd name="T60" fmla="*/ 103 w 181"/>
                <a:gd name="T61" fmla="*/ 186 h 186"/>
                <a:gd name="T62" fmla="*/ 106 w 181"/>
                <a:gd name="T63" fmla="*/ 178 h 186"/>
                <a:gd name="T64" fmla="*/ 138 w 181"/>
                <a:gd name="T65" fmla="*/ 171 h 186"/>
                <a:gd name="T66" fmla="*/ 149 w 181"/>
                <a:gd name="T67" fmla="*/ 176 h 186"/>
                <a:gd name="T68" fmla="*/ 159 w 181"/>
                <a:gd name="T69" fmla="*/ 169 h 186"/>
                <a:gd name="T70" fmla="*/ 165 w 181"/>
                <a:gd name="T71" fmla="*/ 162 h 186"/>
                <a:gd name="T72" fmla="*/ 168 w 181"/>
                <a:gd name="T73" fmla="*/ 158 h 186"/>
                <a:gd name="T74" fmla="*/ 163 w 181"/>
                <a:gd name="T75" fmla="*/ 148 h 186"/>
                <a:gd name="T76" fmla="*/ 173 w 181"/>
                <a:gd name="T77" fmla="*/ 116 h 186"/>
                <a:gd name="T78" fmla="*/ 181 w 181"/>
                <a:gd name="T79" fmla="*/ 111 h 186"/>
                <a:gd name="T80" fmla="*/ 181 w 181"/>
                <a:gd name="T81" fmla="*/ 107 h 186"/>
                <a:gd name="T82" fmla="*/ 179 w 181"/>
                <a:gd name="T83" fmla="*/ 92 h 186"/>
                <a:gd name="T84" fmla="*/ 176 w 181"/>
                <a:gd name="T85" fmla="*/ 83 h 186"/>
                <a:gd name="T86" fmla="*/ 118 w 181"/>
                <a:gd name="T87" fmla="*/ 140 h 186"/>
                <a:gd name="T88" fmla="*/ 129 w 181"/>
                <a:gd name="T89" fmla="*/ 7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1" h="186">
                  <a:moveTo>
                    <a:pt x="171" y="78"/>
                  </a:moveTo>
                  <a:cubicBezTo>
                    <a:pt x="171" y="78"/>
                    <a:pt x="169" y="77"/>
                    <a:pt x="166" y="77"/>
                  </a:cubicBezTo>
                  <a:cubicBezTo>
                    <a:pt x="162" y="77"/>
                    <a:pt x="158" y="76"/>
                    <a:pt x="154" y="76"/>
                  </a:cubicBezTo>
                  <a:cubicBezTo>
                    <a:pt x="153" y="72"/>
                    <a:pt x="150" y="68"/>
                    <a:pt x="148" y="64"/>
                  </a:cubicBezTo>
                  <a:cubicBezTo>
                    <a:pt x="145" y="60"/>
                    <a:pt x="143" y="57"/>
                    <a:pt x="140" y="53"/>
                  </a:cubicBezTo>
                  <a:cubicBezTo>
                    <a:pt x="142" y="50"/>
                    <a:pt x="144" y="47"/>
                    <a:pt x="145" y="44"/>
                  </a:cubicBezTo>
                  <a:cubicBezTo>
                    <a:pt x="146" y="42"/>
                    <a:pt x="147" y="40"/>
                    <a:pt x="147" y="40"/>
                  </a:cubicBezTo>
                  <a:cubicBezTo>
                    <a:pt x="148" y="39"/>
                    <a:pt x="148" y="38"/>
                    <a:pt x="147" y="37"/>
                  </a:cubicBezTo>
                  <a:cubicBezTo>
                    <a:pt x="147" y="36"/>
                    <a:pt x="146" y="34"/>
                    <a:pt x="145" y="33"/>
                  </a:cubicBezTo>
                  <a:cubicBezTo>
                    <a:pt x="145" y="33"/>
                    <a:pt x="145" y="33"/>
                    <a:pt x="144" y="32"/>
                  </a:cubicBezTo>
                  <a:cubicBezTo>
                    <a:pt x="143" y="32"/>
                    <a:pt x="142" y="31"/>
                    <a:pt x="141" y="30"/>
                  </a:cubicBezTo>
                  <a:cubicBezTo>
                    <a:pt x="140" y="29"/>
                    <a:pt x="139" y="28"/>
                    <a:pt x="138" y="26"/>
                  </a:cubicBezTo>
                  <a:cubicBezTo>
                    <a:pt x="136" y="25"/>
                    <a:pt x="135" y="24"/>
                    <a:pt x="133" y="23"/>
                  </a:cubicBezTo>
                  <a:cubicBezTo>
                    <a:pt x="132" y="22"/>
                    <a:pt x="130" y="21"/>
                    <a:pt x="129" y="20"/>
                  </a:cubicBezTo>
                  <a:cubicBezTo>
                    <a:pt x="127" y="19"/>
                    <a:pt x="126" y="18"/>
                    <a:pt x="124" y="17"/>
                  </a:cubicBezTo>
                  <a:cubicBezTo>
                    <a:pt x="123" y="16"/>
                    <a:pt x="122" y="15"/>
                    <a:pt x="122" y="15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19" y="14"/>
                    <a:pt x="118" y="13"/>
                    <a:pt x="116" y="13"/>
                  </a:cubicBezTo>
                  <a:cubicBezTo>
                    <a:pt x="115" y="13"/>
                    <a:pt x="114" y="14"/>
                    <a:pt x="114" y="15"/>
                  </a:cubicBezTo>
                  <a:cubicBezTo>
                    <a:pt x="114" y="15"/>
                    <a:pt x="113" y="16"/>
                    <a:pt x="111" y="18"/>
                  </a:cubicBezTo>
                  <a:cubicBezTo>
                    <a:pt x="109" y="21"/>
                    <a:pt x="107" y="24"/>
                    <a:pt x="106" y="27"/>
                  </a:cubicBezTo>
                  <a:cubicBezTo>
                    <a:pt x="98" y="23"/>
                    <a:pt x="89" y="21"/>
                    <a:pt x="81" y="20"/>
                  </a:cubicBezTo>
                  <a:cubicBezTo>
                    <a:pt x="80" y="16"/>
                    <a:pt x="78" y="12"/>
                    <a:pt x="76" y="9"/>
                  </a:cubicBezTo>
                  <a:cubicBezTo>
                    <a:pt x="75" y="6"/>
                    <a:pt x="74" y="4"/>
                    <a:pt x="74" y="4"/>
                  </a:cubicBezTo>
                  <a:cubicBezTo>
                    <a:pt x="73" y="3"/>
                    <a:pt x="73" y="2"/>
                    <a:pt x="72" y="1"/>
                  </a:cubicBezTo>
                  <a:cubicBezTo>
                    <a:pt x="71" y="1"/>
                    <a:pt x="70" y="0"/>
                    <a:pt x="70" y="0"/>
                  </a:cubicBezTo>
                  <a:cubicBezTo>
                    <a:pt x="69" y="0"/>
                    <a:pt x="68" y="0"/>
                    <a:pt x="68" y="0"/>
                  </a:cubicBezTo>
                  <a:cubicBezTo>
                    <a:pt x="68" y="0"/>
                    <a:pt x="67" y="0"/>
                    <a:pt x="66" y="0"/>
                  </a:cubicBezTo>
                  <a:cubicBezTo>
                    <a:pt x="66" y="0"/>
                    <a:pt x="65" y="0"/>
                    <a:pt x="63" y="0"/>
                  </a:cubicBezTo>
                  <a:cubicBezTo>
                    <a:pt x="62" y="0"/>
                    <a:pt x="61" y="1"/>
                    <a:pt x="59" y="1"/>
                  </a:cubicBezTo>
                  <a:cubicBezTo>
                    <a:pt x="58" y="1"/>
                    <a:pt x="58" y="1"/>
                    <a:pt x="57" y="1"/>
                  </a:cubicBezTo>
                  <a:cubicBezTo>
                    <a:pt x="56" y="1"/>
                    <a:pt x="55" y="1"/>
                    <a:pt x="54" y="2"/>
                  </a:cubicBezTo>
                  <a:cubicBezTo>
                    <a:pt x="51" y="2"/>
                    <a:pt x="48" y="3"/>
                    <a:pt x="46" y="4"/>
                  </a:cubicBezTo>
                  <a:cubicBezTo>
                    <a:pt x="45" y="4"/>
                    <a:pt x="44" y="5"/>
                    <a:pt x="43" y="5"/>
                  </a:cubicBezTo>
                  <a:cubicBezTo>
                    <a:pt x="43" y="5"/>
                    <a:pt x="42" y="5"/>
                    <a:pt x="42" y="5"/>
                  </a:cubicBezTo>
                  <a:cubicBezTo>
                    <a:pt x="41" y="6"/>
                    <a:pt x="40" y="7"/>
                    <a:pt x="40" y="8"/>
                  </a:cubicBezTo>
                  <a:cubicBezTo>
                    <a:pt x="39" y="9"/>
                    <a:pt x="39" y="10"/>
                    <a:pt x="39" y="11"/>
                  </a:cubicBezTo>
                  <a:cubicBezTo>
                    <a:pt x="39" y="11"/>
                    <a:pt x="40" y="13"/>
                    <a:pt x="41" y="16"/>
                  </a:cubicBezTo>
                  <a:cubicBezTo>
                    <a:pt x="42" y="19"/>
                    <a:pt x="44" y="23"/>
                    <a:pt x="45" y="28"/>
                  </a:cubicBezTo>
                  <a:cubicBezTo>
                    <a:pt x="39" y="31"/>
                    <a:pt x="34" y="36"/>
                    <a:pt x="29" y="42"/>
                  </a:cubicBezTo>
                  <a:cubicBezTo>
                    <a:pt x="25" y="40"/>
                    <a:pt x="21" y="39"/>
                    <a:pt x="18" y="37"/>
                  </a:cubicBezTo>
                  <a:cubicBezTo>
                    <a:pt x="15" y="36"/>
                    <a:pt x="13" y="35"/>
                    <a:pt x="13" y="35"/>
                  </a:cubicBezTo>
                  <a:cubicBezTo>
                    <a:pt x="12" y="34"/>
                    <a:pt x="11" y="34"/>
                    <a:pt x="10" y="35"/>
                  </a:cubicBezTo>
                  <a:cubicBezTo>
                    <a:pt x="10" y="35"/>
                    <a:pt x="9" y="35"/>
                    <a:pt x="9" y="36"/>
                  </a:cubicBezTo>
                  <a:cubicBezTo>
                    <a:pt x="8" y="36"/>
                    <a:pt x="8" y="37"/>
                    <a:pt x="8" y="37"/>
                  </a:cubicBezTo>
                  <a:cubicBezTo>
                    <a:pt x="8" y="37"/>
                    <a:pt x="7" y="38"/>
                    <a:pt x="7" y="38"/>
                  </a:cubicBezTo>
                  <a:cubicBezTo>
                    <a:pt x="7" y="39"/>
                    <a:pt x="6" y="40"/>
                    <a:pt x="6" y="41"/>
                  </a:cubicBezTo>
                  <a:cubicBezTo>
                    <a:pt x="6" y="41"/>
                    <a:pt x="5" y="42"/>
                    <a:pt x="5" y="43"/>
                  </a:cubicBezTo>
                  <a:cubicBezTo>
                    <a:pt x="5" y="43"/>
                    <a:pt x="5" y="44"/>
                    <a:pt x="4" y="45"/>
                  </a:cubicBezTo>
                  <a:cubicBezTo>
                    <a:pt x="4" y="45"/>
                    <a:pt x="4" y="46"/>
                    <a:pt x="4" y="47"/>
                  </a:cubicBezTo>
                  <a:cubicBezTo>
                    <a:pt x="3" y="48"/>
                    <a:pt x="3" y="48"/>
                    <a:pt x="3" y="49"/>
                  </a:cubicBezTo>
                  <a:cubicBezTo>
                    <a:pt x="2" y="51"/>
                    <a:pt x="2" y="52"/>
                    <a:pt x="2" y="54"/>
                  </a:cubicBezTo>
                  <a:cubicBezTo>
                    <a:pt x="1" y="55"/>
                    <a:pt x="1" y="57"/>
                    <a:pt x="1" y="58"/>
                  </a:cubicBezTo>
                  <a:cubicBezTo>
                    <a:pt x="1" y="59"/>
                    <a:pt x="1" y="60"/>
                    <a:pt x="0" y="61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5"/>
                    <a:pt x="1" y="68"/>
                    <a:pt x="3" y="69"/>
                  </a:cubicBezTo>
                  <a:cubicBezTo>
                    <a:pt x="3" y="69"/>
                    <a:pt x="5" y="70"/>
                    <a:pt x="8" y="72"/>
                  </a:cubicBezTo>
                  <a:cubicBezTo>
                    <a:pt x="10" y="73"/>
                    <a:pt x="12" y="74"/>
                    <a:pt x="14" y="75"/>
                  </a:cubicBezTo>
                  <a:cubicBezTo>
                    <a:pt x="15" y="76"/>
                    <a:pt x="17" y="77"/>
                    <a:pt x="19" y="78"/>
                  </a:cubicBezTo>
                  <a:cubicBezTo>
                    <a:pt x="19" y="86"/>
                    <a:pt x="21" y="94"/>
                    <a:pt x="24" y="103"/>
                  </a:cubicBezTo>
                  <a:cubicBezTo>
                    <a:pt x="22" y="104"/>
                    <a:pt x="21" y="104"/>
                    <a:pt x="19" y="105"/>
                  </a:cubicBezTo>
                  <a:cubicBezTo>
                    <a:pt x="17" y="106"/>
                    <a:pt x="16" y="107"/>
                    <a:pt x="15" y="108"/>
                  </a:cubicBezTo>
                  <a:cubicBezTo>
                    <a:pt x="12" y="109"/>
                    <a:pt x="11" y="110"/>
                    <a:pt x="11" y="110"/>
                  </a:cubicBezTo>
                  <a:cubicBezTo>
                    <a:pt x="10" y="111"/>
                    <a:pt x="9" y="111"/>
                    <a:pt x="9" y="113"/>
                  </a:cubicBezTo>
                  <a:cubicBezTo>
                    <a:pt x="9" y="114"/>
                    <a:pt x="9" y="115"/>
                    <a:pt x="10" y="117"/>
                  </a:cubicBezTo>
                  <a:cubicBezTo>
                    <a:pt x="10" y="117"/>
                    <a:pt x="11" y="118"/>
                    <a:pt x="12" y="121"/>
                  </a:cubicBezTo>
                  <a:cubicBezTo>
                    <a:pt x="13" y="122"/>
                    <a:pt x="14" y="124"/>
                    <a:pt x="14" y="125"/>
                  </a:cubicBezTo>
                  <a:cubicBezTo>
                    <a:pt x="15" y="127"/>
                    <a:pt x="16" y="128"/>
                    <a:pt x="17" y="130"/>
                  </a:cubicBezTo>
                  <a:cubicBezTo>
                    <a:pt x="18" y="132"/>
                    <a:pt x="19" y="133"/>
                    <a:pt x="20" y="135"/>
                  </a:cubicBezTo>
                  <a:cubicBezTo>
                    <a:pt x="21" y="136"/>
                    <a:pt x="22" y="138"/>
                    <a:pt x="23" y="139"/>
                  </a:cubicBezTo>
                  <a:cubicBezTo>
                    <a:pt x="25" y="141"/>
                    <a:pt x="26" y="143"/>
                    <a:pt x="26" y="143"/>
                  </a:cubicBezTo>
                  <a:cubicBezTo>
                    <a:pt x="27" y="144"/>
                    <a:pt x="29" y="145"/>
                    <a:pt x="30" y="145"/>
                  </a:cubicBezTo>
                  <a:cubicBezTo>
                    <a:pt x="31" y="146"/>
                    <a:pt x="32" y="146"/>
                    <a:pt x="33" y="145"/>
                  </a:cubicBezTo>
                  <a:cubicBezTo>
                    <a:pt x="33" y="145"/>
                    <a:pt x="35" y="145"/>
                    <a:pt x="37" y="144"/>
                  </a:cubicBezTo>
                  <a:cubicBezTo>
                    <a:pt x="39" y="143"/>
                    <a:pt x="40" y="142"/>
                    <a:pt x="42" y="142"/>
                  </a:cubicBezTo>
                  <a:cubicBezTo>
                    <a:pt x="44" y="141"/>
                    <a:pt x="45" y="140"/>
                    <a:pt x="47" y="139"/>
                  </a:cubicBezTo>
                  <a:cubicBezTo>
                    <a:pt x="53" y="146"/>
                    <a:pt x="61" y="152"/>
                    <a:pt x="68" y="156"/>
                  </a:cubicBezTo>
                  <a:cubicBezTo>
                    <a:pt x="68" y="158"/>
                    <a:pt x="68" y="160"/>
                    <a:pt x="68" y="162"/>
                  </a:cubicBezTo>
                  <a:cubicBezTo>
                    <a:pt x="68" y="164"/>
                    <a:pt x="68" y="166"/>
                    <a:pt x="68" y="167"/>
                  </a:cubicBezTo>
                  <a:cubicBezTo>
                    <a:pt x="68" y="170"/>
                    <a:pt x="68" y="173"/>
                    <a:pt x="68" y="173"/>
                  </a:cubicBezTo>
                  <a:cubicBezTo>
                    <a:pt x="68" y="175"/>
                    <a:pt x="70" y="177"/>
                    <a:pt x="73" y="178"/>
                  </a:cubicBezTo>
                  <a:cubicBezTo>
                    <a:pt x="73" y="178"/>
                    <a:pt x="74" y="178"/>
                    <a:pt x="74" y="179"/>
                  </a:cubicBezTo>
                  <a:cubicBezTo>
                    <a:pt x="75" y="179"/>
                    <a:pt x="76" y="180"/>
                    <a:pt x="77" y="180"/>
                  </a:cubicBezTo>
                  <a:cubicBezTo>
                    <a:pt x="79" y="180"/>
                    <a:pt x="80" y="181"/>
                    <a:pt x="82" y="182"/>
                  </a:cubicBezTo>
                  <a:cubicBezTo>
                    <a:pt x="83" y="182"/>
                    <a:pt x="85" y="183"/>
                    <a:pt x="87" y="183"/>
                  </a:cubicBezTo>
                  <a:cubicBezTo>
                    <a:pt x="88" y="183"/>
                    <a:pt x="89" y="184"/>
                    <a:pt x="89" y="184"/>
                  </a:cubicBezTo>
                  <a:cubicBezTo>
                    <a:pt x="90" y="184"/>
                    <a:pt x="91" y="184"/>
                    <a:pt x="92" y="184"/>
                  </a:cubicBezTo>
                  <a:cubicBezTo>
                    <a:pt x="93" y="185"/>
                    <a:pt x="94" y="185"/>
                    <a:pt x="94" y="185"/>
                  </a:cubicBezTo>
                  <a:cubicBezTo>
                    <a:pt x="95" y="185"/>
                    <a:pt x="96" y="185"/>
                    <a:pt x="96" y="185"/>
                  </a:cubicBezTo>
                  <a:cubicBezTo>
                    <a:pt x="98" y="185"/>
                    <a:pt x="99" y="186"/>
                    <a:pt x="100" y="186"/>
                  </a:cubicBezTo>
                  <a:cubicBezTo>
                    <a:pt x="100" y="186"/>
                    <a:pt x="101" y="186"/>
                    <a:pt x="101" y="186"/>
                  </a:cubicBezTo>
                  <a:cubicBezTo>
                    <a:pt x="101" y="186"/>
                    <a:pt x="102" y="186"/>
                    <a:pt x="103" y="186"/>
                  </a:cubicBezTo>
                  <a:cubicBezTo>
                    <a:pt x="103" y="186"/>
                    <a:pt x="104" y="185"/>
                    <a:pt x="104" y="185"/>
                  </a:cubicBezTo>
                  <a:cubicBezTo>
                    <a:pt x="105" y="185"/>
                    <a:pt x="106" y="184"/>
                    <a:pt x="106" y="183"/>
                  </a:cubicBezTo>
                  <a:cubicBezTo>
                    <a:pt x="106" y="183"/>
                    <a:pt x="106" y="181"/>
                    <a:pt x="106" y="178"/>
                  </a:cubicBezTo>
                  <a:cubicBezTo>
                    <a:pt x="107" y="174"/>
                    <a:pt x="107" y="170"/>
                    <a:pt x="107" y="166"/>
                  </a:cubicBezTo>
                  <a:cubicBezTo>
                    <a:pt x="115" y="166"/>
                    <a:pt x="123" y="165"/>
                    <a:pt x="130" y="162"/>
                  </a:cubicBezTo>
                  <a:cubicBezTo>
                    <a:pt x="133" y="165"/>
                    <a:pt x="136" y="169"/>
                    <a:pt x="138" y="171"/>
                  </a:cubicBezTo>
                  <a:cubicBezTo>
                    <a:pt x="141" y="174"/>
                    <a:pt x="143" y="175"/>
                    <a:pt x="143" y="175"/>
                  </a:cubicBezTo>
                  <a:cubicBezTo>
                    <a:pt x="143" y="176"/>
                    <a:pt x="144" y="177"/>
                    <a:pt x="146" y="177"/>
                  </a:cubicBezTo>
                  <a:cubicBezTo>
                    <a:pt x="147" y="177"/>
                    <a:pt x="148" y="177"/>
                    <a:pt x="149" y="176"/>
                  </a:cubicBezTo>
                  <a:cubicBezTo>
                    <a:pt x="149" y="176"/>
                    <a:pt x="150" y="176"/>
                    <a:pt x="150" y="175"/>
                  </a:cubicBezTo>
                  <a:cubicBezTo>
                    <a:pt x="151" y="175"/>
                    <a:pt x="152" y="175"/>
                    <a:pt x="152" y="174"/>
                  </a:cubicBezTo>
                  <a:cubicBezTo>
                    <a:pt x="154" y="173"/>
                    <a:pt x="157" y="171"/>
                    <a:pt x="159" y="169"/>
                  </a:cubicBezTo>
                  <a:cubicBezTo>
                    <a:pt x="160" y="168"/>
                    <a:pt x="160" y="167"/>
                    <a:pt x="161" y="167"/>
                  </a:cubicBezTo>
                  <a:cubicBezTo>
                    <a:pt x="161" y="166"/>
                    <a:pt x="162" y="166"/>
                    <a:pt x="162" y="165"/>
                  </a:cubicBezTo>
                  <a:cubicBezTo>
                    <a:pt x="163" y="164"/>
                    <a:pt x="164" y="163"/>
                    <a:pt x="165" y="162"/>
                  </a:cubicBezTo>
                  <a:cubicBezTo>
                    <a:pt x="166" y="161"/>
                    <a:pt x="166" y="161"/>
                    <a:pt x="167" y="160"/>
                  </a:cubicBezTo>
                  <a:cubicBezTo>
                    <a:pt x="167" y="160"/>
                    <a:pt x="167" y="159"/>
                    <a:pt x="167" y="159"/>
                  </a:cubicBezTo>
                  <a:cubicBezTo>
                    <a:pt x="168" y="159"/>
                    <a:pt x="168" y="158"/>
                    <a:pt x="168" y="158"/>
                  </a:cubicBezTo>
                  <a:cubicBezTo>
                    <a:pt x="168" y="157"/>
                    <a:pt x="169" y="156"/>
                    <a:pt x="168" y="156"/>
                  </a:cubicBezTo>
                  <a:cubicBezTo>
                    <a:pt x="168" y="154"/>
                    <a:pt x="168" y="153"/>
                    <a:pt x="167" y="153"/>
                  </a:cubicBezTo>
                  <a:cubicBezTo>
                    <a:pt x="167" y="153"/>
                    <a:pt x="166" y="151"/>
                    <a:pt x="163" y="148"/>
                  </a:cubicBezTo>
                  <a:cubicBezTo>
                    <a:pt x="161" y="145"/>
                    <a:pt x="158" y="142"/>
                    <a:pt x="155" y="138"/>
                  </a:cubicBezTo>
                  <a:cubicBezTo>
                    <a:pt x="159" y="132"/>
                    <a:pt x="161" y="124"/>
                    <a:pt x="161" y="116"/>
                  </a:cubicBezTo>
                  <a:cubicBezTo>
                    <a:pt x="165" y="116"/>
                    <a:pt x="170" y="116"/>
                    <a:pt x="173" y="116"/>
                  </a:cubicBezTo>
                  <a:cubicBezTo>
                    <a:pt x="176" y="116"/>
                    <a:pt x="178" y="116"/>
                    <a:pt x="178" y="116"/>
                  </a:cubicBezTo>
                  <a:cubicBezTo>
                    <a:pt x="179" y="116"/>
                    <a:pt x="180" y="116"/>
                    <a:pt x="180" y="115"/>
                  </a:cubicBezTo>
                  <a:cubicBezTo>
                    <a:pt x="181" y="114"/>
                    <a:pt x="181" y="113"/>
                    <a:pt x="181" y="111"/>
                  </a:cubicBezTo>
                  <a:cubicBezTo>
                    <a:pt x="181" y="111"/>
                    <a:pt x="181" y="111"/>
                    <a:pt x="181" y="111"/>
                  </a:cubicBezTo>
                  <a:cubicBezTo>
                    <a:pt x="181" y="111"/>
                    <a:pt x="181" y="111"/>
                    <a:pt x="181" y="110"/>
                  </a:cubicBezTo>
                  <a:cubicBezTo>
                    <a:pt x="181" y="109"/>
                    <a:pt x="181" y="108"/>
                    <a:pt x="181" y="107"/>
                  </a:cubicBezTo>
                  <a:cubicBezTo>
                    <a:pt x="181" y="106"/>
                    <a:pt x="181" y="104"/>
                    <a:pt x="181" y="102"/>
                  </a:cubicBezTo>
                  <a:cubicBezTo>
                    <a:pt x="180" y="101"/>
                    <a:pt x="180" y="99"/>
                    <a:pt x="180" y="97"/>
                  </a:cubicBezTo>
                  <a:cubicBezTo>
                    <a:pt x="179" y="95"/>
                    <a:pt x="179" y="94"/>
                    <a:pt x="179" y="92"/>
                  </a:cubicBezTo>
                  <a:cubicBezTo>
                    <a:pt x="178" y="90"/>
                    <a:pt x="178" y="89"/>
                    <a:pt x="178" y="87"/>
                  </a:cubicBezTo>
                  <a:cubicBezTo>
                    <a:pt x="177" y="86"/>
                    <a:pt x="177" y="85"/>
                    <a:pt x="177" y="84"/>
                  </a:cubicBezTo>
                  <a:cubicBezTo>
                    <a:pt x="176" y="83"/>
                    <a:pt x="176" y="83"/>
                    <a:pt x="176" y="83"/>
                  </a:cubicBezTo>
                  <a:cubicBezTo>
                    <a:pt x="176" y="81"/>
                    <a:pt x="175" y="80"/>
                    <a:pt x="174" y="79"/>
                  </a:cubicBezTo>
                  <a:cubicBezTo>
                    <a:pt x="173" y="78"/>
                    <a:pt x="172" y="78"/>
                    <a:pt x="171" y="78"/>
                  </a:cubicBezTo>
                  <a:close/>
                  <a:moveTo>
                    <a:pt x="118" y="140"/>
                  </a:moveTo>
                  <a:cubicBezTo>
                    <a:pt x="96" y="151"/>
                    <a:pt x="65" y="140"/>
                    <a:pt x="49" y="114"/>
                  </a:cubicBezTo>
                  <a:cubicBezTo>
                    <a:pt x="33" y="88"/>
                    <a:pt x="38" y="59"/>
                    <a:pt x="60" y="47"/>
                  </a:cubicBezTo>
                  <a:cubicBezTo>
                    <a:pt x="82" y="36"/>
                    <a:pt x="113" y="48"/>
                    <a:pt x="129" y="74"/>
                  </a:cubicBezTo>
                  <a:cubicBezTo>
                    <a:pt x="145" y="100"/>
                    <a:pt x="140" y="129"/>
                    <a:pt x="118" y="140"/>
                  </a:cubicBez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3" name="Freeform 427">
              <a:extLst>
                <a:ext uri="{FF2B5EF4-FFF2-40B4-BE49-F238E27FC236}">
                  <a16:creationId xmlns:a16="http://schemas.microsoft.com/office/drawing/2014/main" id="{57E60421-9DEA-4ACB-934A-F1952AB94A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94788" y="6031926"/>
              <a:ext cx="87313" cy="542925"/>
            </a:xfrm>
            <a:custGeom>
              <a:avLst/>
              <a:gdLst>
                <a:gd name="T0" fmla="*/ 2 w 55"/>
                <a:gd name="T1" fmla="*/ 30 h 342"/>
                <a:gd name="T2" fmla="*/ 55 w 55"/>
                <a:gd name="T3" fmla="*/ 0 h 342"/>
                <a:gd name="T4" fmla="*/ 54 w 55"/>
                <a:gd name="T5" fmla="*/ 311 h 342"/>
                <a:gd name="T6" fmla="*/ 0 w 55"/>
                <a:gd name="T7" fmla="*/ 342 h 342"/>
                <a:gd name="T8" fmla="*/ 2 w 55"/>
                <a:gd name="T9" fmla="*/ 3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342">
                  <a:moveTo>
                    <a:pt x="2" y="30"/>
                  </a:moveTo>
                  <a:lnTo>
                    <a:pt x="55" y="0"/>
                  </a:lnTo>
                  <a:lnTo>
                    <a:pt x="54" y="311"/>
                  </a:lnTo>
                  <a:lnTo>
                    <a:pt x="0" y="342"/>
                  </a:lnTo>
                  <a:lnTo>
                    <a:pt x="2" y="30"/>
                  </a:lnTo>
                  <a:close/>
                </a:path>
              </a:pathLst>
            </a:custGeom>
            <a:solidFill>
              <a:srgbClr val="F9A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4" name="Freeform 428">
              <a:extLst>
                <a:ext uri="{FF2B5EF4-FFF2-40B4-BE49-F238E27FC236}">
                  <a16:creationId xmlns:a16="http://schemas.microsoft.com/office/drawing/2014/main" id="{4151A1D6-79C8-4638-8D26-C50A9129DF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66163" y="5781101"/>
              <a:ext cx="515938" cy="298450"/>
            </a:xfrm>
            <a:custGeom>
              <a:avLst/>
              <a:gdLst>
                <a:gd name="T0" fmla="*/ 0 w 325"/>
                <a:gd name="T1" fmla="*/ 31 h 188"/>
                <a:gd name="T2" fmla="*/ 53 w 325"/>
                <a:gd name="T3" fmla="*/ 0 h 188"/>
                <a:gd name="T4" fmla="*/ 325 w 325"/>
                <a:gd name="T5" fmla="*/ 158 h 188"/>
                <a:gd name="T6" fmla="*/ 272 w 325"/>
                <a:gd name="T7" fmla="*/ 188 h 188"/>
                <a:gd name="T8" fmla="*/ 0 w 325"/>
                <a:gd name="T9" fmla="*/ 31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188">
                  <a:moveTo>
                    <a:pt x="0" y="31"/>
                  </a:moveTo>
                  <a:lnTo>
                    <a:pt x="53" y="0"/>
                  </a:lnTo>
                  <a:lnTo>
                    <a:pt x="325" y="158"/>
                  </a:lnTo>
                  <a:lnTo>
                    <a:pt x="272" y="188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EF99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5" name="Freeform 429">
              <a:extLst>
                <a:ext uri="{FF2B5EF4-FFF2-40B4-BE49-F238E27FC236}">
                  <a16:creationId xmlns:a16="http://schemas.microsoft.com/office/drawing/2014/main" id="{FDC825DC-973B-4854-857B-05B2B57A5D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64576" y="5830314"/>
              <a:ext cx="433388" cy="744538"/>
            </a:xfrm>
            <a:custGeom>
              <a:avLst/>
              <a:gdLst>
                <a:gd name="T0" fmla="*/ 273 w 273"/>
                <a:gd name="T1" fmla="*/ 157 h 469"/>
                <a:gd name="T2" fmla="*/ 271 w 273"/>
                <a:gd name="T3" fmla="*/ 469 h 469"/>
                <a:gd name="T4" fmla="*/ 0 w 273"/>
                <a:gd name="T5" fmla="*/ 311 h 469"/>
                <a:gd name="T6" fmla="*/ 1 w 273"/>
                <a:gd name="T7" fmla="*/ 0 h 469"/>
                <a:gd name="T8" fmla="*/ 273 w 273"/>
                <a:gd name="T9" fmla="*/ 157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469">
                  <a:moveTo>
                    <a:pt x="273" y="157"/>
                  </a:moveTo>
                  <a:lnTo>
                    <a:pt x="271" y="469"/>
                  </a:lnTo>
                  <a:lnTo>
                    <a:pt x="0" y="311"/>
                  </a:lnTo>
                  <a:lnTo>
                    <a:pt x="1" y="0"/>
                  </a:lnTo>
                  <a:lnTo>
                    <a:pt x="273" y="157"/>
                  </a:lnTo>
                  <a:close/>
                </a:path>
              </a:pathLst>
            </a:custGeom>
            <a:solidFill>
              <a:srgbClr val="FFC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6" name="Freeform 430">
              <a:extLst>
                <a:ext uri="{FF2B5EF4-FFF2-40B4-BE49-F238E27FC236}">
                  <a16:creationId xmlns:a16="http://schemas.microsoft.com/office/drawing/2014/main" id="{4A7F98AB-81FD-4B29-BB9D-68C5CE7D6A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751888" y="6041451"/>
              <a:ext cx="257175" cy="304800"/>
            </a:xfrm>
            <a:custGeom>
              <a:avLst/>
              <a:gdLst>
                <a:gd name="T0" fmla="*/ 0 w 162"/>
                <a:gd name="T1" fmla="*/ 56 h 193"/>
                <a:gd name="T2" fmla="*/ 9 w 162"/>
                <a:gd name="T3" fmla="*/ 104 h 193"/>
                <a:gd name="T4" fmla="*/ 58 w 162"/>
                <a:gd name="T5" fmla="*/ 193 h 193"/>
                <a:gd name="T6" fmla="*/ 65 w 162"/>
                <a:gd name="T7" fmla="*/ 150 h 193"/>
                <a:gd name="T8" fmla="*/ 81 w 162"/>
                <a:gd name="T9" fmla="*/ 158 h 193"/>
                <a:gd name="T10" fmla="*/ 162 w 162"/>
                <a:gd name="T11" fmla="*/ 119 h 193"/>
                <a:gd name="T12" fmla="*/ 81 w 162"/>
                <a:gd name="T13" fmla="*/ 17 h 193"/>
                <a:gd name="T14" fmla="*/ 0 w 162"/>
                <a:gd name="T15" fmla="*/ 56 h 193"/>
                <a:gd name="T16" fmla="*/ 105 w 162"/>
                <a:gd name="T17" fmla="*/ 103 h 193"/>
                <a:gd name="T18" fmla="*/ 117 w 162"/>
                <a:gd name="T19" fmla="*/ 95 h 193"/>
                <a:gd name="T20" fmla="*/ 129 w 162"/>
                <a:gd name="T21" fmla="*/ 112 h 193"/>
                <a:gd name="T22" fmla="*/ 117 w 162"/>
                <a:gd name="T23" fmla="*/ 119 h 193"/>
                <a:gd name="T24" fmla="*/ 105 w 162"/>
                <a:gd name="T25" fmla="*/ 103 h 193"/>
                <a:gd name="T26" fmla="*/ 69 w 162"/>
                <a:gd name="T27" fmla="*/ 89 h 193"/>
                <a:gd name="T28" fmla="*/ 81 w 162"/>
                <a:gd name="T29" fmla="*/ 81 h 193"/>
                <a:gd name="T30" fmla="*/ 93 w 162"/>
                <a:gd name="T31" fmla="*/ 98 h 193"/>
                <a:gd name="T32" fmla="*/ 81 w 162"/>
                <a:gd name="T33" fmla="*/ 106 h 193"/>
                <a:gd name="T34" fmla="*/ 69 w 162"/>
                <a:gd name="T35" fmla="*/ 89 h 193"/>
                <a:gd name="T36" fmla="*/ 33 w 162"/>
                <a:gd name="T37" fmla="*/ 75 h 193"/>
                <a:gd name="T38" fmla="*/ 45 w 162"/>
                <a:gd name="T39" fmla="*/ 67 h 193"/>
                <a:gd name="T40" fmla="*/ 58 w 162"/>
                <a:gd name="T41" fmla="*/ 84 h 193"/>
                <a:gd name="T42" fmla="*/ 45 w 162"/>
                <a:gd name="T43" fmla="*/ 92 h 193"/>
                <a:gd name="T44" fmla="*/ 33 w 162"/>
                <a:gd name="T45" fmla="*/ 7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2" h="193">
                  <a:moveTo>
                    <a:pt x="0" y="56"/>
                  </a:moveTo>
                  <a:cubicBezTo>
                    <a:pt x="0" y="71"/>
                    <a:pt x="3" y="88"/>
                    <a:pt x="9" y="104"/>
                  </a:cubicBezTo>
                  <a:cubicBezTo>
                    <a:pt x="24" y="146"/>
                    <a:pt x="58" y="193"/>
                    <a:pt x="58" y="193"/>
                  </a:cubicBezTo>
                  <a:cubicBezTo>
                    <a:pt x="58" y="193"/>
                    <a:pt x="36" y="129"/>
                    <a:pt x="65" y="150"/>
                  </a:cubicBezTo>
                  <a:cubicBezTo>
                    <a:pt x="70" y="154"/>
                    <a:pt x="76" y="156"/>
                    <a:pt x="81" y="158"/>
                  </a:cubicBezTo>
                  <a:cubicBezTo>
                    <a:pt x="126" y="175"/>
                    <a:pt x="162" y="157"/>
                    <a:pt x="162" y="119"/>
                  </a:cubicBezTo>
                  <a:cubicBezTo>
                    <a:pt x="162" y="80"/>
                    <a:pt x="126" y="34"/>
                    <a:pt x="81" y="17"/>
                  </a:cubicBezTo>
                  <a:cubicBezTo>
                    <a:pt x="37" y="0"/>
                    <a:pt x="0" y="17"/>
                    <a:pt x="0" y="56"/>
                  </a:cubicBezTo>
                  <a:close/>
                  <a:moveTo>
                    <a:pt x="105" y="103"/>
                  </a:moveTo>
                  <a:cubicBezTo>
                    <a:pt x="105" y="96"/>
                    <a:pt x="110" y="93"/>
                    <a:pt x="117" y="95"/>
                  </a:cubicBezTo>
                  <a:cubicBezTo>
                    <a:pt x="124" y="98"/>
                    <a:pt x="129" y="105"/>
                    <a:pt x="129" y="112"/>
                  </a:cubicBezTo>
                  <a:cubicBezTo>
                    <a:pt x="129" y="119"/>
                    <a:pt x="124" y="122"/>
                    <a:pt x="117" y="119"/>
                  </a:cubicBezTo>
                  <a:cubicBezTo>
                    <a:pt x="110" y="117"/>
                    <a:pt x="105" y="109"/>
                    <a:pt x="105" y="103"/>
                  </a:cubicBezTo>
                  <a:close/>
                  <a:moveTo>
                    <a:pt x="69" y="89"/>
                  </a:moveTo>
                  <a:cubicBezTo>
                    <a:pt x="69" y="82"/>
                    <a:pt x="74" y="79"/>
                    <a:pt x="81" y="81"/>
                  </a:cubicBezTo>
                  <a:cubicBezTo>
                    <a:pt x="88" y="84"/>
                    <a:pt x="93" y="91"/>
                    <a:pt x="93" y="98"/>
                  </a:cubicBezTo>
                  <a:cubicBezTo>
                    <a:pt x="93" y="105"/>
                    <a:pt x="88" y="108"/>
                    <a:pt x="81" y="106"/>
                  </a:cubicBezTo>
                  <a:cubicBezTo>
                    <a:pt x="74" y="103"/>
                    <a:pt x="69" y="95"/>
                    <a:pt x="69" y="89"/>
                  </a:cubicBezTo>
                  <a:close/>
                  <a:moveTo>
                    <a:pt x="33" y="75"/>
                  </a:moveTo>
                  <a:cubicBezTo>
                    <a:pt x="33" y="68"/>
                    <a:pt x="39" y="65"/>
                    <a:pt x="45" y="67"/>
                  </a:cubicBezTo>
                  <a:cubicBezTo>
                    <a:pt x="52" y="70"/>
                    <a:pt x="58" y="78"/>
                    <a:pt x="58" y="84"/>
                  </a:cubicBezTo>
                  <a:cubicBezTo>
                    <a:pt x="58" y="91"/>
                    <a:pt x="52" y="94"/>
                    <a:pt x="45" y="92"/>
                  </a:cubicBezTo>
                  <a:cubicBezTo>
                    <a:pt x="39" y="89"/>
                    <a:pt x="33" y="82"/>
                    <a:pt x="33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982664" y="3092897"/>
            <a:ext cx="5514974" cy="418854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982664" y="1551777"/>
            <a:ext cx="5514974" cy="1526860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23" name="文本占位符 13">
            <a:extLst>
              <a:ext uri="{FF2B5EF4-FFF2-40B4-BE49-F238E27FC236}">
                <a16:creationId xmlns:a16="http://schemas.microsoft.com/office/drawing/2014/main" id="{3E98BA3E-FB63-412E-B8D5-1A11DA7C3CF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82970" y="4602566"/>
            <a:ext cx="2295740" cy="296271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224" name="文本占位符 13">
            <a:extLst>
              <a:ext uri="{FF2B5EF4-FFF2-40B4-BE49-F238E27FC236}">
                <a16:creationId xmlns:a16="http://schemas.microsoft.com/office/drawing/2014/main" id="{0D8B86DF-B63C-46B6-B28D-83C792C5E2F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82970" y="5019623"/>
            <a:ext cx="55149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72881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68723" y="3201098"/>
            <a:ext cx="483845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69839" y="4109798"/>
            <a:ext cx="483845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433" name="组合 432">
            <a:extLst>
              <a:ext uri="{FF2B5EF4-FFF2-40B4-BE49-F238E27FC236}">
                <a16:creationId xmlns:a16="http://schemas.microsoft.com/office/drawing/2014/main" id="{B66F0335-980C-401D-9AC1-06E4C3722F73}"/>
              </a:ext>
            </a:extLst>
          </p:cNvPr>
          <p:cNvGrpSpPr/>
          <p:nvPr userDrawn="1"/>
        </p:nvGrpSpPr>
        <p:grpSpPr>
          <a:xfrm>
            <a:off x="859271" y="1130300"/>
            <a:ext cx="4748581" cy="4851400"/>
            <a:chOff x="5892801" y="882076"/>
            <a:chExt cx="5572125" cy="5692776"/>
          </a:xfrm>
        </p:grpSpPr>
        <p:sp>
          <p:nvSpPr>
            <p:cNvPr id="434" name="Freeform 17">
              <a:extLst>
                <a:ext uri="{FF2B5EF4-FFF2-40B4-BE49-F238E27FC236}">
                  <a16:creationId xmlns:a16="http://schemas.microsoft.com/office/drawing/2014/main" id="{8810B6DC-26B5-4B01-A40F-FD2332D9B0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6938" y="4588889"/>
              <a:ext cx="1422400" cy="877888"/>
            </a:xfrm>
            <a:custGeom>
              <a:avLst/>
              <a:gdLst>
                <a:gd name="T0" fmla="*/ 252 w 896"/>
                <a:gd name="T1" fmla="*/ 0 h 553"/>
                <a:gd name="T2" fmla="*/ 1 w 896"/>
                <a:gd name="T3" fmla="*/ 146 h 553"/>
                <a:gd name="T4" fmla="*/ 0 w 896"/>
                <a:gd name="T5" fmla="*/ 219 h 553"/>
                <a:gd name="T6" fmla="*/ 581 w 896"/>
                <a:gd name="T7" fmla="*/ 553 h 553"/>
                <a:gd name="T8" fmla="*/ 896 w 896"/>
                <a:gd name="T9" fmla="*/ 484 h 553"/>
                <a:gd name="T10" fmla="*/ 896 w 896"/>
                <a:gd name="T11" fmla="*/ 371 h 553"/>
                <a:gd name="T12" fmla="*/ 252 w 896"/>
                <a:gd name="T13" fmla="*/ 0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6" h="553">
                  <a:moveTo>
                    <a:pt x="252" y="0"/>
                  </a:moveTo>
                  <a:lnTo>
                    <a:pt x="1" y="146"/>
                  </a:lnTo>
                  <a:lnTo>
                    <a:pt x="0" y="219"/>
                  </a:lnTo>
                  <a:lnTo>
                    <a:pt x="581" y="553"/>
                  </a:lnTo>
                  <a:lnTo>
                    <a:pt x="896" y="484"/>
                  </a:lnTo>
                  <a:lnTo>
                    <a:pt x="896" y="371"/>
                  </a:lnTo>
                  <a:lnTo>
                    <a:pt x="25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5" name="Freeform 19">
              <a:extLst>
                <a:ext uri="{FF2B5EF4-FFF2-40B4-BE49-F238E27FC236}">
                  <a16:creationId xmlns:a16="http://schemas.microsoft.com/office/drawing/2014/main" id="{9043C2C8-3320-46D1-A5EB-5C24F2EF2F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99338" y="5177851"/>
              <a:ext cx="223838" cy="179388"/>
            </a:xfrm>
            <a:custGeom>
              <a:avLst/>
              <a:gdLst>
                <a:gd name="T0" fmla="*/ 0 w 141"/>
                <a:gd name="T1" fmla="*/ 0 h 113"/>
                <a:gd name="T2" fmla="*/ 0 w 141"/>
                <a:gd name="T3" fmla="*/ 113 h 113"/>
                <a:gd name="T4" fmla="*/ 141 w 141"/>
                <a:gd name="T5" fmla="*/ 81 h 113"/>
                <a:gd name="T6" fmla="*/ 0 w 141"/>
                <a:gd name="T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1" h="113">
                  <a:moveTo>
                    <a:pt x="0" y="0"/>
                  </a:moveTo>
                  <a:lnTo>
                    <a:pt x="0" y="113"/>
                  </a:lnTo>
                  <a:lnTo>
                    <a:pt x="141" y="8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6" name="Freeform 21">
              <a:extLst>
                <a:ext uri="{FF2B5EF4-FFF2-40B4-BE49-F238E27FC236}">
                  <a16:creationId xmlns:a16="http://schemas.microsoft.com/office/drawing/2014/main" id="{25F55F10-4CF4-44BD-B3F1-D02B3C467D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9276" y="5306439"/>
              <a:ext cx="1041400" cy="531813"/>
            </a:xfrm>
            <a:custGeom>
              <a:avLst/>
              <a:gdLst>
                <a:gd name="T0" fmla="*/ 456 w 656"/>
                <a:gd name="T1" fmla="*/ 0 h 335"/>
                <a:gd name="T2" fmla="*/ 315 w 656"/>
                <a:gd name="T3" fmla="*/ 32 h 335"/>
                <a:gd name="T4" fmla="*/ 0 w 656"/>
                <a:gd name="T5" fmla="*/ 101 h 335"/>
                <a:gd name="T6" fmla="*/ 405 w 656"/>
                <a:gd name="T7" fmla="*/ 335 h 335"/>
                <a:gd name="T8" fmla="*/ 656 w 656"/>
                <a:gd name="T9" fmla="*/ 189 h 335"/>
                <a:gd name="T10" fmla="*/ 656 w 656"/>
                <a:gd name="T11" fmla="*/ 116 h 335"/>
                <a:gd name="T12" fmla="*/ 456 w 656"/>
                <a:gd name="T13" fmla="*/ 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6" h="335">
                  <a:moveTo>
                    <a:pt x="456" y="0"/>
                  </a:moveTo>
                  <a:lnTo>
                    <a:pt x="315" y="32"/>
                  </a:lnTo>
                  <a:lnTo>
                    <a:pt x="0" y="101"/>
                  </a:lnTo>
                  <a:lnTo>
                    <a:pt x="405" y="335"/>
                  </a:lnTo>
                  <a:lnTo>
                    <a:pt x="656" y="189"/>
                  </a:lnTo>
                  <a:lnTo>
                    <a:pt x="656" y="116"/>
                  </a:lnTo>
                  <a:lnTo>
                    <a:pt x="4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7" name="Freeform 26">
              <a:extLst>
                <a:ext uri="{FF2B5EF4-FFF2-40B4-BE49-F238E27FC236}">
                  <a16:creationId xmlns:a16="http://schemas.microsoft.com/office/drawing/2014/main" id="{74BA3377-F8ED-4FC8-A100-76CDF8B23C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78763" y="4525389"/>
              <a:ext cx="3556000" cy="2005013"/>
            </a:xfrm>
            <a:custGeom>
              <a:avLst/>
              <a:gdLst>
                <a:gd name="T0" fmla="*/ 765 w 2240"/>
                <a:gd name="T1" fmla="*/ 678 h 1263"/>
                <a:gd name="T2" fmla="*/ 897 w 2240"/>
                <a:gd name="T3" fmla="*/ 601 h 1263"/>
                <a:gd name="T4" fmla="*/ 765 w 2240"/>
                <a:gd name="T5" fmla="*/ 678 h 1263"/>
                <a:gd name="T6" fmla="*/ 1118 w 2240"/>
                <a:gd name="T7" fmla="*/ 473 h 1263"/>
                <a:gd name="T8" fmla="*/ 1671 w 2240"/>
                <a:gd name="T9" fmla="*/ 152 h 1263"/>
                <a:gd name="T10" fmla="*/ 1118 w 2240"/>
                <a:gd name="T11" fmla="*/ 473 h 1263"/>
                <a:gd name="T12" fmla="*/ 1713 w 2240"/>
                <a:gd name="T13" fmla="*/ 80 h 1263"/>
                <a:gd name="T14" fmla="*/ 1673 w 2240"/>
                <a:gd name="T15" fmla="*/ 89 h 1263"/>
                <a:gd name="T16" fmla="*/ 1673 w 2240"/>
                <a:gd name="T17" fmla="*/ 149 h 1263"/>
                <a:gd name="T18" fmla="*/ 1673 w 2240"/>
                <a:gd name="T19" fmla="*/ 89 h 1263"/>
                <a:gd name="T20" fmla="*/ 1660 w 2240"/>
                <a:gd name="T21" fmla="*/ 92 h 1263"/>
                <a:gd name="T22" fmla="*/ 1659 w 2240"/>
                <a:gd name="T23" fmla="*/ 158 h 1263"/>
                <a:gd name="T24" fmla="*/ 1619 w 2240"/>
                <a:gd name="T25" fmla="*/ 181 h 1263"/>
                <a:gd name="T26" fmla="*/ 1619 w 2240"/>
                <a:gd name="T27" fmla="*/ 181 h 1263"/>
                <a:gd name="T28" fmla="*/ 1519 w 2240"/>
                <a:gd name="T29" fmla="*/ 123 h 1263"/>
                <a:gd name="T30" fmla="*/ 0 w 2240"/>
                <a:gd name="T31" fmla="*/ 457 h 1263"/>
                <a:gd name="T32" fmla="*/ 439 w 2240"/>
                <a:gd name="T33" fmla="*/ 711 h 1263"/>
                <a:gd name="T34" fmla="*/ 439 w 2240"/>
                <a:gd name="T35" fmla="*/ 790 h 1263"/>
                <a:gd name="T36" fmla="*/ 550 w 2240"/>
                <a:gd name="T37" fmla="*/ 854 h 1263"/>
                <a:gd name="T38" fmla="*/ 549 w 2240"/>
                <a:gd name="T39" fmla="*/ 1106 h 1263"/>
                <a:gd name="T40" fmla="*/ 820 w 2240"/>
                <a:gd name="T41" fmla="*/ 1263 h 1263"/>
                <a:gd name="T42" fmla="*/ 873 w 2240"/>
                <a:gd name="T43" fmla="*/ 1233 h 1263"/>
                <a:gd name="T44" fmla="*/ 875 w 2240"/>
                <a:gd name="T45" fmla="*/ 921 h 1263"/>
                <a:gd name="T46" fmla="*/ 764 w 2240"/>
                <a:gd name="T47" fmla="*/ 857 h 1263"/>
                <a:gd name="T48" fmla="*/ 765 w 2240"/>
                <a:gd name="T49" fmla="*/ 725 h 1263"/>
                <a:gd name="T50" fmla="*/ 897 w 2240"/>
                <a:gd name="T51" fmla="*/ 648 h 1263"/>
                <a:gd name="T52" fmla="*/ 896 w 2240"/>
                <a:gd name="T53" fmla="*/ 810 h 1263"/>
                <a:gd name="T54" fmla="*/ 1234 w 2240"/>
                <a:gd name="T55" fmla="*/ 1005 h 1263"/>
                <a:gd name="T56" fmla="*/ 1300 w 2240"/>
                <a:gd name="T57" fmla="*/ 967 h 1263"/>
                <a:gd name="T58" fmla="*/ 1301 w 2240"/>
                <a:gd name="T59" fmla="*/ 579 h 1263"/>
                <a:gd name="T60" fmla="*/ 1158 w 2240"/>
                <a:gd name="T61" fmla="*/ 496 h 1263"/>
                <a:gd name="T62" fmla="*/ 1675 w 2240"/>
                <a:gd name="T63" fmla="*/ 197 h 1263"/>
                <a:gd name="T64" fmla="*/ 1675 w 2240"/>
                <a:gd name="T65" fmla="*/ 153 h 1263"/>
                <a:gd name="T66" fmla="*/ 1713 w 2240"/>
                <a:gd name="T67" fmla="*/ 130 h 1263"/>
                <a:gd name="T68" fmla="*/ 1713 w 2240"/>
                <a:gd name="T69" fmla="*/ 80 h 1263"/>
                <a:gd name="T70" fmla="*/ 2079 w 2240"/>
                <a:gd name="T71" fmla="*/ 0 h 1263"/>
                <a:gd name="T72" fmla="*/ 2020 w 2240"/>
                <a:gd name="T73" fmla="*/ 13 h 1263"/>
                <a:gd name="T74" fmla="*/ 2019 w 2240"/>
                <a:gd name="T75" fmla="*/ 354 h 1263"/>
                <a:gd name="T76" fmla="*/ 2019 w 2240"/>
                <a:gd name="T77" fmla="*/ 354 h 1263"/>
                <a:gd name="T78" fmla="*/ 2020 w 2240"/>
                <a:gd name="T79" fmla="*/ 13 h 1263"/>
                <a:gd name="T80" fmla="*/ 1924 w 2240"/>
                <a:gd name="T81" fmla="*/ 34 h 1263"/>
                <a:gd name="T82" fmla="*/ 1923 w 2240"/>
                <a:gd name="T83" fmla="*/ 331 h 1263"/>
                <a:gd name="T84" fmla="*/ 1755 w 2240"/>
                <a:gd name="T85" fmla="*/ 428 h 1263"/>
                <a:gd name="T86" fmla="*/ 1755 w 2240"/>
                <a:gd name="T87" fmla="*/ 544 h 1263"/>
                <a:gd name="T88" fmla="*/ 2044 w 2240"/>
                <a:gd name="T89" fmla="*/ 710 h 1263"/>
                <a:gd name="T90" fmla="*/ 2240 w 2240"/>
                <a:gd name="T91" fmla="*/ 597 h 1263"/>
                <a:gd name="T92" fmla="*/ 2240 w 2240"/>
                <a:gd name="T93" fmla="*/ 480 h 1263"/>
                <a:gd name="T94" fmla="*/ 2078 w 2240"/>
                <a:gd name="T95" fmla="*/ 387 h 1263"/>
                <a:gd name="T96" fmla="*/ 2079 w 2240"/>
                <a:gd name="T97" fmla="*/ 0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40" h="1263">
                  <a:moveTo>
                    <a:pt x="765" y="678"/>
                  </a:moveTo>
                  <a:lnTo>
                    <a:pt x="897" y="601"/>
                  </a:lnTo>
                  <a:lnTo>
                    <a:pt x="765" y="678"/>
                  </a:lnTo>
                  <a:moveTo>
                    <a:pt x="1118" y="473"/>
                  </a:moveTo>
                  <a:lnTo>
                    <a:pt x="1671" y="152"/>
                  </a:lnTo>
                  <a:lnTo>
                    <a:pt x="1118" y="473"/>
                  </a:lnTo>
                  <a:moveTo>
                    <a:pt x="1713" y="80"/>
                  </a:moveTo>
                  <a:lnTo>
                    <a:pt x="1673" y="89"/>
                  </a:lnTo>
                  <a:lnTo>
                    <a:pt x="1673" y="149"/>
                  </a:lnTo>
                  <a:lnTo>
                    <a:pt x="1673" y="89"/>
                  </a:lnTo>
                  <a:lnTo>
                    <a:pt x="1660" y="92"/>
                  </a:lnTo>
                  <a:lnTo>
                    <a:pt x="1659" y="158"/>
                  </a:lnTo>
                  <a:lnTo>
                    <a:pt x="1619" y="181"/>
                  </a:lnTo>
                  <a:lnTo>
                    <a:pt x="1619" y="181"/>
                  </a:lnTo>
                  <a:lnTo>
                    <a:pt x="1519" y="123"/>
                  </a:lnTo>
                  <a:lnTo>
                    <a:pt x="0" y="457"/>
                  </a:lnTo>
                  <a:lnTo>
                    <a:pt x="439" y="711"/>
                  </a:lnTo>
                  <a:lnTo>
                    <a:pt x="439" y="790"/>
                  </a:lnTo>
                  <a:lnTo>
                    <a:pt x="550" y="854"/>
                  </a:lnTo>
                  <a:lnTo>
                    <a:pt x="549" y="1106"/>
                  </a:lnTo>
                  <a:lnTo>
                    <a:pt x="820" y="1263"/>
                  </a:lnTo>
                  <a:lnTo>
                    <a:pt x="873" y="1233"/>
                  </a:lnTo>
                  <a:lnTo>
                    <a:pt x="875" y="921"/>
                  </a:lnTo>
                  <a:lnTo>
                    <a:pt x="764" y="857"/>
                  </a:lnTo>
                  <a:lnTo>
                    <a:pt x="765" y="725"/>
                  </a:lnTo>
                  <a:lnTo>
                    <a:pt x="897" y="648"/>
                  </a:lnTo>
                  <a:lnTo>
                    <a:pt x="896" y="810"/>
                  </a:lnTo>
                  <a:lnTo>
                    <a:pt x="1234" y="1005"/>
                  </a:lnTo>
                  <a:lnTo>
                    <a:pt x="1300" y="967"/>
                  </a:lnTo>
                  <a:lnTo>
                    <a:pt x="1301" y="579"/>
                  </a:lnTo>
                  <a:lnTo>
                    <a:pt x="1158" y="496"/>
                  </a:lnTo>
                  <a:lnTo>
                    <a:pt x="1675" y="197"/>
                  </a:lnTo>
                  <a:lnTo>
                    <a:pt x="1675" y="153"/>
                  </a:lnTo>
                  <a:lnTo>
                    <a:pt x="1713" y="130"/>
                  </a:lnTo>
                  <a:lnTo>
                    <a:pt x="1713" y="80"/>
                  </a:lnTo>
                  <a:moveTo>
                    <a:pt x="2079" y="0"/>
                  </a:moveTo>
                  <a:lnTo>
                    <a:pt x="2020" y="13"/>
                  </a:lnTo>
                  <a:lnTo>
                    <a:pt x="2019" y="354"/>
                  </a:lnTo>
                  <a:lnTo>
                    <a:pt x="2019" y="354"/>
                  </a:lnTo>
                  <a:lnTo>
                    <a:pt x="2020" y="13"/>
                  </a:lnTo>
                  <a:lnTo>
                    <a:pt x="1924" y="34"/>
                  </a:lnTo>
                  <a:lnTo>
                    <a:pt x="1923" y="331"/>
                  </a:lnTo>
                  <a:lnTo>
                    <a:pt x="1755" y="428"/>
                  </a:lnTo>
                  <a:lnTo>
                    <a:pt x="1755" y="544"/>
                  </a:lnTo>
                  <a:lnTo>
                    <a:pt x="2044" y="710"/>
                  </a:lnTo>
                  <a:lnTo>
                    <a:pt x="2240" y="597"/>
                  </a:lnTo>
                  <a:lnTo>
                    <a:pt x="2240" y="480"/>
                  </a:lnTo>
                  <a:lnTo>
                    <a:pt x="2078" y="387"/>
                  </a:lnTo>
                  <a:lnTo>
                    <a:pt x="207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8" name="Freeform 27">
              <a:extLst>
                <a:ext uri="{FF2B5EF4-FFF2-40B4-BE49-F238E27FC236}">
                  <a16:creationId xmlns:a16="http://schemas.microsoft.com/office/drawing/2014/main" id="{8652EED1-87B9-43AE-A6DA-54DD8874589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406063" y="2852164"/>
              <a:ext cx="115888" cy="60325"/>
            </a:xfrm>
            <a:custGeom>
              <a:avLst/>
              <a:gdLst>
                <a:gd name="T0" fmla="*/ 67 w 73"/>
                <a:gd name="T1" fmla="*/ 27 h 38"/>
                <a:gd name="T2" fmla="*/ 67 w 73"/>
                <a:gd name="T3" fmla="*/ 27 h 38"/>
                <a:gd name="T4" fmla="*/ 68 w 73"/>
                <a:gd name="T5" fmla="*/ 31 h 38"/>
                <a:gd name="T6" fmla="*/ 68 w 73"/>
                <a:gd name="T7" fmla="*/ 32 h 38"/>
                <a:gd name="T8" fmla="*/ 68 w 73"/>
                <a:gd name="T9" fmla="*/ 32 h 38"/>
                <a:gd name="T10" fmla="*/ 68 w 73"/>
                <a:gd name="T11" fmla="*/ 34 h 38"/>
                <a:gd name="T12" fmla="*/ 69 w 73"/>
                <a:gd name="T13" fmla="*/ 37 h 38"/>
                <a:gd name="T14" fmla="*/ 69 w 73"/>
                <a:gd name="T15" fmla="*/ 38 h 38"/>
                <a:gd name="T16" fmla="*/ 73 w 73"/>
                <a:gd name="T17" fmla="*/ 36 h 38"/>
                <a:gd name="T18" fmla="*/ 67 w 73"/>
                <a:gd name="T19" fmla="*/ 27 h 38"/>
                <a:gd name="T20" fmla="*/ 0 w 73"/>
                <a:gd name="T21" fmla="*/ 0 h 38"/>
                <a:gd name="T22" fmla="*/ 0 w 73"/>
                <a:gd name="T23" fmla="*/ 1 h 38"/>
                <a:gd name="T24" fmla="*/ 0 w 73"/>
                <a:gd name="T25" fmla="*/ 1 h 38"/>
                <a:gd name="T26" fmla="*/ 0 w 73"/>
                <a:gd name="T2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" h="38">
                  <a:moveTo>
                    <a:pt x="67" y="27"/>
                  </a:moveTo>
                  <a:cubicBezTo>
                    <a:pt x="67" y="27"/>
                    <a:pt x="67" y="27"/>
                    <a:pt x="67" y="27"/>
                  </a:cubicBezTo>
                  <a:cubicBezTo>
                    <a:pt x="67" y="28"/>
                    <a:pt x="68" y="30"/>
                    <a:pt x="68" y="31"/>
                  </a:cubicBezTo>
                  <a:cubicBezTo>
                    <a:pt x="68" y="31"/>
                    <a:pt x="68" y="31"/>
                    <a:pt x="68" y="32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8" y="33"/>
                    <a:pt x="68" y="33"/>
                    <a:pt x="68" y="34"/>
                  </a:cubicBezTo>
                  <a:cubicBezTo>
                    <a:pt x="69" y="35"/>
                    <a:pt x="69" y="36"/>
                    <a:pt x="69" y="37"/>
                  </a:cubicBezTo>
                  <a:cubicBezTo>
                    <a:pt x="69" y="37"/>
                    <a:pt x="69" y="37"/>
                    <a:pt x="69" y="38"/>
                  </a:cubicBezTo>
                  <a:cubicBezTo>
                    <a:pt x="71" y="37"/>
                    <a:pt x="72" y="36"/>
                    <a:pt x="73" y="36"/>
                  </a:cubicBezTo>
                  <a:cubicBezTo>
                    <a:pt x="71" y="33"/>
                    <a:pt x="69" y="30"/>
                    <a:pt x="67" y="27"/>
                  </a:cubicBezTo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76C0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9" name="Freeform 28">
              <a:extLst>
                <a:ext uri="{FF2B5EF4-FFF2-40B4-BE49-F238E27FC236}">
                  <a16:creationId xmlns:a16="http://schemas.microsoft.com/office/drawing/2014/main" id="{19ADB6F0-363A-4488-A89E-05BC0D7ED3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5601" y="2909314"/>
              <a:ext cx="23813" cy="28575"/>
            </a:xfrm>
            <a:custGeom>
              <a:avLst/>
              <a:gdLst>
                <a:gd name="T0" fmla="*/ 4 w 15"/>
                <a:gd name="T1" fmla="*/ 0 h 18"/>
                <a:gd name="T2" fmla="*/ 4 w 15"/>
                <a:gd name="T3" fmla="*/ 0 h 18"/>
                <a:gd name="T4" fmla="*/ 0 w 15"/>
                <a:gd name="T5" fmla="*/ 2 h 18"/>
                <a:gd name="T6" fmla="*/ 1 w 15"/>
                <a:gd name="T7" fmla="*/ 3 h 18"/>
                <a:gd name="T8" fmla="*/ 1 w 15"/>
                <a:gd name="T9" fmla="*/ 3 h 18"/>
                <a:gd name="T10" fmla="*/ 1 w 15"/>
                <a:gd name="T11" fmla="*/ 4 h 18"/>
                <a:gd name="T12" fmla="*/ 1 w 15"/>
                <a:gd name="T13" fmla="*/ 6 h 18"/>
                <a:gd name="T14" fmla="*/ 1 w 15"/>
                <a:gd name="T15" fmla="*/ 9 h 18"/>
                <a:gd name="T16" fmla="*/ 1 w 15"/>
                <a:gd name="T17" fmla="*/ 10 h 18"/>
                <a:gd name="T18" fmla="*/ 1 w 15"/>
                <a:gd name="T19" fmla="*/ 11 h 18"/>
                <a:gd name="T20" fmla="*/ 2 w 15"/>
                <a:gd name="T21" fmla="*/ 12 h 18"/>
                <a:gd name="T22" fmla="*/ 2 w 15"/>
                <a:gd name="T23" fmla="*/ 15 h 18"/>
                <a:gd name="T24" fmla="*/ 2 w 15"/>
                <a:gd name="T25" fmla="*/ 18 h 18"/>
                <a:gd name="T26" fmla="*/ 2 w 15"/>
                <a:gd name="T27" fmla="*/ 18 h 18"/>
                <a:gd name="T28" fmla="*/ 15 w 15"/>
                <a:gd name="T29" fmla="*/ 15 h 18"/>
                <a:gd name="T30" fmla="*/ 4 w 15"/>
                <a:gd name="T3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7"/>
                    <a:pt x="1" y="8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2" y="12"/>
                    <a:pt x="2" y="12"/>
                  </a:cubicBezTo>
                  <a:cubicBezTo>
                    <a:pt x="2" y="13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2" y="10"/>
                    <a:pt x="8" y="5"/>
                    <a:pt x="4" y="0"/>
                  </a:cubicBezTo>
                </a:path>
              </a:pathLst>
            </a:custGeom>
            <a:solidFill>
              <a:srgbClr val="76C0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0" name="Freeform 29">
              <a:extLst>
                <a:ext uri="{FF2B5EF4-FFF2-40B4-BE49-F238E27FC236}">
                  <a16:creationId xmlns:a16="http://schemas.microsoft.com/office/drawing/2014/main" id="{8475EE2D-F690-44FC-B806-1096F9049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8776" y="2933126"/>
              <a:ext cx="130175" cy="438150"/>
            </a:xfrm>
            <a:custGeom>
              <a:avLst/>
              <a:gdLst>
                <a:gd name="T0" fmla="*/ 13 w 82"/>
                <a:gd name="T1" fmla="*/ 0 h 276"/>
                <a:gd name="T2" fmla="*/ 0 w 82"/>
                <a:gd name="T3" fmla="*/ 3 h 276"/>
                <a:gd name="T4" fmla="*/ 0 w 82"/>
                <a:gd name="T5" fmla="*/ 51 h 276"/>
                <a:gd name="T6" fmla="*/ 65 w 82"/>
                <a:gd name="T7" fmla="*/ 247 h 276"/>
                <a:gd name="T8" fmla="*/ 67 w 82"/>
                <a:gd name="T9" fmla="*/ 276 h 276"/>
                <a:gd name="T10" fmla="*/ 81 w 82"/>
                <a:gd name="T11" fmla="*/ 203 h 276"/>
                <a:gd name="T12" fmla="*/ 13 w 82"/>
                <a:gd name="T13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76">
                  <a:moveTo>
                    <a:pt x="13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35" y="113"/>
                    <a:pt x="59" y="182"/>
                    <a:pt x="65" y="247"/>
                  </a:cubicBezTo>
                  <a:cubicBezTo>
                    <a:pt x="66" y="257"/>
                    <a:pt x="67" y="266"/>
                    <a:pt x="67" y="276"/>
                  </a:cubicBezTo>
                  <a:cubicBezTo>
                    <a:pt x="76" y="256"/>
                    <a:pt x="81" y="232"/>
                    <a:pt x="81" y="203"/>
                  </a:cubicBezTo>
                  <a:cubicBezTo>
                    <a:pt x="82" y="137"/>
                    <a:pt x="55" y="62"/>
                    <a:pt x="13" y="0"/>
                  </a:cubicBezTo>
                </a:path>
              </a:pathLst>
            </a:custGeom>
            <a:solidFill>
              <a:srgbClr val="00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1" name="Freeform 30">
              <a:extLst>
                <a:ext uri="{FF2B5EF4-FFF2-40B4-BE49-F238E27FC236}">
                  <a16:creationId xmlns:a16="http://schemas.microsoft.com/office/drawing/2014/main" id="{6759F3F1-C9E9-4120-86FE-A2AAEE865F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7188" y="3242689"/>
              <a:ext cx="0" cy="3175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00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2" name="Freeform 31">
              <a:extLst>
                <a:ext uri="{FF2B5EF4-FFF2-40B4-BE49-F238E27FC236}">
                  <a16:creationId xmlns:a16="http://schemas.microsoft.com/office/drawing/2014/main" id="{49042A97-4D65-4484-A43F-4952BB9E6E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517188" y="3245864"/>
              <a:ext cx="7938" cy="79375"/>
            </a:xfrm>
            <a:custGeom>
              <a:avLst/>
              <a:gdLst>
                <a:gd name="T0" fmla="*/ 5 w 5"/>
                <a:gd name="T1" fmla="*/ 50 h 50"/>
                <a:gd name="T2" fmla="*/ 5 w 5"/>
                <a:gd name="T3" fmla="*/ 50 h 50"/>
                <a:gd name="T4" fmla="*/ 5 w 5"/>
                <a:gd name="T5" fmla="*/ 49 h 50"/>
                <a:gd name="T6" fmla="*/ 5 w 5"/>
                <a:gd name="T7" fmla="*/ 48 h 50"/>
                <a:gd name="T8" fmla="*/ 5 w 5"/>
                <a:gd name="T9" fmla="*/ 47 h 50"/>
                <a:gd name="T10" fmla="*/ 5 w 5"/>
                <a:gd name="T11" fmla="*/ 47 h 50"/>
                <a:gd name="T12" fmla="*/ 5 w 5"/>
                <a:gd name="T13" fmla="*/ 46 h 50"/>
                <a:gd name="T14" fmla="*/ 5 w 5"/>
                <a:gd name="T15" fmla="*/ 45 h 50"/>
                <a:gd name="T16" fmla="*/ 5 w 5"/>
                <a:gd name="T17" fmla="*/ 44 h 50"/>
                <a:gd name="T18" fmla="*/ 5 w 5"/>
                <a:gd name="T19" fmla="*/ 43 h 50"/>
                <a:gd name="T20" fmla="*/ 5 w 5"/>
                <a:gd name="T21" fmla="*/ 43 h 50"/>
                <a:gd name="T22" fmla="*/ 5 w 5"/>
                <a:gd name="T23" fmla="*/ 43 h 50"/>
                <a:gd name="T24" fmla="*/ 5 w 5"/>
                <a:gd name="T25" fmla="*/ 42 h 50"/>
                <a:gd name="T26" fmla="*/ 5 w 5"/>
                <a:gd name="T27" fmla="*/ 41 h 50"/>
                <a:gd name="T28" fmla="*/ 5 w 5"/>
                <a:gd name="T29" fmla="*/ 40 h 50"/>
                <a:gd name="T30" fmla="*/ 5 w 5"/>
                <a:gd name="T31" fmla="*/ 40 h 50"/>
                <a:gd name="T32" fmla="*/ 5 w 5"/>
                <a:gd name="T33" fmla="*/ 39 h 50"/>
                <a:gd name="T34" fmla="*/ 5 w 5"/>
                <a:gd name="T35" fmla="*/ 39 h 50"/>
                <a:gd name="T36" fmla="*/ 5 w 5"/>
                <a:gd name="T37" fmla="*/ 38 h 50"/>
                <a:gd name="T38" fmla="*/ 5 w 5"/>
                <a:gd name="T39" fmla="*/ 36 h 50"/>
                <a:gd name="T40" fmla="*/ 5 w 5"/>
                <a:gd name="T41" fmla="*/ 36 h 50"/>
                <a:gd name="T42" fmla="*/ 5 w 5"/>
                <a:gd name="T43" fmla="*/ 35 h 50"/>
                <a:gd name="T44" fmla="*/ 5 w 5"/>
                <a:gd name="T45" fmla="*/ 34 h 50"/>
                <a:gd name="T46" fmla="*/ 5 w 5"/>
                <a:gd name="T47" fmla="*/ 33 h 50"/>
                <a:gd name="T48" fmla="*/ 4 w 5"/>
                <a:gd name="T49" fmla="*/ 31 h 50"/>
                <a:gd name="T50" fmla="*/ 4 w 5"/>
                <a:gd name="T51" fmla="*/ 31 h 50"/>
                <a:gd name="T52" fmla="*/ 4 w 5"/>
                <a:gd name="T53" fmla="*/ 29 h 50"/>
                <a:gd name="T54" fmla="*/ 4 w 5"/>
                <a:gd name="T55" fmla="*/ 29 h 50"/>
                <a:gd name="T56" fmla="*/ 4 w 5"/>
                <a:gd name="T57" fmla="*/ 28 h 50"/>
                <a:gd name="T58" fmla="*/ 4 w 5"/>
                <a:gd name="T59" fmla="*/ 26 h 50"/>
                <a:gd name="T60" fmla="*/ 4 w 5"/>
                <a:gd name="T61" fmla="*/ 26 h 50"/>
                <a:gd name="T62" fmla="*/ 4 w 5"/>
                <a:gd name="T63" fmla="*/ 24 h 50"/>
                <a:gd name="T64" fmla="*/ 4 w 5"/>
                <a:gd name="T65" fmla="*/ 23 h 50"/>
                <a:gd name="T66" fmla="*/ 4 w 5"/>
                <a:gd name="T67" fmla="*/ 22 h 50"/>
                <a:gd name="T68" fmla="*/ 4 w 5"/>
                <a:gd name="T69" fmla="*/ 21 h 50"/>
                <a:gd name="T70" fmla="*/ 3 w 5"/>
                <a:gd name="T71" fmla="*/ 19 h 50"/>
                <a:gd name="T72" fmla="*/ 3 w 5"/>
                <a:gd name="T73" fmla="*/ 19 h 50"/>
                <a:gd name="T74" fmla="*/ 3 w 5"/>
                <a:gd name="T75" fmla="*/ 17 h 50"/>
                <a:gd name="T76" fmla="*/ 3 w 5"/>
                <a:gd name="T77" fmla="*/ 15 h 50"/>
                <a:gd name="T78" fmla="*/ 3 w 5"/>
                <a:gd name="T79" fmla="*/ 15 h 50"/>
                <a:gd name="T80" fmla="*/ 2 w 5"/>
                <a:gd name="T81" fmla="*/ 12 h 50"/>
                <a:gd name="T82" fmla="*/ 2 w 5"/>
                <a:gd name="T83" fmla="*/ 10 h 50"/>
                <a:gd name="T84" fmla="*/ 2 w 5"/>
                <a:gd name="T85" fmla="*/ 10 h 50"/>
                <a:gd name="T86" fmla="*/ 2 w 5"/>
                <a:gd name="T87" fmla="*/ 8 h 50"/>
                <a:gd name="T88" fmla="*/ 1 w 5"/>
                <a:gd name="T89" fmla="*/ 5 h 50"/>
                <a:gd name="T90" fmla="*/ 1 w 5"/>
                <a:gd name="T91" fmla="*/ 5 h 50"/>
                <a:gd name="T92" fmla="*/ 1 w 5"/>
                <a:gd name="T93" fmla="*/ 3 h 50"/>
                <a:gd name="T94" fmla="*/ 1 w 5"/>
                <a:gd name="T95" fmla="*/ 1 h 50"/>
                <a:gd name="T96" fmla="*/ 1 w 5"/>
                <a:gd name="T97" fmla="*/ 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" h="50">
                  <a:moveTo>
                    <a:pt x="5" y="50"/>
                  </a:move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moveTo>
                    <a:pt x="5" y="49"/>
                  </a:move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49"/>
                    <a:pt x="5" y="49"/>
                    <a:pt x="5" y="49"/>
                  </a:cubicBezTo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8"/>
                  </a:cubicBezTo>
                  <a:moveTo>
                    <a:pt x="5" y="47"/>
                  </a:moveTo>
                  <a:cubicBezTo>
                    <a:pt x="5" y="47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7"/>
                  </a:cubicBezTo>
                  <a:moveTo>
                    <a:pt x="5" y="47"/>
                  </a:move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moveTo>
                    <a:pt x="5" y="46"/>
                  </a:move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moveTo>
                    <a:pt x="5" y="45"/>
                  </a:move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moveTo>
                    <a:pt x="5" y="44"/>
                  </a:move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4"/>
                    <a:pt x="5" y="44"/>
                    <a:pt x="5" y="44"/>
                  </a:cubicBezTo>
                  <a:moveTo>
                    <a:pt x="5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moveTo>
                    <a:pt x="5" y="42"/>
                  </a:moveTo>
                  <a:cubicBezTo>
                    <a:pt x="5" y="42"/>
                    <a:pt x="5" y="42"/>
                    <a:pt x="5" y="42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2"/>
                  </a:cubicBezTo>
                  <a:moveTo>
                    <a:pt x="5" y="42"/>
                  </a:move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moveTo>
                    <a:pt x="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moveTo>
                    <a:pt x="5" y="40"/>
                  </a:moveTo>
                  <a:cubicBezTo>
                    <a:pt x="5" y="40"/>
                    <a:pt x="5" y="40"/>
                    <a:pt x="5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40"/>
                    <a:pt x="5" y="40"/>
                    <a:pt x="5" y="40"/>
                  </a:cubicBezTo>
                  <a:moveTo>
                    <a:pt x="5" y="39"/>
                  </a:move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moveTo>
                    <a:pt x="5" y="38"/>
                  </a:move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8"/>
                    <a:pt x="5" y="38"/>
                    <a:pt x="5" y="38"/>
                  </a:cubicBezTo>
                  <a:moveTo>
                    <a:pt x="5" y="37"/>
                  </a:moveTo>
                  <a:cubicBezTo>
                    <a:pt x="5" y="37"/>
                    <a:pt x="5" y="38"/>
                    <a:pt x="5" y="38"/>
                  </a:cubicBezTo>
                  <a:cubicBezTo>
                    <a:pt x="5" y="38"/>
                    <a:pt x="5" y="37"/>
                    <a:pt x="5" y="37"/>
                  </a:cubicBezTo>
                  <a:moveTo>
                    <a:pt x="5" y="36"/>
                  </a:move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5" y="37"/>
                    <a:pt x="5" y="36"/>
                  </a:cubicBezTo>
                  <a:moveTo>
                    <a:pt x="5" y="36"/>
                  </a:move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moveTo>
                    <a:pt x="5" y="35"/>
                  </a:move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moveTo>
                    <a:pt x="5" y="34"/>
                  </a:move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moveTo>
                    <a:pt x="5" y="33"/>
                  </a:moveTo>
                  <a:cubicBezTo>
                    <a:pt x="5" y="33"/>
                    <a:pt x="5" y="33"/>
                    <a:pt x="5" y="34"/>
                  </a:cubicBezTo>
                  <a:cubicBezTo>
                    <a:pt x="5" y="33"/>
                    <a:pt x="5" y="33"/>
                    <a:pt x="5" y="33"/>
                  </a:cubicBezTo>
                  <a:moveTo>
                    <a:pt x="5" y="32"/>
                  </a:moveTo>
                  <a:cubicBezTo>
                    <a:pt x="5" y="32"/>
                    <a:pt x="5" y="32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moveTo>
                    <a:pt x="4" y="31"/>
                  </a:moveTo>
                  <a:cubicBezTo>
                    <a:pt x="5" y="31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1"/>
                    <a:pt x="4" y="31"/>
                  </a:cubicBezTo>
                  <a:moveTo>
                    <a:pt x="4" y="30"/>
                  </a:move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0"/>
                  </a:cubicBezTo>
                  <a:moveTo>
                    <a:pt x="4" y="29"/>
                  </a:move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29"/>
                  </a:cubicBezTo>
                  <a:moveTo>
                    <a:pt x="4" y="29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moveTo>
                    <a:pt x="4" y="28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moveTo>
                    <a:pt x="4" y="27"/>
                  </a:moveTo>
                  <a:cubicBezTo>
                    <a:pt x="4" y="27"/>
                    <a:pt x="4" y="27"/>
                    <a:pt x="4" y="28"/>
                  </a:cubicBezTo>
                  <a:cubicBezTo>
                    <a:pt x="4" y="27"/>
                    <a:pt x="4" y="27"/>
                    <a:pt x="4" y="27"/>
                  </a:cubicBezTo>
                  <a:moveTo>
                    <a:pt x="4" y="26"/>
                  </a:moveTo>
                  <a:cubicBezTo>
                    <a:pt x="4" y="26"/>
                    <a:pt x="4" y="26"/>
                    <a:pt x="4" y="27"/>
                  </a:cubicBezTo>
                  <a:cubicBezTo>
                    <a:pt x="4" y="26"/>
                    <a:pt x="4" y="26"/>
                    <a:pt x="4" y="26"/>
                  </a:cubicBezTo>
                  <a:moveTo>
                    <a:pt x="4" y="25"/>
                  </a:moveTo>
                  <a:cubicBezTo>
                    <a:pt x="4" y="25"/>
                    <a:pt x="4" y="26"/>
                    <a:pt x="4" y="26"/>
                  </a:cubicBezTo>
                  <a:cubicBezTo>
                    <a:pt x="4" y="26"/>
                    <a:pt x="4" y="25"/>
                    <a:pt x="4" y="25"/>
                  </a:cubicBezTo>
                  <a:moveTo>
                    <a:pt x="4" y="24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4"/>
                  </a:cubicBezTo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moveTo>
                    <a:pt x="4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moveTo>
                    <a:pt x="4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moveTo>
                    <a:pt x="4" y="21"/>
                  </a:move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moveTo>
                    <a:pt x="3" y="20"/>
                  </a:moveTo>
                  <a:cubicBezTo>
                    <a:pt x="3" y="20"/>
                    <a:pt x="3" y="20"/>
                    <a:pt x="4" y="21"/>
                  </a:cubicBezTo>
                  <a:cubicBezTo>
                    <a:pt x="3" y="20"/>
                    <a:pt x="3" y="20"/>
                    <a:pt x="3" y="20"/>
                  </a:cubicBezTo>
                  <a:moveTo>
                    <a:pt x="3" y="19"/>
                  </a:moveTo>
                  <a:cubicBezTo>
                    <a:pt x="3" y="19"/>
                    <a:pt x="3" y="20"/>
                    <a:pt x="3" y="20"/>
                  </a:cubicBezTo>
                  <a:cubicBezTo>
                    <a:pt x="3" y="20"/>
                    <a:pt x="3" y="19"/>
                    <a:pt x="3" y="19"/>
                  </a:cubicBezTo>
                  <a:moveTo>
                    <a:pt x="3" y="18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8"/>
                  </a:cubicBezTo>
                  <a:moveTo>
                    <a:pt x="3" y="17"/>
                  </a:move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7"/>
                  </a:cubicBezTo>
                  <a:moveTo>
                    <a:pt x="3" y="16"/>
                  </a:moveTo>
                  <a:cubicBezTo>
                    <a:pt x="3" y="16"/>
                    <a:pt x="3" y="17"/>
                    <a:pt x="3" y="17"/>
                  </a:cubicBezTo>
                  <a:cubicBezTo>
                    <a:pt x="3" y="17"/>
                    <a:pt x="3" y="16"/>
                    <a:pt x="3" y="16"/>
                  </a:cubicBezTo>
                  <a:moveTo>
                    <a:pt x="3" y="15"/>
                  </a:move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moveTo>
                    <a:pt x="3" y="14"/>
                  </a:moveTo>
                  <a:cubicBezTo>
                    <a:pt x="3" y="14"/>
                    <a:pt x="3" y="14"/>
                    <a:pt x="3" y="15"/>
                  </a:cubicBezTo>
                  <a:cubicBezTo>
                    <a:pt x="3" y="14"/>
                    <a:pt x="3" y="14"/>
                    <a:pt x="3" y="14"/>
                  </a:cubicBezTo>
                  <a:moveTo>
                    <a:pt x="2" y="12"/>
                  </a:moveTo>
                  <a:cubicBezTo>
                    <a:pt x="3" y="13"/>
                    <a:pt x="3" y="13"/>
                    <a:pt x="3" y="14"/>
                  </a:cubicBezTo>
                  <a:cubicBezTo>
                    <a:pt x="3" y="13"/>
                    <a:pt x="3" y="13"/>
                    <a:pt x="2" y="12"/>
                  </a:cubicBezTo>
                  <a:moveTo>
                    <a:pt x="2" y="11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1"/>
                  </a:cubicBezTo>
                  <a:moveTo>
                    <a:pt x="2" y="10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0"/>
                  </a:cubicBezTo>
                  <a:moveTo>
                    <a:pt x="2" y="9"/>
                  </a:moveTo>
                  <a:cubicBezTo>
                    <a:pt x="2" y="9"/>
                    <a:pt x="2" y="10"/>
                    <a:pt x="2" y="10"/>
                  </a:cubicBezTo>
                  <a:cubicBezTo>
                    <a:pt x="2" y="10"/>
                    <a:pt x="2" y="9"/>
                    <a:pt x="2" y="9"/>
                  </a:cubicBezTo>
                  <a:moveTo>
                    <a:pt x="2" y="8"/>
                  </a:moveTo>
                  <a:cubicBezTo>
                    <a:pt x="2" y="8"/>
                    <a:pt x="2" y="8"/>
                    <a:pt x="2" y="9"/>
                  </a:cubicBezTo>
                  <a:cubicBezTo>
                    <a:pt x="2" y="8"/>
                    <a:pt x="2" y="8"/>
                    <a:pt x="2" y="8"/>
                  </a:cubicBezTo>
                  <a:moveTo>
                    <a:pt x="2" y="7"/>
                  </a:moveTo>
                  <a:cubicBezTo>
                    <a:pt x="2" y="7"/>
                    <a:pt x="2" y="7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moveTo>
                    <a:pt x="1" y="5"/>
                  </a:moveTo>
                  <a:cubicBezTo>
                    <a:pt x="1" y="6"/>
                    <a:pt x="2" y="6"/>
                    <a:pt x="2" y="7"/>
                  </a:cubicBezTo>
                  <a:cubicBezTo>
                    <a:pt x="2" y="6"/>
                    <a:pt x="1" y="6"/>
                    <a:pt x="1" y="5"/>
                  </a:cubicBezTo>
                  <a:moveTo>
                    <a:pt x="1" y="4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4"/>
                  </a:cubicBezTo>
                  <a:moveTo>
                    <a:pt x="1" y="3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3"/>
                  </a:cubicBezTo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00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3" name="Freeform 32">
              <a:extLst>
                <a:ext uri="{FF2B5EF4-FFF2-40B4-BE49-F238E27FC236}">
                  <a16:creationId xmlns:a16="http://schemas.microsoft.com/office/drawing/2014/main" id="{465FFF09-21B2-4C97-9EDC-F68532D95D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2101" y="29521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6C0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4" name="Freeform 33">
              <a:extLst>
                <a:ext uri="{FF2B5EF4-FFF2-40B4-BE49-F238E27FC236}">
                  <a16:creationId xmlns:a16="http://schemas.microsoft.com/office/drawing/2014/main" id="{1C92D589-7154-4092-9948-6BE05400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452101" y="2952176"/>
              <a:ext cx="1588" cy="22225"/>
            </a:xfrm>
            <a:custGeom>
              <a:avLst/>
              <a:gdLst>
                <a:gd name="T0" fmla="*/ 1 w 1"/>
                <a:gd name="T1" fmla="*/ 12 h 14"/>
                <a:gd name="T2" fmla="*/ 1 w 1"/>
                <a:gd name="T3" fmla="*/ 14 h 14"/>
                <a:gd name="T4" fmla="*/ 1 w 1"/>
                <a:gd name="T5" fmla="*/ 14 h 14"/>
                <a:gd name="T6" fmla="*/ 1 w 1"/>
                <a:gd name="T7" fmla="*/ 12 h 14"/>
                <a:gd name="T8" fmla="*/ 0 w 1"/>
                <a:gd name="T9" fmla="*/ 0 h 14"/>
                <a:gd name="T10" fmla="*/ 0 w 1"/>
                <a:gd name="T11" fmla="*/ 0 h 14"/>
                <a:gd name="T12" fmla="*/ 1 w 1"/>
                <a:gd name="T13" fmla="*/ 2 h 14"/>
                <a:gd name="T14" fmla="*/ 0 w 1"/>
                <a:gd name="T15" fmla="*/ 0 h 14"/>
                <a:gd name="T16" fmla="*/ 0 w 1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14">
                  <a:moveTo>
                    <a:pt x="1" y="12"/>
                  </a:move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3"/>
                    <a:pt x="1" y="12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5" name="Freeform 34">
              <a:extLst>
                <a:ext uri="{FF2B5EF4-FFF2-40B4-BE49-F238E27FC236}">
                  <a16:creationId xmlns:a16="http://schemas.microsoft.com/office/drawing/2014/main" id="{6228D983-332C-4286-89BE-60707FBF81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5601" y="3014089"/>
              <a:ext cx="109538" cy="615950"/>
            </a:xfrm>
            <a:custGeom>
              <a:avLst/>
              <a:gdLst>
                <a:gd name="T0" fmla="*/ 1 w 69"/>
                <a:gd name="T1" fmla="*/ 144 h 388"/>
                <a:gd name="T2" fmla="*/ 1 w 69"/>
                <a:gd name="T3" fmla="*/ 146 h 388"/>
                <a:gd name="T4" fmla="*/ 2 w 69"/>
                <a:gd name="T5" fmla="*/ 147 h 388"/>
                <a:gd name="T6" fmla="*/ 2 w 69"/>
                <a:gd name="T7" fmla="*/ 148 h 388"/>
                <a:gd name="T8" fmla="*/ 2 w 69"/>
                <a:gd name="T9" fmla="*/ 149 h 388"/>
                <a:gd name="T10" fmla="*/ 2 w 69"/>
                <a:gd name="T11" fmla="*/ 150 h 388"/>
                <a:gd name="T12" fmla="*/ 2 w 69"/>
                <a:gd name="T13" fmla="*/ 151 h 388"/>
                <a:gd name="T14" fmla="*/ 3 w 69"/>
                <a:gd name="T15" fmla="*/ 153 h 388"/>
                <a:gd name="T16" fmla="*/ 3 w 69"/>
                <a:gd name="T17" fmla="*/ 154 h 388"/>
                <a:gd name="T18" fmla="*/ 3 w 69"/>
                <a:gd name="T19" fmla="*/ 155 h 388"/>
                <a:gd name="T20" fmla="*/ 3 w 69"/>
                <a:gd name="T21" fmla="*/ 156 h 388"/>
                <a:gd name="T22" fmla="*/ 3 w 69"/>
                <a:gd name="T23" fmla="*/ 157 h 388"/>
                <a:gd name="T24" fmla="*/ 3 w 69"/>
                <a:gd name="T25" fmla="*/ 158 h 388"/>
                <a:gd name="T26" fmla="*/ 4 w 69"/>
                <a:gd name="T27" fmla="*/ 160 h 388"/>
                <a:gd name="T28" fmla="*/ 4 w 69"/>
                <a:gd name="T29" fmla="*/ 161 h 388"/>
                <a:gd name="T30" fmla="*/ 4 w 69"/>
                <a:gd name="T31" fmla="*/ 162 h 388"/>
                <a:gd name="T32" fmla="*/ 4 w 69"/>
                <a:gd name="T33" fmla="*/ 163 h 388"/>
                <a:gd name="T34" fmla="*/ 4 w 69"/>
                <a:gd name="T35" fmla="*/ 164 h 388"/>
                <a:gd name="T36" fmla="*/ 4 w 69"/>
                <a:gd name="T37" fmla="*/ 165 h 388"/>
                <a:gd name="T38" fmla="*/ 4 w 69"/>
                <a:gd name="T39" fmla="*/ 166 h 388"/>
                <a:gd name="T40" fmla="*/ 5 w 69"/>
                <a:gd name="T41" fmla="*/ 167 h 388"/>
                <a:gd name="T42" fmla="*/ 5 w 69"/>
                <a:gd name="T43" fmla="*/ 168 h 388"/>
                <a:gd name="T44" fmla="*/ 5 w 69"/>
                <a:gd name="T45" fmla="*/ 169 h 388"/>
                <a:gd name="T46" fmla="*/ 5 w 69"/>
                <a:gd name="T47" fmla="*/ 170 h 388"/>
                <a:gd name="T48" fmla="*/ 5 w 69"/>
                <a:gd name="T49" fmla="*/ 170 h 388"/>
                <a:gd name="T50" fmla="*/ 5 w 69"/>
                <a:gd name="T51" fmla="*/ 171 h 388"/>
                <a:gd name="T52" fmla="*/ 5 w 69"/>
                <a:gd name="T53" fmla="*/ 172 h 388"/>
                <a:gd name="T54" fmla="*/ 5 w 69"/>
                <a:gd name="T55" fmla="*/ 173 h 388"/>
                <a:gd name="T56" fmla="*/ 5 w 69"/>
                <a:gd name="T57" fmla="*/ 174 h 388"/>
                <a:gd name="T58" fmla="*/ 5 w 69"/>
                <a:gd name="T59" fmla="*/ 175 h 388"/>
                <a:gd name="T60" fmla="*/ 5 w 69"/>
                <a:gd name="T61" fmla="*/ 175 h 388"/>
                <a:gd name="T62" fmla="*/ 5 w 69"/>
                <a:gd name="T63" fmla="*/ 176 h 388"/>
                <a:gd name="T64" fmla="*/ 5 w 69"/>
                <a:gd name="T65" fmla="*/ 177 h 388"/>
                <a:gd name="T66" fmla="*/ 6 w 69"/>
                <a:gd name="T67" fmla="*/ 178 h 388"/>
                <a:gd name="T68" fmla="*/ 6 w 69"/>
                <a:gd name="T69" fmla="*/ 179 h 388"/>
                <a:gd name="T70" fmla="*/ 6 w 69"/>
                <a:gd name="T71" fmla="*/ 180 h 388"/>
                <a:gd name="T72" fmla="*/ 6 w 69"/>
                <a:gd name="T73" fmla="*/ 181 h 388"/>
                <a:gd name="T74" fmla="*/ 6 w 69"/>
                <a:gd name="T75" fmla="*/ 182 h 388"/>
                <a:gd name="T76" fmla="*/ 6 w 69"/>
                <a:gd name="T77" fmla="*/ 182 h 388"/>
                <a:gd name="T78" fmla="*/ 6 w 69"/>
                <a:gd name="T79" fmla="*/ 183 h 388"/>
                <a:gd name="T80" fmla="*/ 6 w 69"/>
                <a:gd name="T81" fmla="*/ 184 h 388"/>
                <a:gd name="T82" fmla="*/ 6 w 69"/>
                <a:gd name="T83" fmla="*/ 185 h 388"/>
                <a:gd name="T84" fmla="*/ 6 w 69"/>
                <a:gd name="T85" fmla="*/ 186 h 388"/>
                <a:gd name="T86" fmla="*/ 6 w 69"/>
                <a:gd name="T87" fmla="*/ 187 h 388"/>
                <a:gd name="T88" fmla="*/ 6 w 69"/>
                <a:gd name="T89" fmla="*/ 188 h 388"/>
                <a:gd name="T90" fmla="*/ 6 w 69"/>
                <a:gd name="T91" fmla="*/ 188 h 388"/>
                <a:gd name="T92" fmla="*/ 6 w 69"/>
                <a:gd name="T93" fmla="*/ 189 h 388"/>
                <a:gd name="T94" fmla="*/ 6 w 69"/>
                <a:gd name="T95" fmla="*/ 190 h 388"/>
                <a:gd name="T96" fmla="*/ 6 w 69"/>
                <a:gd name="T97" fmla="*/ 191 h 388"/>
                <a:gd name="T98" fmla="*/ 6 w 69"/>
                <a:gd name="T99" fmla="*/ 192 h 388"/>
                <a:gd name="T100" fmla="*/ 6 w 69"/>
                <a:gd name="T101" fmla="*/ 193 h 388"/>
                <a:gd name="T102" fmla="*/ 6 w 69"/>
                <a:gd name="T103" fmla="*/ 193 h 388"/>
                <a:gd name="T104" fmla="*/ 6 w 69"/>
                <a:gd name="T105" fmla="*/ 194 h 388"/>
                <a:gd name="T106" fmla="*/ 6 w 69"/>
                <a:gd name="T107" fmla="*/ 195 h 388"/>
                <a:gd name="T108" fmla="*/ 6 w 69"/>
                <a:gd name="T109" fmla="*/ 196 h 388"/>
                <a:gd name="T110" fmla="*/ 6 w 69"/>
                <a:gd name="T111" fmla="*/ 197 h 388"/>
                <a:gd name="T112" fmla="*/ 1 w 69"/>
                <a:gd name="T113" fmla="*/ 243 h 388"/>
                <a:gd name="T114" fmla="*/ 14 w 69"/>
                <a:gd name="T115" fmla="*/ 378 h 388"/>
                <a:gd name="T116" fmla="*/ 14 w 69"/>
                <a:gd name="T117" fmla="*/ 378 h 388"/>
                <a:gd name="T118" fmla="*/ 69 w 69"/>
                <a:gd name="T119" fmla="*/ 233 h 388"/>
                <a:gd name="T120" fmla="*/ 67 w 69"/>
                <a:gd name="T121" fmla="*/ 196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9" h="388">
                  <a:moveTo>
                    <a:pt x="2" y="0"/>
                  </a:moveTo>
                  <a:cubicBezTo>
                    <a:pt x="1" y="144"/>
                    <a:pt x="1" y="144"/>
                    <a:pt x="1" y="144"/>
                  </a:cubicBezTo>
                  <a:cubicBezTo>
                    <a:pt x="1" y="145"/>
                    <a:pt x="1" y="145"/>
                    <a:pt x="1" y="146"/>
                  </a:cubicBezTo>
                  <a:cubicBezTo>
                    <a:pt x="1" y="146"/>
                    <a:pt x="1" y="146"/>
                    <a:pt x="1" y="146"/>
                  </a:cubicBezTo>
                  <a:cubicBezTo>
                    <a:pt x="2" y="146"/>
                    <a:pt x="2" y="146"/>
                    <a:pt x="2" y="147"/>
                  </a:cubicBezTo>
                  <a:cubicBezTo>
                    <a:pt x="2" y="147"/>
                    <a:pt x="2" y="147"/>
                    <a:pt x="2" y="147"/>
                  </a:cubicBezTo>
                  <a:cubicBezTo>
                    <a:pt x="2" y="147"/>
                    <a:pt x="2" y="147"/>
                    <a:pt x="2" y="148"/>
                  </a:cubicBezTo>
                  <a:cubicBezTo>
                    <a:pt x="2" y="148"/>
                    <a:pt x="2" y="148"/>
                    <a:pt x="2" y="148"/>
                  </a:cubicBezTo>
                  <a:cubicBezTo>
                    <a:pt x="2" y="148"/>
                    <a:pt x="2" y="149"/>
                    <a:pt x="2" y="149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0"/>
                    <a:pt x="2" y="150"/>
                    <a:pt x="2" y="150"/>
                  </a:cubicBezTo>
                  <a:cubicBezTo>
                    <a:pt x="2" y="150"/>
                    <a:pt x="2" y="150"/>
                    <a:pt x="2" y="150"/>
                  </a:cubicBezTo>
                  <a:cubicBezTo>
                    <a:pt x="2" y="151"/>
                    <a:pt x="2" y="151"/>
                    <a:pt x="2" y="151"/>
                  </a:cubicBezTo>
                  <a:cubicBezTo>
                    <a:pt x="2" y="151"/>
                    <a:pt x="2" y="151"/>
                    <a:pt x="2" y="151"/>
                  </a:cubicBezTo>
                  <a:cubicBezTo>
                    <a:pt x="2" y="152"/>
                    <a:pt x="3" y="152"/>
                    <a:pt x="3" y="153"/>
                  </a:cubicBezTo>
                  <a:cubicBezTo>
                    <a:pt x="3" y="153"/>
                    <a:pt x="3" y="153"/>
                    <a:pt x="3" y="153"/>
                  </a:cubicBezTo>
                  <a:cubicBezTo>
                    <a:pt x="3" y="153"/>
                    <a:pt x="3" y="153"/>
                    <a:pt x="3" y="154"/>
                  </a:cubicBezTo>
                  <a:cubicBezTo>
                    <a:pt x="3" y="154"/>
                    <a:pt x="3" y="154"/>
                    <a:pt x="3" y="154"/>
                  </a:cubicBezTo>
                  <a:cubicBezTo>
                    <a:pt x="3" y="154"/>
                    <a:pt x="3" y="154"/>
                    <a:pt x="3" y="155"/>
                  </a:cubicBezTo>
                  <a:cubicBezTo>
                    <a:pt x="3" y="155"/>
                    <a:pt x="3" y="155"/>
                    <a:pt x="3" y="155"/>
                  </a:cubicBezTo>
                  <a:cubicBezTo>
                    <a:pt x="3" y="155"/>
                    <a:pt x="3" y="156"/>
                    <a:pt x="3" y="156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3" y="158"/>
                    <a:pt x="3" y="158"/>
                    <a:pt x="3" y="158"/>
                  </a:cubicBezTo>
                  <a:cubicBezTo>
                    <a:pt x="3" y="158"/>
                    <a:pt x="3" y="158"/>
                    <a:pt x="3" y="158"/>
                  </a:cubicBezTo>
                  <a:cubicBezTo>
                    <a:pt x="4" y="159"/>
                    <a:pt x="4" y="159"/>
                    <a:pt x="4" y="160"/>
                  </a:cubicBezTo>
                  <a:cubicBezTo>
                    <a:pt x="4" y="160"/>
                    <a:pt x="4" y="160"/>
                    <a:pt x="4" y="160"/>
                  </a:cubicBezTo>
                  <a:cubicBezTo>
                    <a:pt x="4" y="160"/>
                    <a:pt x="4" y="160"/>
                    <a:pt x="4" y="161"/>
                  </a:cubicBezTo>
                  <a:cubicBezTo>
                    <a:pt x="4" y="161"/>
                    <a:pt x="4" y="161"/>
                    <a:pt x="4" y="161"/>
                  </a:cubicBezTo>
                  <a:cubicBezTo>
                    <a:pt x="4" y="161"/>
                    <a:pt x="4" y="161"/>
                    <a:pt x="4" y="161"/>
                  </a:cubicBezTo>
                  <a:cubicBezTo>
                    <a:pt x="4" y="161"/>
                    <a:pt x="4" y="162"/>
                    <a:pt x="4" y="162"/>
                  </a:cubicBezTo>
                  <a:cubicBezTo>
                    <a:pt x="4" y="162"/>
                    <a:pt x="4" y="163"/>
                    <a:pt x="4" y="163"/>
                  </a:cubicBezTo>
                  <a:cubicBezTo>
                    <a:pt x="4" y="163"/>
                    <a:pt x="4" y="163"/>
                    <a:pt x="4" y="163"/>
                  </a:cubicBezTo>
                  <a:cubicBezTo>
                    <a:pt x="4" y="164"/>
                    <a:pt x="4" y="164"/>
                    <a:pt x="4" y="164"/>
                  </a:cubicBezTo>
                  <a:cubicBezTo>
                    <a:pt x="4" y="164"/>
                    <a:pt x="4" y="164"/>
                    <a:pt x="4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4" y="165"/>
                    <a:pt x="4" y="166"/>
                    <a:pt x="4" y="166"/>
                  </a:cubicBezTo>
                  <a:cubicBezTo>
                    <a:pt x="4" y="166"/>
                    <a:pt x="4" y="166"/>
                    <a:pt x="4" y="166"/>
                  </a:cubicBezTo>
                  <a:cubicBezTo>
                    <a:pt x="4" y="166"/>
                    <a:pt x="4" y="166"/>
                    <a:pt x="5" y="167"/>
                  </a:cubicBezTo>
                  <a:cubicBezTo>
                    <a:pt x="5" y="167"/>
                    <a:pt x="5" y="167"/>
                    <a:pt x="5" y="167"/>
                  </a:cubicBezTo>
                  <a:cubicBezTo>
                    <a:pt x="5" y="167"/>
                    <a:pt x="5" y="167"/>
                    <a:pt x="5" y="167"/>
                  </a:cubicBezTo>
                  <a:cubicBezTo>
                    <a:pt x="5" y="168"/>
                    <a:pt x="5" y="168"/>
                    <a:pt x="5" y="168"/>
                  </a:cubicBezTo>
                  <a:cubicBezTo>
                    <a:pt x="5" y="168"/>
                    <a:pt x="5" y="168"/>
                    <a:pt x="5" y="168"/>
                  </a:cubicBezTo>
                  <a:cubicBezTo>
                    <a:pt x="5" y="168"/>
                    <a:pt x="5" y="169"/>
                    <a:pt x="5" y="169"/>
                  </a:cubicBezTo>
                  <a:cubicBezTo>
                    <a:pt x="5" y="169"/>
                    <a:pt x="5" y="169"/>
                    <a:pt x="5" y="169"/>
                  </a:cubicBezTo>
                  <a:cubicBezTo>
                    <a:pt x="5" y="169"/>
                    <a:pt x="5" y="169"/>
                    <a:pt x="5" y="170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5" y="171"/>
                    <a:pt x="5" y="171"/>
                    <a:pt x="5" y="171"/>
                  </a:cubicBezTo>
                  <a:cubicBezTo>
                    <a:pt x="5" y="171"/>
                    <a:pt x="5" y="171"/>
                    <a:pt x="5" y="171"/>
                  </a:cubicBezTo>
                  <a:cubicBezTo>
                    <a:pt x="5" y="171"/>
                    <a:pt x="5" y="172"/>
                    <a:pt x="5" y="172"/>
                  </a:cubicBezTo>
                  <a:cubicBezTo>
                    <a:pt x="5" y="172"/>
                    <a:pt x="5" y="172"/>
                    <a:pt x="5" y="172"/>
                  </a:cubicBezTo>
                  <a:cubicBezTo>
                    <a:pt x="5" y="172"/>
                    <a:pt x="5" y="172"/>
                    <a:pt x="5" y="173"/>
                  </a:cubicBezTo>
                  <a:cubicBezTo>
                    <a:pt x="5" y="173"/>
                    <a:pt x="5" y="173"/>
                    <a:pt x="5" y="173"/>
                  </a:cubicBezTo>
                  <a:cubicBezTo>
                    <a:pt x="5" y="173"/>
                    <a:pt x="5" y="173"/>
                    <a:pt x="5" y="174"/>
                  </a:cubicBezTo>
                  <a:cubicBezTo>
                    <a:pt x="5" y="174"/>
                    <a:pt x="5" y="174"/>
                    <a:pt x="5" y="174"/>
                  </a:cubicBezTo>
                  <a:cubicBezTo>
                    <a:pt x="5" y="174"/>
                    <a:pt x="5" y="174"/>
                    <a:pt x="5" y="174"/>
                  </a:cubicBezTo>
                  <a:cubicBezTo>
                    <a:pt x="5" y="174"/>
                    <a:pt x="5" y="175"/>
                    <a:pt x="5" y="175"/>
                  </a:cubicBezTo>
                  <a:cubicBezTo>
                    <a:pt x="5" y="175"/>
                    <a:pt x="5" y="175"/>
                    <a:pt x="5" y="175"/>
                  </a:cubicBezTo>
                  <a:cubicBezTo>
                    <a:pt x="5" y="175"/>
                    <a:pt x="5" y="175"/>
                    <a:pt x="5" y="175"/>
                  </a:cubicBezTo>
                  <a:cubicBezTo>
                    <a:pt x="5" y="176"/>
                    <a:pt x="5" y="176"/>
                    <a:pt x="5" y="176"/>
                  </a:cubicBezTo>
                  <a:cubicBezTo>
                    <a:pt x="5" y="176"/>
                    <a:pt x="5" y="176"/>
                    <a:pt x="5" y="176"/>
                  </a:cubicBezTo>
                  <a:cubicBezTo>
                    <a:pt x="5" y="177"/>
                    <a:pt x="5" y="177"/>
                    <a:pt x="5" y="177"/>
                  </a:cubicBezTo>
                  <a:cubicBezTo>
                    <a:pt x="5" y="177"/>
                    <a:pt x="5" y="177"/>
                    <a:pt x="5" y="177"/>
                  </a:cubicBezTo>
                  <a:cubicBezTo>
                    <a:pt x="6" y="177"/>
                    <a:pt x="6" y="178"/>
                    <a:pt x="6" y="178"/>
                  </a:cubicBezTo>
                  <a:cubicBezTo>
                    <a:pt x="6" y="178"/>
                    <a:pt x="6" y="178"/>
                    <a:pt x="6" y="178"/>
                  </a:cubicBezTo>
                  <a:cubicBezTo>
                    <a:pt x="6" y="178"/>
                    <a:pt x="6" y="178"/>
                    <a:pt x="6" y="179"/>
                  </a:cubicBezTo>
                  <a:cubicBezTo>
                    <a:pt x="6" y="179"/>
                    <a:pt x="6" y="179"/>
                    <a:pt x="6" y="179"/>
                  </a:cubicBezTo>
                  <a:cubicBezTo>
                    <a:pt x="6" y="179"/>
                    <a:pt x="6" y="179"/>
                    <a:pt x="6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6" y="181"/>
                    <a:pt x="6" y="181"/>
                    <a:pt x="6" y="181"/>
                  </a:cubicBezTo>
                  <a:cubicBezTo>
                    <a:pt x="6" y="181"/>
                    <a:pt x="6" y="181"/>
                    <a:pt x="6" y="181"/>
                  </a:cubicBezTo>
                  <a:cubicBezTo>
                    <a:pt x="6" y="181"/>
                    <a:pt x="6" y="181"/>
                    <a:pt x="6" y="182"/>
                  </a:cubicBezTo>
                  <a:cubicBezTo>
                    <a:pt x="6" y="182"/>
                    <a:pt x="6" y="182"/>
                    <a:pt x="6" y="182"/>
                  </a:cubicBezTo>
                  <a:cubicBezTo>
                    <a:pt x="6" y="182"/>
                    <a:pt x="6" y="182"/>
                    <a:pt x="6" y="182"/>
                  </a:cubicBezTo>
                  <a:cubicBezTo>
                    <a:pt x="6" y="183"/>
                    <a:pt x="6" y="183"/>
                    <a:pt x="6" y="183"/>
                  </a:cubicBezTo>
                  <a:cubicBezTo>
                    <a:pt x="6" y="183"/>
                    <a:pt x="6" y="183"/>
                    <a:pt x="6" y="183"/>
                  </a:cubicBezTo>
                  <a:cubicBezTo>
                    <a:pt x="6" y="183"/>
                    <a:pt x="6" y="184"/>
                    <a:pt x="6" y="184"/>
                  </a:cubicBezTo>
                  <a:cubicBezTo>
                    <a:pt x="6" y="184"/>
                    <a:pt x="6" y="184"/>
                    <a:pt x="6" y="184"/>
                  </a:cubicBezTo>
                  <a:cubicBezTo>
                    <a:pt x="6" y="184"/>
                    <a:pt x="6" y="184"/>
                    <a:pt x="6" y="185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6" y="186"/>
                    <a:pt x="6" y="186"/>
                    <a:pt x="6" y="186"/>
                  </a:cubicBezTo>
                  <a:cubicBezTo>
                    <a:pt x="6" y="186"/>
                    <a:pt x="6" y="186"/>
                    <a:pt x="6" y="186"/>
                  </a:cubicBezTo>
                  <a:cubicBezTo>
                    <a:pt x="6" y="186"/>
                    <a:pt x="6" y="187"/>
                    <a:pt x="6" y="187"/>
                  </a:cubicBezTo>
                  <a:cubicBezTo>
                    <a:pt x="6" y="187"/>
                    <a:pt x="6" y="187"/>
                    <a:pt x="6" y="187"/>
                  </a:cubicBezTo>
                  <a:cubicBezTo>
                    <a:pt x="6" y="187"/>
                    <a:pt x="6" y="187"/>
                    <a:pt x="6" y="188"/>
                  </a:cubicBezTo>
                  <a:cubicBezTo>
                    <a:pt x="6" y="188"/>
                    <a:pt x="6" y="188"/>
                    <a:pt x="6" y="188"/>
                  </a:cubicBezTo>
                  <a:cubicBezTo>
                    <a:pt x="6" y="188"/>
                    <a:pt x="6" y="188"/>
                    <a:pt x="6" y="188"/>
                  </a:cubicBezTo>
                  <a:cubicBezTo>
                    <a:pt x="6" y="189"/>
                    <a:pt x="6" y="189"/>
                    <a:pt x="6" y="189"/>
                  </a:cubicBezTo>
                  <a:cubicBezTo>
                    <a:pt x="6" y="189"/>
                    <a:pt x="6" y="189"/>
                    <a:pt x="6" y="189"/>
                  </a:cubicBezTo>
                  <a:cubicBezTo>
                    <a:pt x="6" y="189"/>
                    <a:pt x="6" y="190"/>
                    <a:pt x="6" y="190"/>
                  </a:cubicBezTo>
                  <a:cubicBezTo>
                    <a:pt x="6" y="190"/>
                    <a:pt x="6" y="190"/>
                    <a:pt x="6" y="190"/>
                  </a:cubicBezTo>
                  <a:cubicBezTo>
                    <a:pt x="6" y="190"/>
                    <a:pt x="6" y="190"/>
                    <a:pt x="6" y="191"/>
                  </a:cubicBezTo>
                  <a:cubicBezTo>
                    <a:pt x="6" y="191"/>
                    <a:pt x="6" y="191"/>
                    <a:pt x="6" y="191"/>
                  </a:cubicBezTo>
                  <a:cubicBezTo>
                    <a:pt x="6" y="191"/>
                    <a:pt x="6" y="191"/>
                    <a:pt x="6" y="191"/>
                  </a:cubicBezTo>
                  <a:cubicBezTo>
                    <a:pt x="6" y="192"/>
                    <a:pt x="6" y="192"/>
                    <a:pt x="6" y="192"/>
                  </a:cubicBezTo>
                  <a:cubicBezTo>
                    <a:pt x="6" y="192"/>
                    <a:pt x="6" y="192"/>
                    <a:pt x="6" y="192"/>
                  </a:cubicBezTo>
                  <a:cubicBezTo>
                    <a:pt x="6" y="192"/>
                    <a:pt x="6" y="192"/>
                    <a:pt x="6" y="193"/>
                  </a:cubicBezTo>
                  <a:cubicBezTo>
                    <a:pt x="6" y="193"/>
                    <a:pt x="6" y="193"/>
                    <a:pt x="6" y="193"/>
                  </a:cubicBezTo>
                  <a:cubicBezTo>
                    <a:pt x="6" y="193"/>
                    <a:pt x="6" y="193"/>
                    <a:pt x="6" y="193"/>
                  </a:cubicBezTo>
                  <a:cubicBezTo>
                    <a:pt x="6" y="194"/>
                    <a:pt x="6" y="194"/>
                    <a:pt x="6" y="194"/>
                  </a:cubicBezTo>
                  <a:cubicBezTo>
                    <a:pt x="6" y="194"/>
                    <a:pt x="6" y="194"/>
                    <a:pt x="6" y="194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6" y="195"/>
                    <a:pt x="6" y="195"/>
                    <a:pt x="6" y="196"/>
                  </a:cubicBezTo>
                  <a:cubicBezTo>
                    <a:pt x="6" y="196"/>
                    <a:pt x="6" y="196"/>
                    <a:pt x="6" y="196"/>
                  </a:cubicBezTo>
                  <a:cubicBezTo>
                    <a:pt x="6" y="196"/>
                    <a:pt x="6" y="196"/>
                    <a:pt x="6" y="196"/>
                  </a:cubicBezTo>
                  <a:cubicBezTo>
                    <a:pt x="6" y="196"/>
                    <a:pt x="6" y="196"/>
                    <a:pt x="6" y="197"/>
                  </a:cubicBezTo>
                  <a:cubicBezTo>
                    <a:pt x="6" y="206"/>
                    <a:pt x="6" y="215"/>
                    <a:pt x="5" y="223"/>
                  </a:cubicBezTo>
                  <a:cubicBezTo>
                    <a:pt x="4" y="230"/>
                    <a:pt x="2" y="237"/>
                    <a:pt x="1" y="243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5" y="385"/>
                    <a:pt x="10" y="381"/>
                    <a:pt x="14" y="378"/>
                  </a:cubicBezTo>
                  <a:cubicBezTo>
                    <a:pt x="14" y="376"/>
                    <a:pt x="14" y="376"/>
                    <a:pt x="14" y="376"/>
                  </a:cubicBezTo>
                  <a:cubicBezTo>
                    <a:pt x="14" y="378"/>
                    <a:pt x="14" y="378"/>
                    <a:pt x="14" y="378"/>
                  </a:cubicBezTo>
                  <a:cubicBezTo>
                    <a:pt x="42" y="354"/>
                    <a:pt x="61" y="317"/>
                    <a:pt x="67" y="267"/>
                  </a:cubicBezTo>
                  <a:cubicBezTo>
                    <a:pt x="68" y="256"/>
                    <a:pt x="69" y="245"/>
                    <a:pt x="69" y="233"/>
                  </a:cubicBezTo>
                  <a:cubicBezTo>
                    <a:pt x="69" y="230"/>
                    <a:pt x="69" y="227"/>
                    <a:pt x="69" y="225"/>
                  </a:cubicBezTo>
                  <a:cubicBezTo>
                    <a:pt x="69" y="215"/>
                    <a:pt x="68" y="206"/>
                    <a:pt x="67" y="196"/>
                  </a:cubicBezTo>
                  <a:cubicBezTo>
                    <a:pt x="61" y="131"/>
                    <a:pt x="37" y="62"/>
                    <a:pt x="2" y="0"/>
                  </a:cubicBezTo>
                </a:path>
              </a:pathLst>
            </a:custGeom>
            <a:solidFill>
              <a:srgbClr val="00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6" name="Freeform 35">
              <a:extLst>
                <a:ext uri="{FF2B5EF4-FFF2-40B4-BE49-F238E27FC236}">
                  <a16:creationId xmlns:a16="http://schemas.microsoft.com/office/drawing/2014/main" id="{D44418AC-7309-404B-A780-A7A6FC9D2A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56488" y="5533451"/>
              <a:ext cx="398463" cy="347663"/>
            </a:xfrm>
            <a:custGeom>
              <a:avLst/>
              <a:gdLst>
                <a:gd name="T0" fmla="*/ 251 w 251"/>
                <a:gd name="T1" fmla="*/ 0 h 219"/>
                <a:gd name="T2" fmla="*/ 251 w 251"/>
                <a:gd name="T3" fmla="*/ 73 h 219"/>
                <a:gd name="T4" fmla="*/ 0 w 251"/>
                <a:gd name="T5" fmla="*/ 219 h 219"/>
                <a:gd name="T6" fmla="*/ 0 w 251"/>
                <a:gd name="T7" fmla="*/ 146 h 219"/>
                <a:gd name="T8" fmla="*/ 251 w 251"/>
                <a:gd name="T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219">
                  <a:moveTo>
                    <a:pt x="251" y="0"/>
                  </a:moveTo>
                  <a:lnTo>
                    <a:pt x="251" y="73"/>
                  </a:lnTo>
                  <a:lnTo>
                    <a:pt x="0" y="219"/>
                  </a:lnTo>
                  <a:lnTo>
                    <a:pt x="0" y="146"/>
                  </a:lnTo>
                  <a:lnTo>
                    <a:pt x="251" y="0"/>
                  </a:lnTo>
                  <a:close/>
                </a:path>
              </a:pathLst>
            </a:custGeom>
            <a:solidFill>
              <a:srgbClr val="D4E1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7" name="Freeform 36">
              <a:extLst>
                <a:ext uri="{FF2B5EF4-FFF2-40B4-BE49-F238E27FC236}">
                  <a16:creationId xmlns:a16="http://schemas.microsoft.com/office/drawing/2014/main" id="{15DFF012-4098-419B-A7BF-4CBE3C21E7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92801" y="4863526"/>
              <a:ext cx="1563688" cy="1017588"/>
            </a:xfrm>
            <a:custGeom>
              <a:avLst/>
              <a:gdLst>
                <a:gd name="T0" fmla="*/ 985 w 985"/>
                <a:gd name="T1" fmla="*/ 568 h 641"/>
                <a:gd name="T2" fmla="*/ 985 w 985"/>
                <a:gd name="T3" fmla="*/ 641 h 641"/>
                <a:gd name="T4" fmla="*/ 0 w 985"/>
                <a:gd name="T5" fmla="*/ 73 h 641"/>
                <a:gd name="T6" fmla="*/ 0 w 985"/>
                <a:gd name="T7" fmla="*/ 0 h 641"/>
                <a:gd name="T8" fmla="*/ 985 w 985"/>
                <a:gd name="T9" fmla="*/ 568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5" h="641">
                  <a:moveTo>
                    <a:pt x="985" y="568"/>
                  </a:moveTo>
                  <a:lnTo>
                    <a:pt x="985" y="641"/>
                  </a:lnTo>
                  <a:lnTo>
                    <a:pt x="0" y="73"/>
                  </a:lnTo>
                  <a:lnTo>
                    <a:pt x="0" y="0"/>
                  </a:lnTo>
                  <a:lnTo>
                    <a:pt x="985" y="568"/>
                  </a:lnTo>
                  <a:close/>
                </a:path>
              </a:pathLst>
            </a:custGeom>
            <a:solidFill>
              <a:srgbClr val="AFB4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8" name="Freeform 37">
              <a:extLst>
                <a:ext uri="{FF2B5EF4-FFF2-40B4-BE49-F238E27FC236}">
                  <a16:creationId xmlns:a16="http://schemas.microsoft.com/office/drawing/2014/main" id="{411938D4-AE01-4E20-AFD1-12BB397650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92801" y="4631751"/>
              <a:ext cx="1962150" cy="1133475"/>
            </a:xfrm>
            <a:custGeom>
              <a:avLst/>
              <a:gdLst>
                <a:gd name="T0" fmla="*/ 1236 w 1236"/>
                <a:gd name="T1" fmla="*/ 568 h 714"/>
                <a:gd name="T2" fmla="*/ 985 w 1236"/>
                <a:gd name="T3" fmla="*/ 714 h 714"/>
                <a:gd name="T4" fmla="*/ 0 w 1236"/>
                <a:gd name="T5" fmla="*/ 146 h 714"/>
                <a:gd name="T6" fmla="*/ 251 w 1236"/>
                <a:gd name="T7" fmla="*/ 0 h 714"/>
                <a:gd name="T8" fmla="*/ 1236 w 1236"/>
                <a:gd name="T9" fmla="*/ 568 h 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6" h="714">
                  <a:moveTo>
                    <a:pt x="1236" y="568"/>
                  </a:moveTo>
                  <a:lnTo>
                    <a:pt x="985" y="714"/>
                  </a:lnTo>
                  <a:lnTo>
                    <a:pt x="0" y="146"/>
                  </a:lnTo>
                  <a:lnTo>
                    <a:pt x="251" y="0"/>
                  </a:lnTo>
                  <a:lnTo>
                    <a:pt x="1236" y="568"/>
                  </a:lnTo>
                  <a:close/>
                </a:path>
              </a:pathLst>
            </a:custGeom>
            <a:solidFill>
              <a:srgbClr val="C0CA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9" name="Freeform 38">
              <a:extLst>
                <a:ext uri="{FF2B5EF4-FFF2-40B4-BE49-F238E27FC236}">
                  <a16:creationId xmlns:a16="http://schemas.microsoft.com/office/drawing/2014/main" id="{3C2FDB85-E5F7-4B2F-BC1E-5207C7DC41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97801" y="1324989"/>
              <a:ext cx="2720975" cy="3487738"/>
            </a:xfrm>
            <a:custGeom>
              <a:avLst/>
              <a:gdLst>
                <a:gd name="T0" fmla="*/ 1713 w 1714"/>
                <a:gd name="T1" fmla="*/ 1011 h 2200"/>
                <a:gd name="T2" fmla="*/ 1713 w 1714"/>
                <a:gd name="T3" fmla="*/ 1006 h 2200"/>
                <a:gd name="T4" fmla="*/ 1713 w 1714"/>
                <a:gd name="T5" fmla="*/ 1003 h 2200"/>
                <a:gd name="T6" fmla="*/ 1711 w 1714"/>
                <a:gd name="T7" fmla="*/ 996 h 2200"/>
                <a:gd name="T8" fmla="*/ 1710 w 1714"/>
                <a:gd name="T9" fmla="*/ 991 h 2200"/>
                <a:gd name="T10" fmla="*/ 1709 w 1714"/>
                <a:gd name="T11" fmla="*/ 988 h 2200"/>
                <a:gd name="T12" fmla="*/ 1707 w 1714"/>
                <a:gd name="T13" fmla="*/ 982 h 2200"/>
                <a:gd name="T14" fmla="*/ 1705 w 1714"/>
                <a:gd name="T15" fmla="*/ 977 h 2200"/>
                <a:gd name="T16" fmla="*/ 1704 w 1714"/>
                <a:gd name="T17" fmla="*/ 974 h 2200"/>
                <a:gd name="T18" fmla="*/ 1701 w 1714"/>
                <a:gd name="T19" fmla="*/ 968 h 2200"/>
                <a:gd name="T20" fmla="*/ 1697 w 1714"/>
                <a:gd name="T21" fmla="*/ 962 h 2200"/>
                <a:gd name="T22" fmla="*/ 1695 w 1714"/>
                <a:gd name="T23" fmla="*/ 957 h 2200"/>
                <a:gd name="T24" fmla="*/ 1688 w 1714"/>
                <a:gd name="T25" fmla="*/ 947 h 2200"/>
                <a:gd name="T26" fmla="*/ 1683 w 1714"/>
                <a:gd name="T27" fmla="*/ 941 h 2200"/>
                <a:gd name="T28" fmla="*/ 1679 w 1714"/>
                <a:gd name="T29" fmla="*/ 936 h 2200"/>
                <a:gd name="T30" fmla="*/ 1677 w 1714"/>
                <a:gd name="T31" fmla="*/ 934 h 2200"/>
                <a:gd name="T32" fmla="*/ 1673 w 1714"/>
                <a:gd name="T33" fmla="*/ 930 h 2200"/>
                <a:gd name="T34" fmla="*/ 1668 w 1714"/>
                <a:gd name="T35" fmla="*/ 926 h 2200"/>
                <a:gd name="T36" fmla="*/ 1664 w 1714"/>
                <a:gd name="T37" fmla="*/ 923 h 2200"/>
                <a:gd name="T38" fmla="*/ 1661 w 1714"/>
                <a:gd name="T39" fmla="*/ 921 h 2200"/>
                <a:gd name="T40" fmla="*/ 1656 w 1714"/>
                <a:gd name="T41" fmla="*/ 917 h 2200"/>
                <a:gd name="T42" fmla="*/ 77 w 1714"/>
                <a:gd name="T43" fmla="*/ 6 h 2200"/>
                <a:gd name="T44" fmla="*/ 75 w 1714"/>
                <a:gd name="T45" fmla="*/ 5 h 2200"/>
                <a:gd name="T46" fmla="*/ 70 w 1714"/>
                <a:gd name="T47" fmla="*/ 3 h 2200"/>
                <a:gd name="T48" fmla="*/ 65 w 1714"/>
                <a:gd name="T49" fmla="*/ 2 h 2200"/>
                <a:gd name="T50" fmla="*/ 63 w 1714"/>
                <a:gd name="T51" fmla="*/ 1 h 2200"/>
                <a:gd name="T52" fmla="*/ 58 w 1714"/>
                <a:gd name="T53" fmla="*/ 0 h 2200"/>
                <a:gd name="T54" fmla="*/ 54 w 1714"/>
                <a:gd name="T55" fmla="*/ 0 h 2200"/>
                <a:gd name="T56" fmla="*/ 49 w 1714"/>
                <a:gd name="T57" fmla="*/ 1 h 2200"/>
                <a:gd name="T58" fmla="*/ 45 w 1714"/>
                <a:gd name="T59" fmla="*/ 2 h 2200"/>
                <a:gd name="T60" fmla="*/ 0 w 1714"/>
                <a:gd name="T61" fmla="*/ 28 h 2200"/>
                <a:gd name="T62" fmla="*/ 8 w 1714"/>
                <a:gd name="T63" fmla="*/ 24 h 2200"/>
                <a:gd name="T64" fmla="*/ 18 w 1714"/>
                <a:gd name="T65" fmla="*/ 24 h 2200"/>
                <a:gd name="T66" fmla="*/ 24 w 1714"/>
                <a:gd name="T67" fmla="*/ 25 h 2200"/>
                <a:gd name="T68" fmla="*/ 35 w 1714"/>
                <a:gd name="T69" fmla="*/ 29 h 2200"/>
                <a:gd name="T70" fmla="*/ 1616 w 1714"/>
                <a:gd name="T71" fmla="*/ 941 h 2200"/>
                <a:gd name="T72" fmla="*/ 1627 w 1714"/>
                <a:gd name="T73" fmla="*/ 949 h 2200"/>
                <a:gd name="T74" fmla="*/ 1633 w 1714"/>
                <a:gd name="T75" fmla="*/ 954 h 2200"/>
                <a:gd name="T76" fmla="*/ 1643 w 1714"/>
                <a:gd name="T77" fmla="*/ 965 h 2200"/>
                <a:gd name="T78" fmla="*/ 1654 w 1714"/>
                <a:gd name="T79" fmla="*/ 980 h 2200"/>
                <a:gd name="T80" fmla="*/ 1660 w 1714"/>
                <a:gd name="T81" fmla="*/ 991 h 2200"/>
                <a:gd name="T82" fmla="*/ 1664 w 1714"/>
                <a:gd name="T83" fmla="*/ 998 h 2200"/>
                <a:gd name="T84" fmla="*/ 1669 w 1714"/>
                <a:gd name="T85" fmla="*/ 1012 h 2200"/>
                <a:gd name="T86" fmla="*/ 1671 w 1714"/>
                <a:gd name="T87" fmla="*/ 1020 h 2200"/>
                <a:gd name="T88" fmla="*/ 1673 w 1714"/>
                <a:gd name="T89" fmla="*/ 1034 h 2200"/>
                <a:gd name="T90" fmla="*/ 1670 w 1714"/>
                <a:gd name="T91" fmla="*/ 2200 h 2200"/>
                <a:gd name="T92" fmla="*/ 1714 w 1714"/>
                <a:gd name="T93" fmla="*/ 1015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14" h="2200">
                  <a:moveTo>
                    <a:pt x="1714" y="1015"/>
                  </a:moveTo>
                  <a:cubicBezTo>
                    <a:pt x="1714" y="1014"/>
                    <a:pt x="1714" y="1013"/>
                    <a:pt x="1714" y="1012"/>
                  </a:cubicBezTo>
                  <a:cubicBezTo>
                    <a:pt x="1714" y="1012"/>
                    <a:pt x="1713" y="1011"/>
                    <a:pt x="1713" y="1011"/>
                  </a:cubicBezTo>
                  <a:cubicBezTo>
                    <a:pt x="1713" y="1010"/>
                    <a:pt x="1713" y="1010"/>
                    <a:pt x="1713" y="1010"/>
                  </a:cubicBezTo>
                  <a:cubicBezTo>
                    <a:pt x="1713" y="1009"/>
                    <a:pt x="1713" y="1009"/>
                    <a:pt x="1713" y="1009"/>
                  </a:cubicBezTo>
                  <a:cubicBezTo>
                    <a:pt x="1713" y="1008"/>
                    <a:pt x="1713" y="1007"/>
                    <a:pt x="1713" y="1006"/>
                  </a:cubicBezTo>
                  <a:cubicBezTo>
                    <a:pt x="1713" y="1005"/>
                    <a:pt x="1713" y="1005"/>
                    <a:pt x="1713" y="1004"/>
                  </a:cubicBezTo>
                  <a:cubicBezTo>
                    <a:pt x="1713" y="1003"/>
                    <a:pt x="1713" y="1003"/>
                    <a:pt x="1713" y="1003"/>
                  </a:cubicBezTo>
                  <a:cubicBezTo>
                    <a:pt x="1713" y="1003"/>
                    <a:pt x="1713" y="1003"/>
                    <a:pt x="1713" y="1003"/>
                  </a:cubicBezTo>
                  <a:cubicBezTo>
                    <a:pt x="1712" y="1002"/>
                    <a:pt x="1712" y="1002"/>
                    <a:pt x="1712" y="1001"/>
                  </a:cubicBezTo>
                  <a:cubicBezTo>
                    <a:pt x="1712" y="1000"/>
                    <a:pt x="1712" y="999"/>
                    <a:pt x="1711" y="998"/>
                  </a:cubicBezTo>
                  <a:cubicBezTo>
                    <a:pt x="1711" y="997"/>
                    <a:pt x="1711" y="997"/>
                    <a:pt x="1711" y="996"/>
                  </a:cubicBezTo>
                  <a:cubicBezTo>
                    <a:pt x="1711" y="996"/>
                    <a:pt x="1711" y="996"/>
                    <a:pt x="1711" y="996"/>
                  </a:cubicBezTo>
                  <a:cubicBezTo>
                    <a:pt x="1711" y="995"/>
                    <a:pt x="1711" y="995"/>
                    <a:pt x="1711" y="995"/>
                  </a:cubicBezTo>
                  <a:cubicBezTo>
                    <a:pt x="1711" y="994"/>
                    <a:pt x="1710" y="992"/>
                    <a:pt x="1710" y="991"/>
                  </a:cubicBezTo>
                  <a:cubicBezTo>
                    <a:pt x="1710" y="991"/>
                    <a:pt x="1710" y="990"/>
                    <a:pt x="1709" y="989"/>
                  </a:cubicBezTo>
                  <a:cubicBezTo>
                    <a:pt x="1709" y="989"/>
                    <a:pt x="1709" y="989"/>
                    <a:pt x="1709" y="989"/>
                  </a:cubicBezTo>
                  <a:cubicBezTo>
                    <a:pt x="1709" y="988"/>
                    <a:pt x="1709" y="988"/>
                    <a:pt x="1709" y="988"/>
                  </a:cubicBezTo>
                  <a:cubicBezTo>
                    <a:pt x="1709" y="987"/>
                    <a:pt x="1708" y="986"/>
                    <a:pt x="1708" y="985"/>
                  </a:cubicBezTo>
                  <a:cubicBezTo>
                    <a:pt x="1708" y="984"/>
                    <a:pt x="1707" y="983"/>
                    <a:pt x="1707" y="982"/>
                  </a:cubicBezTo>
                  <a:cubicBezTo>
                    <a:pt x="1707" y="982"/>
                    <a:pt x="1707" y="982"/>
                    <a:pt x="1707" y="982"/>
                  </a:cubicBezTo>
                  <a:cubicBezTo>
                    <a:pt x="1707" y="981"/>
                    <a:pt x="1707" y="981"/>
                    <a:pt x="1707" y="981"/>
                  </a:cubicBezTo>
                  <a:cubicBezTo>
                    <a:pt x="1706" y="981"/>
                    <a:pt x="1706" y="980"/>
                    <a:pt x="1706" y="980"/>
                  </a:cubicBezTo>
                  <a:cubicBezTo>
                    <a:pt x="1706" y="979"/>
                    <a:pt x="1705" y="978"/>
                    <a:pt x="1705" y="977"/>
                  </a:cubicBezTo>
                  <a:cubicBezTo>
                    <a:pt x="1705" y="976"/>
                    <a:pt x="1704" y="975"/>
                    <a:pt x="1704" y="975"/>
                  </a:cubicBezTo>
                  <a:cubicBezTo>
                    <a:pt x="1704" y="974"/>
                    <a:pt x="1704" y="974"/>
                    <a:pt x="1704" y="974"/>
                  </a:cubicBezTo>
                  <a:cubicBezTo>
                    <a:pt x="1704" y="974"/>
                    <a:pt x="1704" y="974"/>
                    <a:pt x="1704" y="974"/>
                  </a:cubicBezTo>
                  <a:cubicBezTo>
                    <a:pt x="1703" y="973"/>
                    <a:pt x="1703" y="972"/>
                    <a:pt x="1702" y="971"/>
                  </a:cubicBezTo>
                  <a:cubicBezTo>
                    <a:pt x="1702" y="970"/>
                    <a:pt x="1701" y="969"/>
                    <a:pt x="1701" y="968"/>
                  </a:cubicBezTo>
                  <a:cubicBezTo>
                    <a:pt x="1701" y="968"/>
                    <a:pt x="1701" y="968"/>
                    <a:pt x="1701" y="968"/>
                  </a:cubicBezTo>
                  <a:cubicBezTo>
                    <a:pt x="1700" y="967"/>
                    <a:pt x="1700" y="967"/>
                    <a:pt x="1700" y="967"/>
                  </a:cubicBezTo>
                  <a:cubicBezTo>
                    <a:pt x="1700" y="966"/>
                    <a:pt x="1700" y="965"/>
                    <a:pt x="1699" y="965"/>
                  </a:cubicBezTo>
                  <a:cubicBezTo>
                    <a:pt x="1699" y="964"/>
                    <a:pt x="1698" y="963"/>
                    <a:pt x="1697" y="962"/>
                  </a:cubicBezTo>
                  <a:cubicBezTo>
                    <a:pt x="1697" y="961"/>
                    <a:pt x="1697" y="961"/>
                    <a:pt x="1697" y="960"/>
                  </a:cubicBezTo>
                  <a:cubicBezTo>
                    <a:pt x="1696" y="960"/>
                    <a:pt x="1696" y="960"/>
                    <a:pt x="1696" y="960"/>
                  </a:cubicBezTo>
                  <a:cubicBezTo>
                    <a:pt x="1696" y="959"/>
                    <a:pt x="1695" y="958"/>
                    <a:pt x="1695" y="957"/>
                  </a:cubicBezTo>
                  <a:cubicBezTo>
                    <a:pt x="1694" y="956"/>
                    <a:pt x="1693" y="955"/>
                    <a:pt x="1692" y="953"/>
                  </a:cubicBezTo>
                  <a:cubicBezTo>
                    <a:pt x="1692" y="953"/>
                    <a:pt x="1692" y="953"/>
                    <a:pt x="1692" y="953"/>
                  </a:cubicBezTo>
                  <a:cubicBezTo>
                    <a:pt x="1691" y="951"/>
                    <a:pt x="1690" y="949"/>
                    <a:pt x="1688" y="947"/>
                  </a:cubicBezTo>
                  <a:cubicBezTo>
                    <a:pt x="1687" y="946"/>
                    <a:pt x="1687" y="945"/>
                    <a:pt x="1686" y="944"/>
                  </a:cubicBezTo>
                  <a:cubicBezTo>
                    <a:pt x="1685" y="943"/>
                    <a:pt x="1684" y="942"/>
                    <a:pt x="1684" y="941"/>
                  </a:cubicBezTo>
                  <a:cubicBezTo>
                    <a:pt x="1683" y="941"/>
                    <a:pt x="1683" y="941"/>
                    <a:pt x="1683" y="941"/>
                  </a:cubicBezTo>
                  <a:cubicBezTo>
                    <a:pt x="1683" y="941"/>
                    <a:pt x="1683" y="941"/>
                    <a:pt x="1683" y="941"/>
                  </a:cubicBezTo>
                  <a:cubicBezTo>
                    <a:pt x="1683" y="940"/>
                    <a:pt x="1682" y="940"/>
                    <a:pt x="1681" y="939"/>
                  </a:cubicBezTo>
                  <a:cubicBezTo>
                    <a:pt x="1680" y="938"/>
                    <a:pt x="1680" y="937"/>
                    <a:pt x="1679" y="936"/>
                  </a:cubicBezTo>
                  <a:cubicBezTo>
                    <a:pt x="1679" y="936"/>
                    <a:pt x="1679" y="936"/>
                    <a:pt x="1679" y="936"/>
                  </a:cubicBezTo>
                  <a:cubicBezTo>
                    <a:pt x="1678" y="935"/>
                    <a:pt x="1678" y="935"/>
                    <a:pt x="1678" y="935"/>
                  </a:cubicBezTo>
                  <a:cubicBezTo>
                    <a:pt x="1678" y="935"/>
                    <a:pt x="1677" y="934"/>
                    <a:pt x="1677" y="934"/>
                  </a:cubicBezTo>
                  <a:cubicBezTo>
                    <a:pt x="1676" y="933"/>
                    <a:pt x="1675" y="932"/>
                    <a:pt x="1674" y="931"/>
                  </a:cubicBezTo>
                  <a:cubicBezTo>
                    <a:pt x="1673" y="931"/>
                    <a:pt x="1673" y="931"/>
                    <a:pt x="1673" y="931"/>
                  </a:cubicBezTo>
                  <a:cubicBezTo>
                    <a:pt x="1673" y="930"/>
                    <a:pt x="1673" y="930"/>
                    <a:pt x="1673" y="930"/>
                  </a:cubicBezTo>
                  <a:cubicBezTo>
                    <a:pt x="1672" y="930"/>
                    <a:pt x="1672" y="929"/>
                    <a:pt x="1672" y="929"/>
                  </a:cubicBezTo>
                  <a:cubicBezTo>
                    <a:pt x="1671" y="928"/>
                    <a:pt x="1670" y="927"/>
                    <a:pt x="1669" y="927"/>
                  </a:cubicBezTo>
                  <a:cubicBezTo>
                    <a:pt x="1669" y="926"/>
                    <a:pt x="1668" y="926"/>
                    <a:pt x="1668" y="926"/>
                  </a:cubicBezTo>
                  <a:cubicBezTo>
                    <a:pt x="1667" y="925"/>
                    <a:pt x="1667" y="925"/>
                    <a:pt x="1667" y="925"/>
                  </a:cubicBezTo>
                  <a:cubicBezTo>
                    <a:pt x="1666" y="925"/>
                    <a:pt x="1666" y="925"/>
                    <a:pt x="1666" y="925"/>
                  </a:cubicBezTo>
                  <a:cubicBezTo>
                    <a:pt x="1666" y="924"/>
                    <a:pt x="1665" y="923"/>
                    <a:pt x="1664" y="923"/>
                  </a:cubicBezTo>
                  <a:cubicBezTo>
                    <a:pt x="1663" y="922"/>
                    <a:pt x="1663" y="922"/>
                    <a:pt x="1662" y="921"/>
                  </a:cubicBezTo>
                  <a:cubicBezTo>
                    <a:pt x="1662" y="921"/>
                    <a:pt x="1662" y="921"/>
                    <a:pt x="1662" y="921"/>
                  </a:cubicBezTo>
                  <a:cubicBezTo>
                    <a:pt x="1661" y="921"/>
                    <a:pt x="1661" y="921"/>
                    <a:pt x="1661" y="921"/>
                  </a:cubicBezTo>
                  <a:cubicBezTo>
                    <a:pt x="1661" y="920"/>
                    <a:pt x="1660" y="920"/>
                    <a:pt x="1659" y="919"/>
                  </a:cubicBezTo>
                  <a:cubicBezTo>
                    <a:pt x="1658" y="919"/>
                    <a:pt x="1657" y="918"/>
                    <a:pt x="1656" y="918"/>
                  </a:cubicBezTo>
                  <a:cubicBezTo>
                    <a:pt x="1656" y="917"/>
                    <a:pt x="1656" y="917"/>
                    <a:pt x="1656" y="917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1" y="8"/>
                    <a:pt x="80" y="8"/>
                    <a:pt x="79" y="7"/>
                  </a:cubicBezTo>
                  <a:cubicBezTo>
                    <a:pt x="79" y="7"/>
                    <a:pt x="78" y="6"/>
                    <a:pt x="77" y="6"/>
                  </a:cubicBezTo>
                  <a:cubicBezTo>
                    <a:pt x="77" y="6"/>
                    <a:pt x="76" y="6"/>
                    <a:pt x="76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4" y="5"/>
                    <a:pt x="73" y="4"/>
                    <a:pt x="72" y="4"/>
                  </a:cubicBezTo>
                  <a:cubicBezTo>
                    <a:pt x="72" y="4"/>
                    <a:pt x="71" y="3"/>
                    <a:pt x="70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9" y="3"/>
                    <a:pt x="68" y="2"/>
                    <a:pt x="68" y="2"/>
                  </a:cubicBezTo>
                  <a:cubicBezTo>
                    <a:pt x="67" y="2"/>
                    <a:pt x="66" y="2"/>
                    <a:pt x="65" y="2"/>
                  </a:cubicBezTo>
                  <a:cubicBezTo>
                    <a:pt x="65" y="2"/>
                    <a:pt x="65" y="1"/>
                    <a:pt x="64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1" y="1"/>
                    <a:pt x="60" y="1"/>
                  </a:cubicBezTo>
                  <a:cubicBezTo>
                    <a:pt x="60" y="1"/>
                    <a:pt x="59" y="1"/>
                    <a:pt x="59" y="1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0"/>
                    <a:pt x="55" y="0"/>
                  </a:cubicBezTo>
                  <a:cubicBezTo>
                    <a:pt x="55" y="0"/>
                    <a:pt x="54" y="0"/>
                    <a:pt x="5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1" y="1"/>
                    <a:pt x="50" y="1"/>
                    <a:pt x="49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7" y="1"/>
                    <a:pt x="46" y="2"/>
                    <a:pt x="45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3" y="3"/>
                    <a:pt x="41" y="3"/>
                    <a:pt x="40" y="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" y="27"/>
                    <a:pt x="3" y="26"/>
                    <a:pt x="4" y="26"/>
                  </a:cubicBezTo>
                  <a:cubicBezTo>
                    <a:pt x="5" y="25"/>
                    <a:pt x="6" y="25"/>
                    <a:pt x="8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10" y="24"/>
                    <a:pt x="11" y="24"/>
                    <a:pt x="13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5" y="24"/>
                    <a:pt x="17" y="24"/>
                    <a:pt x="1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0" y="24"/>
                    <a:pt x="22" y="24"/>
                    <a:pt x="23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6" y="25"/>
                    <a:pt x="27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1" y="27"/>
                    <a:pt x="33" y="28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7" y="30"/>
                    <a:pt x="39" y="31"/>
                    <a:pt x="41" y="32"/>
                  </a:cubicBezTo>
                  <a:cubicBezTo>
                    <a:pt x="1616" y="941"/>
                    <a:pt x="1616" y="941"/>
                    <a:pt x="1616" y="941"/>
                  </a:cubicBezTo>
                  <a:cubicBezTo>
                    <a:pt x="1617" y="942"/>
                    <a:pt x="1619" y="943"/>
                    <a:pt x="1621" y="944"/>
                  </a:cubicBezTo>
                  <a:cubicBezTo>
                    <a:pt x="1622" y="945"/>
                    <a:pt x="1622" y="945"/>
                    <a:pt x="1622" y="945"/>
                  </a:cubicBezTo>
                  <a:cubicBezTo>
                    <a:pt x="1623" y="946"/>
                    <a:pt x="1625" y="947"/>
                    <a:pt x="1627" y="949"/>
                  </a:cubicBezTo>
                  <a:cubicBezTo>
                    <a:pt x="1628" y="949"/>
                    <a:pt x="1628" y="949"/>
                    <a:pt x="1628" y="949"/>
                  </a:cubicBezTo>
                  <a:cubicBezTo>
                    <a:pt x="1629" y="951"/>
                    <a:pt x="1631" y="952"/>
                    <a:pt x="1632" y="953"/>
                  </a:cubicBezTo>
                  <a:cubicBezTo>
                    <a:pt x="1633" y="954"/>
                    <a:pt x="1633" y="954"/>
                    <a:pt x="1633" y="954"/>
                  </a:cubicBezTo>
                  <a:cubicBezTo>
                    <a:pt x="1635" y="956"/>
                    <a:pt x="1636" y="957"/>
                    <a:pt x="1638" y="959"/>
                  </a:cubicBezTo>
                  <a:cubicBezTo>
                    <a:pt x="1638" y="959"/>
                    <a:pt x="1638" y="959"/>
                    <a:pt x="1638" y="959"/>
                  </a:cubicBezTo>
                  <a:cubicBezTo>
                    <a:pt x="1640" y="961"/>
                    <a:pt x="1642" y="963"/>
                    <a:pt x="1643" y="965"/>
                  </a:cubicBezTo>
                  <a:cubicBezTo>
                    <a:pt x="1643" y="965"/>
                    <a:pt x="1643" y="965"/>
                    <a:pt x="1643" y="965"/>
                  </a:cubicBezTo>
                  <a:cubicBezTo>
                    <a:pt x="1646" y="969"/>
                    <a:pt x="1649" y="973"/>
                    <a:pt x="1652" y="977"/>
                  </a:cubicBezTo>
                  <a:cubicBezTo>
                    <a:pt x="1653" y="978"/>
                    <a:pt x="1654" y="979"/>
                    <a:pt x="1654" y="980"/>
                  </a:cubicBezTo>
                  <a:cubicBezTo>
                    <a:pt x="1655" y="982"/>
                    <a:pt x="1656" y="983"/>
                    <a:pt x="1656" y="984"/>
                  </a:cubicBezTo>
                  <a:cubicBezTo>
                    <a:pt x="1657" y="984"/>
                    <a:pt x="1657" y="985"/>
                    <a:pt x="1657" y="985"/>
                  </a:cubicBezTo>
                  <a:cubicBezTo>
                    <a:pt x="1658" y="987"/>
                    <a:pt x="1659" y="989"/>
                    <a:pt x="1660" y="991"/>
                  </a:cubicBezTo>
                  <a:cubicBezTo>
                    <a:pt x="1660" y="991"/>
                    <a:pt x="1660" y="991"/>
                    <a:pt x="1660" y="991"/>
                  </a:cubicBezTo>
                  <a:cubicBezTo>
                    <a:pt x="1661" y="993"/>
                    <a:pt x="1663" y="996"/>
                    <a:pt x="1663" y="998"/>
                  </a:cubicBezTo>
                  <a:cubicBezTo>
                    <a:pt x="1664" y="998"/>
                    <a:pt x="1664" y="998"/>
                    <a:pt x="1664" y="998"/>
                  </a:cubicBezTo>
                  <a:cubicBezTo>
                    <a:pt x="1665" y="1000"/>
                    <a:pt x="1666" y="1003"/>
                    <a:pt x="1666" y="1005"/>
                  </a:cubicBezTo>
                  <a:cubicBezTo>
                    <a:pt x="1667" y="1005"/>
                    <a:pt x="1667" y="1005"/>
                    <a:pt x="1667" y="1005"/>
                  </a:cubicBezTo>
                  <a:cubicBezTo>
                    <a:pt x="1667" y="1008"/>
                    <a:pt x="1668" y="1010"/>
                    <a:pt x="1669" y="1012"/>
                  </a:cubicBezTo>
                  <a:cubicBezTo>
                    <a:pt x="1669" y="1013"/>
                    <a:pt x="1669" y="1013"/>
                    <a:pt x="1669" y="1013"/>
                  </a:cubicBezTo>
                  <a:cubicBezTo>
                    <a:pt x="1670" y="1015"/>
                    <a:pt x="1670" y="1017"/>
                    <a:pt x="1671" y="1019"/>
                  </a:cubicBezTo>
                  <a:cubicBezTo>
                    <a:pt x="1671" y="1020"/>
                    <a:pt x="1671" y="1020"/>
                    <a:pt x="1671" y="1020"/>
                  </a:cubicBezTo>
                  <a:cubicBezTo>
                    <a:pt x="1671" y="1022"/>
                    <a:pt x="1672" y="1025"/>
                    <a:pt x="1672" y="1027"/>
                  </a:cubicBezTo>
                  <a:cubicBezTo>
                    <a:pt x="1672" y="1027"/>
                    <a:pt x="1672" y="1027"/>
                    <a:pt x="1672" y="1027"/>
                  </a:cubicBezTo>
                  <a:cubicBezTo>
                    <a:pt x="1673" y="1029"/>
                    <a:pt x="1673" y="1031"/>
                    <a:pt x="1673" y="1034"/>
                  </a:cubicBezTo>
                  <a:cubicBezTo>
                    <a:pt x="1673" y="1034"/>
                    <a:pt x="1673" y="1034"/>
                    <a:pt x="1673" y="1034"/>
                  </a:cubicBezTo>
                  <a:cubicBezTo>
                    <a:pt x="1673" y="1037"/>
                    <a:pt x="1673" y="1039"/>
                    <a:pt x="1673" y="1041"/>
                  </a:cubicBezTo>
                  <a:cubicBezTo>
                    <a:pt x="1670" y="2200"/>
                    <a:pt x="1670" y="2200"/>
                    <a:pt x="1670" y="2200"/>
                  </a:cubicBezTo>
                  <a:cubicBezTo>
                    <a:pt x="1710" y="2177"/>
                    <a:pt x="1710" y="2177"/>
                    <a:pt x="1710" y="2177"/>
                  </a:cubicBezTo>
                  <a:cubicBezTo>
                    <a:pt x="1714" y="1018"/>
                    <a:pt x="1714" y="1018"/>
                    <a:pt x="1714" y="1018"/>
                  </a:cubicBezTo>
                  <a:cubicBezTo>
                    <a:pt x="1714" y="1017"/>
                    <a:pt x="1714" y="1016"/>
                    <a:pt x="1714" y="1015"/>
                  </a:cubicBezTo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0" name="Freeform 39">
              <a:extLst>
                <a:ext uri="{FF2B5EF4-FFF2-40B4-BE49-F238E27FC236}">
                  <a16:creationId xmlns:a16="http://schemas.microsoft.com/office/drawing/2014/main" id="{2C5E9131-F8A6-4F2F-9323-69B38677E0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4463" y="1345626"/>
              <a:ext cx="2689225" cy="3467100"/>
            </a:xfrm>
            <a:custGeom>
              <a:avLst/>
              <a:gdLst>
                <a:gd name="T0" fmla="*/ 1637 w 1694"/>
                <a:gd name="T1" fmla="*/ 928 h 2187"/>
                <a:gd name="T2" fmla="*/ 1694 w 1694"/>
                <a:gd name="T3" fmla="*/ 1028 h 2187"/>
                <a:gd name="T4" fmla="*/ 1691 w 1694"/>
                <a:gd name="T5" fmla="*/ 2187 h 2187"/>
                <a:gd name="T6" fmla="*/ 0 w 1694"/>
                <a:gd name="T7" fmla="*/ 1211 h 2187"/>
                <a:gd name="T8" fmla="*/ 4 w 1694"/>
                <a:gd name="T9" fmla="*/ 52 h 2187"/>
                <a:gd name="T10" fmla="*/ 62 w 1694"/>
                <a:gd name="T11" fmla="*/ 19 h 2187"/>
                <a:gd name="T12" fmla="*/ 1637 w 1694"/>
                <a:gd name="T13" fmla="*/ 928 h 2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4" h="2187">
                  <a:moveTo>
                    <a:pt x="1637" y="928"/>
                  </a:moveTo>
                  <a:cubicBezTo>
                    <a:pt x="1669" y="946"/>
                    <a:pt x="1694" y="991"/>
                    <a:pt x="1694" y="1028"/>
                  </a:cubicBezTo>
                  <a:cubicBezTo>
                    <a:pt x="1691" y="2187"/>
                    <a:pt x="1691" y="2187"/>
                    <a:pt x="1691" y="2187"/>
                  </a:cubicBezTo>
                  <a:cubicBezTo>
                    <a:pt x="0" y="1211"/>
                    <a:pt x="0" y="1211"/>
                    <a:pt x="0" y="1211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15"/>
                    <a:pt x="30" y="0"/>
                    <a:pt x="62" y="19"/>
                  </a:cubicBezTo>
                  <a:cubicBezTo>
                    <a:pt x="1637" y="928"/>
                    <a:pt x="1637" y="928"/>
                    <a:pt x="1637" y="928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1" name="Freeform 40">
              <a:extLst>
                <a:ext uri="{FF2B5EF4-FFF2-40B4-BE49-F238E27FC236}">
                  <a16:creationId xmlns:a16="http://schemas.microsoft.com/office/drawing/2014/main" id="{5EE25F56-99F7-40BB-9CA5-F1FA2D2117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77276" y="4807964"/>
              <a:ext cx="1774825" cy="1017588"/>
            </a:xfrm>
            <a:custGeom>
              <a:avLst/>
              <a:gdLst>
                <a:gd name="T0" fmla="*/ 108 w 1118"/>
                <a:gd name="T1" fmla="*/ 586 h 642"/>
                <a:gd name="T2" fmla="*/ 99 w 1118"/>
                <a:gd name="T3" fmla="*/ 589 h 642"/>
                <a:gd name="T4" fmla="*/ 93 w 1118"/>
                <a:gd name="T5" fmla="*/ 591 h 642"/>
                <a:gd name="T6" fmla="*/ 85 w 1118"/>
                <a:gd name="T7" fmla="*/ 593 h 642"/>
                <a:gd name="T8" fmla="*/ 73 w 1118"/>
                <a:gd name="T9" fmla="*/ 595 h 642"/>
                <a:gd name="T10" fmla="*/ 64 w 1118"/>
                <a:gd name="T11" fmla="*/ 596 h 642"/>
                <a:gd name="T12" fmla="*/ 56 w 1118"/>
                <a:gd name="T13" fmla="*/ 596 h 642"/>
                <a:gd name="T14" fmla="*/ 48 w 1118"/>
                <a:gd name="T15" fmla="*/ 595 h 642"/>
                <a:gd name="T16" fmla="*/ 40 w 1118"/>
                <a:gd name="T17" fmla="*/ 595 h 642"/>
                <a:gd name="T18" fmla="*/ 32 w 1118"/>
                <a:gd name="T19" fmla="*/ 593 h 642"/>
                <a:gd name="T20" fmla="*/ 24 w 1118"/>
                <a:gd name="T21" fmla="*/ 591 h 642"/>
                <a:gd name="T22" fmla="*/ 12 w 1118"/>
                <a:gd name="T23" fmla="*/ 588 h 642"/>
                <a:gd name="T24" fmla="*/ 0 w 1118"/>
                <a:gd name="T25" fmla="*/ 582 h 642"/>
                <a:gd name="T26" fmla="*/ 11 w 1118"/>
                <a:gd name="T27" fmla="*/ 634 h 642"/>
                <a:gd name="T28" fmla="*/ 12 w 1118"/>
                <a:gd name="T29" fmla="*/ 634 h 642"/>
                <a:gd name="T30" fmla="*/ 22 w 1118"/>
                <a:gd name="T31" fmla="*/ 638 h 642"/>
                <a:gd name="T32" fmla="*/ 29 w 1118"/>
                <a:gd name="T33" fmla="*/ 639 h 642"/>
                <a:gd name="T34" fmla="*/ 32 w 1118"/>
                <a:gd name="T35" fmla="*/ 640 h 642"/>
                <a:gd name="T36" fmla="*/ 38 w 1118"/>
                <a:gd name="T37" fmla="*/ 641 h 642"/>
                <a:gd name="T38" fmla="*/ 44 w 1118"/>
                <a:gd name="T39" fmla="*/ 642 h 642"/>
                <a:gd name="T40" fmla="*/ 48 w 1118"/>
                <a:gd name="T41" fmla="*/ 642 h 642"/>
                <a:gd name="T42" fmla="*/ 54 w 1118"/>
                <a:gd name="T43" fmla="*/ 642 h 642"/>
                <a:gd name="T44" fmla="*/ 60 w 1118"/>
                <a:gd name="T45" fmla="*/ 642 h 642"/>
                <a:gd name="T46" fmla="*/ 64 w 1118"/>
                <a:gd name="T47" fmla="*/ 642 h 642"/>
                <a:gd name="T48" fmla="*/ 72 w 1118"/>
                <a:gd name="T49" fmla="*/ 642 h 642"/>
                <a:gd name="T50" fmla="*/ 82 w 1118"/>
                <a:gd name="T51" fmla="*/ 640 h 642"/>
                <a:gd name="T52" fmla="*/ 85 w 1118"/>
                <a:gd name="T53" fmla="*/ 640 h 642"/>
                <a:gd name="T54" fmla="*/ 93 w 1118"/>
                <a:gd name="T55" fmla="*/ 638 h 642"/>
                <a:gd name="T56" fmla="*/ 98 w 1118"/>
                <a:gd name="T57" fmla="*/ 636 h 642"/>
                <a:gd name="T58" fmla="*/ 106 w 1118"/>
                <a:gd name="T59" fmla="*/ 633 h 642"/>
                <a:gd name="T60" fmla="*/ 116 w 1118"/>
                <a:gd name="T61" fmla="*/ 629 h 642"/>
                <a:gd name="T62" fmla="*/ 1118 w 1118"/>
                <a:gd name="T63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18" h="642">
                  <a:moveTo>
                    <a:pt x="116" y="582"/>
                  </a:moveTo>
                  <a:cubicBezTo>
                    <a:pt x="113" y="583"/>
                    <a:pt x="111" y="585"/>
                    <a:pt x="108" y="586"/>
                  </a:cubicBezTo>
                  <a:cubicBezTo>
                    <a:pt x="107" y="586"/>
                    <a:pt x="106" y="586"/>
                    <a:pt x="106" y="587"/>
                  </a:cubicBezTo>
                  <a:cubicBezTo>
                    <a:pt x="104" y="588"/>
                    <a:pt x="101" y="588"/>
                    <a:pt x="99" y="589"/>
                  </a:cubicBezTo>
                  <a:cubicBezTo>
                    <a:pt x="98" y="589"/>
                    <a:pt x="98" y="590"/>
                    <a:pt x="97" y="590"/>
                  </a:cubicBezTo>
                  <a:cubicBezTo>
                    <a:pt x="96" y="590"/>
                    <a:pt x="94" y="591"/>
                    <a:pt x="93" y="591"/>
                  </a:cubicBezTo>
                  <a:cubicBezTo>
                    <a:pt x="92" y="592"/>
                    <a:pt x="91" y="592"/>
                    <a:pt x="90" y="592"/>
                  </a:cubicBezTo>
                  <a:cubicBezTo>
                    <a:pt x="88" y="592"/>
                    <a:pt x="86" y="593"/>
                    <a:pt x="85" y="593"/>
                  </a:cubicBezTo>
                  <a:cubicBezTo>
                    <a:pt x="84" y="593"/>
                    <a:pt x="83" y="594"/>
                    <a:pt x="82" y="594"/>
                  </a:cubicBezTo>
                  <a:cubicBezTo>
                    <a:pt x="79" y="594"/>
                    <a:pt x="76" y="595"/>
                    <a:pt x="73" y="595"/>
                  </a:cubicBezTo>
                  <a:cubicBezTo>
                    <a:pt x="72" y="595"/>
                    <a:pt x="71" y="595"/>
                    <a:pt x="70" y="595"/>
                  </a:cubicBezTo>
                  <a:cubicBezTo>
                    <a:pt x="68" y="595"/>
                    <a:pt x="66" y="596"/>
                    <a:pt x="64" y="596"/>
                  </a:cubicBezTo>
                  <a:cubicBezTo>
                    <a:pt x="63" y="596"/>
                    <a:pt x="62" y="596"/>
                    <a:pt x="61" y="596"/>
                  </a:cubicBezTo>
                  <a:cubicBezTo>
                    <a:pt x="59" y="596"/>
                    <a:pt x="58" y="596"/>
                    <a:pt x="56" y="596"/>
                  </a:cubicBezTo>
                  <a:cubicBezTo>
                    <a:pt x="55" y="596"/>
                    <a:pt x="54" y="596"/>
                    <a:pt x="52" y="596"/>
                  </a:cubicBezTo>
                  <a:cubicBezTo>
                    <a:pt x="51" y="596"/>
                    <a:pt x="50" y="595"/>
                    <a:pt x="48" y="595"/>
                  </a:cubicBezTo>
                  <a:cubicBezTo>
                    <a:pt x="47" y="595"/>
                    <a:pt x="46" y="595"/>
                    <a:pt x="44" y="595"/>
                  </a:cubicBezTo>
                  <a:cubicBezTo>
                    <a:pt x="43" y="595"/>
                    <a:pt x="42" y="595"/>
                    <a:pt x="40" y="595"/>
                  </a:cubicBezTo>
                  <a:cubicBezTo>
                    <a:pt x="39" y="594"/>
                    <a:pt x="38" y="594"/>
                    <a:pt x="37" y="594"/>
                  </a:cubicBezTo>
                  <a:cubicBezTo>
                    <a:pt x="35" y="594"/>
                    <a:pt x="34" y="594"/>
                    <a:pt x="32" y="593"/>
                  </a:cubicBezTo>
                  <a:cubicBezTo>
                    <a:pt x="31" y="593"/>
                    <a:pt x="30" y="593"/>
                    <a:pt x="29" y="593"/>
                  </a:cubicBezTo>
                  <a:cubicBezTo>
                    <a:pt x="27" y="592"/>
                    <a:pt x="26" y="592"/>
                    <a:pt x="24" y="591"/>
                  </a:cubicBezTo>
                  <a:cubicBezTo>
                    <a:pt x="23" y="591"/>
                    <a:pt x="22" y="591"/>
                    <a:pt x="21" y="591"/>
                  </a:cubicBezTo>
                  <a:cubicBezTo>
                    <a:pt x="18" y="590"/>
                    <a:pt x="15" y="589"/>
                    <a:pt x="12" y="588"/>
                  </a:cubicBezTo>
                  <a:cubicBezTo>
                    <a:pt x="12" y="588"/>
                    <a:pt x="11" y="587"/>
                    <a:pt x="11" y="587"/>
                  </a:cubicBezTo>
                  <a:cubicBezTo>
                    <a:pt x="7" y="586"/>
                    <a:pt x="4" y="584"/>
                    <a:pt x="0" y="582"/>
                  </a:cubicBezTo>
                  <a:cubicBezTo>
                    <a:pt x="0" y="629"/>
                    <a:pt x="0" y="629"/>
                    <a:pt x="0" y="629"/>
                  </a:cubicBezTo>
                  <a:cubicBezTo>
                    <a:pt x="3" y="631"/>
                    <a:pt x="7" y="632"/>
                    <a:pt x="11" y="634"/>
                  </a:cubicBezTo>
                  <a:cubicBezTo>
                    <a:pt x="12" y="634"/>
                    <a:pt x="12" y="634"/>
                    <a:pt x="12" y="634"/>
                  </a:cubicBezTo>
                  <a:cubicBezTo>
                    <a:pt x="12" y="634"/>
                    <a:pt x="12" y="634"/>
                    <a:pt x="12" y="634"/>
                  </a:cubicBezTo>
                  <a:cubicBezTo>
                    <a:pt x="15" y="635"/>
                    <a:pt x="18" y="636"/>
                    <a:pt x="21" y="637"/>
                  </a:cubicBezTo>
                  <a:cubicBezTo>
                    <a:pt x="22" y="638"/>
                    <a:pt x="22" y="638"/>
                    <a:pt x="22" y="638"/>
                  </a:cubicBezTo>
                  <a:cubicBezTo>
                    <a:pt x="22" y="638"/>
                    <a:pt x="23" y="638"/>
                    <a:pt x="24" y="638"/>
                  </a:cubicBezTo>
                  <a:cubicBezTo>
                    <a:pt x="25" y="639"/>
                    <a:pt x="27" y="639"/>
                    <a:pt x="29" y="639"/>
                  </a:cubicBezTo>
                  <a:cubicBezTo>
                    <a:pt x="29" y="639"/>
                    <a:pt x="30" y="640"/>
                    <a:pt x="30" y="640"/>
                  </a:cubicBezTo>
                  <a:cubicBezTo>
                    <a:pt x="31" y="640"/>
                    <a:pt x="32" y="640"/>
                    <a:pt x="32" y="640"/>
                  </a:cubicBezTo>
                  <a:cubicBezTo>
                    <a:pt x="34" y="640"/>
                    <a:pt x="35" y="641"/>
                    <a:pt x="37" y="641"/>
                  </a:cubicBezTo>
                  <a:cubicBezTo>
                    <a:pt x="37" y="641"/>
                    <a:pt x="38" y="641"/>
                    <a:pt x="38" y="641"/>
                  </a:cubicBezTo>
                  <a:cubicBezTo>
                    <a:pt x="39" y="641"/>
                    <a:pt x="40" y="641"/>
                    <a:pt x="40" y="641"/>
                  </a:cubicBezTo>
                  <a:cubicBezTo>
                    <a:pt x="42" y="641"/>
                    <a:pt x="43" y="642"/>
                    <a:pt x="44" y="642"/>
                  </a:cubicBezTo>
                  <a:cubicBezTo>
                    <a:pt x="45" y="642"/>
                    <a:pt x="46" y="642"/>
                    <a:pt x="46" y="642"/>
                  </a:cubicBezTo>
                  <a:cubicBezTo>
                    <a:pt x="47" y="642"/>
                    <a:pt x="47" y="642"/>
                    <a:pt x="48" y="642"/>
                  </a:cubicBezTo>
                  <a:cubicBezTo>
                    <a:pt x="49" y="642"/>
                    <a:pt x="51" y="642"/>
                    <a:pt x="52" y="642"/>
                  </a:cubicBezTo>
                  <a:cubicBezTo>
                    <a:pt x="53" y="642"/>
                    <a:pt x="54" y="642"/>
                    <a:pt x="54" y="642"/>
                  </a:cubicBezTo>
                  <a:cubicBezTo>
                    <a:pt x="55" y="642"/>
                    <a:pt x="55" y="642"/>
                    <a:pt x="56" y="642"/>
                  </a:cubicBezTo>
                  <a:cubicBezTo>
                    <a:pt x="57" y="642"/>
                    <a:pt x="59" y="642"/>
                    <a:pt x="60" y="642"/>
                  </a:cubicBezTo>
                  <a:cubicBezTo>
                    <a:pt x="61" y="642"/>
                    <a:pt x="62" y="642"/>
                    <a:pt x="63" y="642"/>
                  </a:cubicBezTo>
                  <a:cubicBezTo>
                    <a:pt x="63" y="642"/>
                    <a:pt x="64" y="642"/>
                    <a:pt x="64" y="642"/>
                  </a:cubicBezTo>
                  <a:cubicBezTo>
                    <a:pt x="66" y="642"/>
                    <a:pt x="68" y="642"/>
                    <a:pt x="70" y="642"/>
                  </a:cubicBezTo>
                  <a:cubicBezTo>
                    <a:pt x="70" y="642"/>
                    <a:pt x="71" y="642"/>
                    <a:pt x="72" y="642"/>
                  </a:cubicBezTo>
                  <a:cubicBezTo>
                    <a:pt x="72" y="642"/>
                    <a:pt x="72" y="642"/>
                    <a:pt x="72" y="642"/>
                  </a:cubicBezTo>
                  <a:cubicBezTo>
                    <a:pt x="76" y="641"/>
                    <a:pt x="79" y="641"/>
                    <a:pt x="82" y="640"/>
                  </a:cubicBezTo>
                  <a:cubicBezTo>
                    <a:pt x="82" y="640"/>
                    <a:pt x="82" y="640"/>
                    <a:pt x="82" y="640"/>
                  </a:cubicBezTo>
                  <a:cubicBezTo>
                    <a:pt x="83" y="640"/>
                    <a:pt x="84" y="640"/>
                    <a:pt x="85" y="640"/>
                  </a:cubicBezTo>
                  <a:cubicBezTo>
                    <a:pt x="86" y="639"/>
                    <a:pt x="88" y="639"/>
                    <a:pt x="89" y="639"/>
                  </a:cubicBezTo>
                  <a:cubicBezTo>
                    <a:pt x="90" y="639"/>
                    <a:pt x="92" y="638"/>
                    <a:pt x="93" y="638"/>
                  </a:cubicBezTo>
                  <a:cubicBezTo>
                    <a:pt x="94" y="638"/>
                    <a:pt x="95" y="637"/>
                    <a:pt x="97" y="637"/>
                  </a:cubicBezTo>
                  <a:cubicBezTo>
                    <a:pt x="98" y="636"/>
                    <a:pt x="98" y="636"/>
                    <a:pt x="98" y="636"/>
                  </a:cubicBezTo>
                  <a:cubicBezTo>
                    <a:pt x="98" y="636"/>
                    <a:pt x="99" y="636"/>
                    <a:pt x="99" y="636"/>
                  </a:cubicBezTo>
                  <a:cubicBezTo>
                    <a:pt x="101" y="635"/>
                    <a:pt x="103" y="634"/>
                    <a:pt x="106" y="633"/>
                  </a:cubicBezTo>
                  <a:cubicBezTo>
                    <a:pt x="106" y="633"/>
                    <a:pt x="107" y="633"/>
                    <a:pt x="108" y="632"/>
                  </a:cubicBezTo>
                  <a:cubicBezTo>
                    <a:pt x="111" y="631"/>
                    <a:pt x="113" y="630"/>
                    <a:pt x="116" y="629"/>
                  </a:cubicBezTo>
                  <a:cubicBezTo>
                    <a:pt x="1118" y="46"/>
                    <a:pt x="1118" y="46"/>
                    <a:pt x="1118" y="46"/>
                  </a:cubicBezTo>
                  <a:cubicBezTo>
                    <a:pt x="1118" y="0"/>
                    <a:pt x="1118" y="0"/>
                    <a:pt x="1118" y="0"/>
                  </a:cubicBezTo>
                  <a:lnTo>
                    <a:pt x="116" y="582"/>
                  </a:lnTo>
                  <a:close/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2" name="Freeform 41">
              <a:extLst>
                <a:ext uri="{FF2B5EF4-FFF2-40B4-BE49-F238E27FC236}">
                  <a16:creationId xmlns:a16="http://schemas.microsoft.com/office/drawing/2014/main" id="{930FD277-62DA-47DD-93DD-D01D008D39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38863" y="4234876"/>
              <a:ext cx="2538413" cy="1570038"/>
            </a:xfrm>
            <a:custGeom>
              <a:avLst/>
              <a:gdLst>
                <a:gd name="T0" fmla="*/ 0 w 1599"/>
                <a:gd name="T1" fmla="*/ 0 h 990"/>
                <a:gd name="T2" fmla="*/ 0 w 1599"/>
                <a:gd name="T3" fmla="*/ 47 h 990"/>
                <a:gd name="T4" fmla="*/ 24 w 1599"/>
                <a:gd name="T5" fmla="*/ 81 h 990"/>
                <a:gd name="T6" fmla="*/ 1599 w 1599"/>
                <a:gd name="T7" fmla="*/ 990 h 990"/>
                <a:gd name="T8" fmla="*/ 1599 w 1599"/>
                <a:gd name="T9" fmla="*/ 943 h 990"/>
                <a:gd name="T10" fmla="*/ 24 w 1599"/>
                <a:gd name="T11" fmla="*/ 34 h 990"/>
                <a:gd name="T12" fmla="*/ 0 w 1599"/>
                <a:gd name="T13" fmla="*/ 0 h 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9" h="990">
                  <a:moveTo>
                    <a:pt x="0" y="0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59"/>
                    <a:pt x="8" y="71"/>
                    <a:pt x="24" y="81"/>
                  </a:cubicBezTo>
                  <a:cubicBezTo>
                    <a:pt x="1599" y="990"/>
                    <a:pt x="1599" y="990"/>
                    <a:pt x="1599" y="990"/>
                  </a:cubicBezTo>
                  <a:cubicBezTo>
                    <a:pt x="1599" y="943"/>
                    <a:pt x="1599" y="943"/>
                    <a:pt x="1599" y="943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8" y="25"/>
                    <a:pt x="0" y="12"/>
                    <a:pt x="0" y="0"/>
                  </a:cubicBezTo>
                  <a:close/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3" name="Freeform 42">
              <a:extLst>
                <a:ext uri="{FF2B5EF4-FFF2-40B4-BE49-F238E27FC236}">
                  <a16:creationId xmlns:a16="http://schemas.microsoft.com/office/drawing/2014/main" id="{2A0854E9-4B62-412E-8BFD-4111CCD41C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6163" y="3258564"/>
              <a:ext cx="4325938" cy="2500313"/>
            </a:xfrm>
            <a:custGeom>
              <a:avLst/>
              <a:gdLst>
                <a:gd name="T0" fmla="*/ 2725 w 2725"/>
                <a:gd name="T1" fmla="*/ 977 h 1577"/>
                <a:gd name="T2" fmla="*/ 1723 w 2725"/>
                <a:gd name="T3" fmla="*/ 1559 h 1577"/>
                <a:gd name="T4" fmla="*/ 1607 w 2725"/>
                <a:gd name="T5" fmla="*/ 1559 h 1577"/>
                <a:gd name="T6" fmla="*/ 32 w 2725"/>
                <a:gd name="T7" fmla="*/ 650 h 1577"/>
                <a:gd name="T8" fmla="*/ 32 w 2725"/>
                <a:gd name="T9" fmla="*/ 583 h 1577"/>
                <a:gd name="T10" fmla="*/ 1034 w 2725"/>
                <a:gd name="T11" fmla="*/ 0 h 1577"/>
                <a:gd name="T12" fmla="*/ 2725 w 2725"/>
                <a:gd name="T13" fmla="*/ 977 h 1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5" h="1577">
                  <a:moveTo>
                    <a:pt x="2725" y="977"/>
                  </a:moveTo>
                  <a:cubicBezTo>
                    <a:pt x="1723" y="1559"/>
                    <a:pt x="1723" y="1559"/>
                    <a:pt x="1723" y="1559"/>
                  </a:cubicBezTo>
                  <a:cubicBezTo>
                    <a:pt x="1691" y="1577"/>
                    <a:pt x="1639" y="1577"/>
                    <a:pt x="1607" y="1559"/>
                  </a:cubicBezTo>
                  <a:cubicBezTo>
                    <a:pt x="32" y="650"/>
                    <a:pt x="32" y="650"/>
                    <a:pt x="32" y="650"/>
                  </a:cubicBezTo>
                  <a:cubicBezTo>
                    <a:pt x="0" y="631"/>
                    <a:pt x="0" y="601"/>
                    <a:pt x="32" y="583"/>
                  </a:cubicBezTo>
                  <a:cubicBezTo>
                    <a:pt x="1034" y="0"/>
                    <a:pt x="1034" y="0"/>
                    <a:pt x="1034" y="0"/>
                  </a:cubicBezTo>
                  <a:lnTo>
                    <a:pt x="2725" y="977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4" name="Freeform 43">
              <a:extLst>
                <a:ext uri="{FF2B5EF4-FFF2-40B4-BE49-F238E27FC236}">
                  <a16:creationId xmlns:a16="http://schemas.microsoft.com/office/drawing/2014/main" id="{61B7B0D6-EE97-4C39-B5BC-A74C26A436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77026" y="3414139"/>
              <a:ext cx="3430588" cy="1981200"/>
            </a:xfrm>
            <a:custGeom>
              <a:avLst/>
              <a:gdLst>
                <a:gd name="T0" fmla="*/ 2161 w 2161"/>
                <a:gd name="T1" fmla="*/ 854 h 1248"/>
                <a:gd name="T2" fmla="*/ 1481 w 2161"/>
                <a:gd name="T3" fmla="*/ 1248 h 1248"/>
                <a:gd name="T4" fmla="*/ 0 w 2161"/>
                <a:gd name="T5" fmla="*/ 394 h 1248"/>
                <a:gd name="T6" fmla="*/ 680 w 2161"/>
                <a:gd name="T7" fmla="*/ 0 h 1248"/>
                <a:gd name="T8" fmla="*/ 2161 w 2161"/>
                <a:gd name="T9" fmla="*/ 854 h 1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1" h="1248">
                  <a:moveTo>
                    <a:pt x="2161" y="854"/>
                  </a:moveTo>
                  <a:lnTo>
                    <a:pt x="1481" y="1248"/>
                  </a:lnTo>
                  <a:lnTo>
                    <a:pt x="0" y="394"/>
                  </a:lnTo>
                  <a:lnTo>
                    <a:pt x="680" y="0"/>
                  </a:lnTo>
                  <a:lnTo>
                    <a:pt x="2161" y="854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5" name="Freeform 44">
              <a:extLst>
                <a:ext uri="{FF2B5EF4-FFF2-40B4-BE49-F238E27FC236}">
                  <a16:creationId xmlns:a16="http://schemas.microsoft.com/office/drawing/2014/main" id="{540434D7-3111-4298-9A5A-D55FF84C09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85163" y="3633214"/>
              <a:ext cx="1222375" cy="714375"/>
            </a:xfrm>
            <a:custGeom>
              <a:avLst/>
              <a:gdLst>
                <a:gd name="T0" fmla="*/ 770 w 770"/>
                <a:gd name="T1" fmla="*/ 390 h 450"/>
                <a:gd name="T2" fmla="*/ 677 w 770"/>
                <a:gd name="T3" fmla="*/ 450 h 450"/>
                <a:gd name="T4" fmla="*/ 0 w 770"/>
                <a:gd name="T5" fmla="*/ 60 h 450"/>
                <a:gd name="T6" fmla="*/ 93 w 770"/>
                <a:gd name="T7" fmla="*/ 0 h 450"/>
                <a:gd name="T8" fmla="*/ 770 w 770"/>
                <a:gd name="T9" fmla="*/ 39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450">
                  <a:moveTo>
                    <a:pt x="770" y="390"/>
                  </a:moveTo>
                  <a:lnTo>
                    <a:pt x="677" y="450"/>
                  </a:lnTo>
                  <a:lnTo>
                    <a:pt x="0" y="60"/>
                  </a:lnTo>
                  <a:lnTo>
                    <a:pt x="93" y="0"/>
                  </a:lnTo>
                  <a:lnTo>
                    <a:pt x="770" y="39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6" name="Freeform 45">
              <a:extLst>
                <a:ext uri="{FF2B5EF4-FFF2-40B4-BE49-F238E27FC236}">
                  <a16:creationId xmlns:a16="http://schemas.microsoft.com/office/drawing/2014/main" id="{90984A75-29E5-4F8F-AAF1-BD37272CC1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88288" y="1534539"/>
              <a:ext cx="2436813" cy="3038475"/>
            </a:xfrm>
            <a:custGeom>
              <a:avLst/>
              <a:gdLst>
                <a:gd name="T0" fmla="*/ 1535 w 1535"/>
                <a:gd name="T1" fmla="*/ 883 h 1914"/>
                <a:gd name="T2" fmla="*/ 1532 w 1535"/>
                <a:gd name="T3" fmla="*/ 1914 h 1914"/>
                <a:gd name="T4" fmla="*/ 0 w 1535"/>
                <a:gd name="T5" fmla="*/ 1031 h 1914"/>
                <a:gd name="T6" fmla="*/ 3 w 1535"/>
                <a:gd name="T7" fmla="*/ 0 h 1914"/>
                <a:gd name="T8" fmla="*/ 1535 w 1535"/>
                <a:gd name="T9" fmla="*/ 883 h 1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5" h="1914">
                  <a:moveTo>
                    <a:pt x="1535" y="883"/>
                  </a:moveTo>
                  <a:lnTo>
                    <a:pt x="1532" y="1914"/>
                  </a:lnTo>
                  <a:lnTo>
                    <a:pt x="0" y="1031"/>
                  </a:lnTo>
                  <a:lnTo>
                    <a:pt x="3" y="0"/>
                  </a:lnTo>
                  <a:lnTo>
                    <a:pt x="1535" y="883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7" name="Freeform 46">
              <a:extLst>
                <a:ext uri="{FF2B5EF4-FFF2-40B4-BE49-F238E27FC236}">
                  <a16:creationId xmlns:a16="http://schemas.microsoft.com/office/drawing/2014/main" id="{75A6A1BB-72F5-49F7-A7FC-68E2FB1EB0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88288" y="1534539"/>
              <a:ext cx="2436813" cy="3038475"/>
            </a:xfrm>
            <a:custGeom>
              <a:avLst/>
              <a:gdLst>
                <a:gd name="T0" fmla="*/ 1535 w 1535"/>
                <a:gd name="T1" fmla="*/ 883 h 1914"/>
                <a:gd name="T2" fmla="*/ 1532 w 1535"/>
                <a:gd name="T3" fmla="*/ 1914 h 1914"/>
                <a:gd name="T4" fmla="*/ 0 w 1535"/>
                <a:gd name="T5" fmla="*/ 1031 h 1914"/>
                <a:gd name="T6" fmla="*/ 3 w 1535"/>
                <a:gd name="T7" fmla="*/ 0 h 1914"/>
                <a:gd name="T8" fmla="*/ 1535 w 1535"/>
                <a:gd name="T9" fmla="*/ 883 h 1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5" h="1914">
                  <a:moveTo>
                    <a:pt x="1535" y="883"/>
                  </a:moveTo>
                  <a:lnTo>
                    <a:pt x="1532" y="1914"/>
                  </a:lnTo>
                  <a:lnTo>
                    <a:pt x="0" y="1031"/>
                  </a:lnTo>
                  <a:lnTo>
                    <a:pt x="3" y="0"/>
                  </a:lnTo>
                  <a:lnTo>
                    <a:pt x="1535" y="8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8" name="Freeform 47">
              <a:extLst>
                <a:ext uri="{FF2B5EF4-FFF2-40B4-BE49-F238E27FC236}">
                  <a16:creationId xmlns:a16="http://schemas.microsoft.com/office/drawing/2014/main" id="{808E8964-2C4B-4713-B8B7-7F2E994848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1688" y="4582539"/>
              <a:ext cx="885825" cy="511175"/>
            </a:xfrm>
            <a:custGeom>
              <a:avLst/>
              <a:gdLst>
                <a:gd name="T0" fmla="*/ 558 w 558"/>
                <a:gd name="T1" fmla="*/ 198 h 322"/>
                <a:gd name="T2" fmla="*/ 344 w 558"/>
                <a:gd name="T3" fmla="*/ 322 h 322"/>
                <a:gd name="T4" fmla="*/ 0 w 558"/>
                <a:gd name="T5" fmla="*/ 124 h 322"/>
                <a:gd name="T6" fmla="*/ 214 w 558"/>
                <a:gd name="T7" fmla="*/ 0 h 322"/>
                <a:gd name="T8" fmla="*/ 558 w 558"/>
                <a:gd name="T9" fmla="*/ 198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8" h="322">
                  <a:moveTo>
                    <a:pt x="558" y="198"/>
                  </a:moveTo>
                  <a:lnTo>
                    <a:pt x="344" y="322"/>
                  </a:lnTo>
                  <a:lnTo>
                    <a:pt x="0" y="124"/>
                  </a:lnTo>
                  <a:lnTo>
                    <a:pt x="214" y="0"/>
                  </a:lnTo>
                  <a:lnTo>
                    <a:pt x="558" y="198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9" name="Freeform 48">
              <a:extLst>
                <a:ext uri="{FF2B5EF4-FFF2-40B4-BE49-F238E27FC236}">
                  <a16:creationId xmlns:a16="http://schemas.microsoft.com/office/drawing/2014/main" id="{451D3C6E-68E2-44A3-92DB-A2FA654D28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65876" y="4242814"/>
              <a:ext cx="269875" cy="157163"/>
            </a:xfrm>
            <a:custGeom>
              <a:avLst/>
              <a:gdLst>
                <a:gd name="T0" fmla="*/ 0 w 170"/>
                <a:gd name="T1" fmla="*/ 19 h 99"/>
                <a:gd name="T2" fmla="*/ 31 w 170"/>
                <a:gd name="T3" fmla="*/ 0 h 99"/>
                <a:gd name="T4" fmla="*/ 170 w 170"/>
                <a:gd name="T5" fmla="*/ 80 h 99"/>
                <a:gd name="T6" fmla="*/ 138 w 170"/>
                <a:gd name="T7" fmla="*/ 99 h 99"/>
                <a:gd name="T8" fmla="*/ 0 w 170"/>
                <a:gd name="T9" fmla="*/ 1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9">
                  <a:moveTo>
                    <a:pt x="0" y="19"/>
                  </a:moveTo>
                  <a:lnTo>
                    <a:pt x="31" y="0"/>
                  </a:lnTo>
                  <a:lnTo>
                    <a:pt x="170" y="80"/>
                  </a:lnTo>
                  <a:lnTo>
                    <a:pt x="138" y="9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0" name="Freeform 49">
              <a:extLst>
                <a:ext uri="{FF2B5EF4-FFF2-40B4-BE49-F238E27FC236}">
                  <a16:creationId xmlns:a16="http://schemas.microsoft.com/office/drawing/2014/main" id="{9FF1B356-1DC3-448D-835E-01DBD48D31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713" y="4184076"/>
              <a:ext cx="269875" cy="155575"/>
            </a:xfrm>
            <a:custGeom>
              <a:avLst/>
              <a:gdLst>
                <a:gd name="T0" fmla="*/ 0 w 170"/>
                <a:gd name="T1" fmla="*/ 18 h 98"/>
                <a:gd name="T2" fmla="*/ 32 w 170"/>
                <a:gd name="T3" fmla="*/ 0 h 98"/>
                <a:gd name="T4" fmla="*/ 170 w 170"/>
                <a:gd name="T5" fmla="*/ 80 h 98"/>
                <a:gd name="T6" fmla="*/ 139 w 170"/>
                <a:gd name="T7" fmla="*/ 98 h 98"/>
                <a:gd name="T8" fmla="*/ 0 w 170"/>
                <a:gd name="T9" fmla="*/ 1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8">
                  <a:moveTo>
                    <a:pt x="0" y="18"/>
                  </a:moveTo>
                  <a:lnTo>
                    <a:pt x="32" y="0"/>
                  </a:lnTo>
                  <a:lnTo>
                    <a:pt x="170" y="80"/>
                  </a:lnTo>
                  <a:lnTo>
                    <a:pt x="139" y="9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1" name="Freeform 50">
              <a:extLst>
                <a:ext uri="{FF2B5EF4-FFF2-40B4-BE49-F238E27FC236}">
                  <a16:creationId xmlns:a16="http://schemas.microsoft.com/office/drawing/2014/main" id="{DDA5AC37-EBC6-4D0A-ADDC-C733BDF37E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0026" y="3568126"/>
              <a:ext cx="85725" cy="77788"/>
            </a:xfrm>
            <a:custGeom>
              <a:avLst/>
              <a:gdLst>
                <a:gd name="T0" fmla="*/ 0 w 54"/>
                <a:gd name="T1" fmla="*/ 49 h 49"/>
                <a:gd name="T2" fmla="*/ 54 w 54"/>
                <a:gd name="T3" fmla="*/ 17 h 49"/>
                <a:gd name="T4" fmla="*/ 54 w 54"/>
                <a:gd name="T5" fmla="*/ 0 h 49"/>
                <a:gd name="T6" fmla="*/ 0 w 54"/>
                <a:gd name="T7" fmla="*/ 32 h 49"/>
                <a:gd name="T8" fmla="*/ 0 w 5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0" y="49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2" name="Freeform 51">
              <a:extLst>
                <a:ext uri="{FF2B5EF4-FFF2-40B4-BE49-F238E27FC236}">
                  <a16:creationId xmlns:a16="http://schemas.microsoft.com/office/drawing/2014/main" id="{1B44DC2B-8389-4BD6-B620-1EBF99E3C1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4613" y="354590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3" name="Freeform 52">
              <a:extLst>
                <a:ext uri="{FF2B5EF4-FFF2-40B4-BE49-F238E27FC236}">
                  <a16:creationId xmlns:a16="http://schemas.microsoft.com/office/drawing/2014/main" id="{93F41AAC-1E6F-4621-83CB-86E739561F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4613" y="3496689"/>
              <a:ext cx="211138" cy="122238"/>
            </a:xfrm>
            <a:custGeom>
              <a:avLst/>
              <a:gdLst>
                <a:gd name="T0" fmla="*/ 133 w 133"/>
                <a:gd name="T1" fmla="*/ 45 h 77"/>
                <a:gd name="T2" fmla="*/ 54 w 133"/>
                <a:gd name="T3" fmla="*/ 0 h 77"/>
                <a:gd name="T4" fmla="*/ 0 w 133"/>
                <a:gd name="T5" fmla="*/ 31 h 77"/>
                <a:gd name="T6" fmla="*/ 79 w 133"/>
                <a:gd name="T7" fmla="*/ 77 h 77"/>
                <a:gd name="T8" fmla="*/ 133 w 133"/>
                <a:gd name="T9" fmla="*/ 4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133" y="45"/>
                  </a:moveTo>
                  <a:lnTo>
                    <a:pt x="54" y="0"/>
                  </a:lnTo>
                  <a:lnTo>
                    <a:pt x="0" y="31"/>
                  </a:lnTo>
                  <a:lnTo>
                    <a:pt x="79" y="77"/>
                  </a:lnTo>
                  <a:lnTo>
                    <a:pt x="133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4" name="Freeform 53">
              <a:extLst>
                <a:ext uri="{FF2B5EF4-FFF2-40B4-BE49-F238E27FC236}">
                  <a16:creationId xmlns:a16="http://schemas.microsoft.com/office/drawing/2014/main" id="{45EF6970-5F99-4DB0-A803-39F2B14806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6713" y="3664964"/>
              <a:ext cx="85725" cy="77788"/>
            </a:xfrm>
            <a:custGeom>
              <a:avLst/>
              <a:gdLst>
                <a:gd name="T0" fmla="*/ 0 w 54"/>
                <a:gd name="T1" fmla="*/ 49 h 49"/>
                <a:gd name="T2" fmla="*/ 54 w 54"/>
                <a:gd name="T3" fmla="*/ 17 h 49"/>
                <a:gd name="T4" fmla="*/ 54 w 54"/>
                <a:gd name="T5" fmla="*/ 0 h 49"/>
                <a:gd name="T6" fmla="*/ 0 w 54"/>
                <a:gd name="T7" fmla="*/ 32 h 49"/>
                <a:gd name="T8" fmla="*/ 0 w 5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0" y="49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5" name="Freeform 54">
              <a:extLst>
                <a:ext uri="{FF2B5EF4-FFF2-40B4-BE49-F238E27FC236}">
                  <a16:creationId xmlns:a16="http://schemas.microsoft.com/office/drawing/2014/main" id="{D53DDB18-6EAE-4C0C-8FF4-007729A215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1" y="3642739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6" name="Freeform 55">
              <a:extLst>
                <a:ext uri="{FF2B5EF4-FFF2-40B4-BE49-F238E27FC236}">
                  <a16:creationId xmlns:a16="http://schemas.microsoft.com/office/drawing/2014/main" id="{6F6229E6-5ABE-4EC2-B744-0B24D76FC4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1" y="3593526"/>
              <a:ext cx="211138" cy="122238"/>
            </a:xfrm>
            <a:custGeom>
              <a:avLst/>
              <a:gdLst>
                <a:gd name="T0" fmla="*/ 0 w 133"/>
                <a:gd name="T1" fmla="*/ 31 h 77"/>
                <a:gd name="T2" fmla="*/ 79 w 133"/>
                <a:gd name="T3" fmla="*/ 77 h 77"/>
                <a:gd name="T4" fmla="*/ 133 w 133"/>
                <a:gd name="T5" fmla="*/ 45 h 77"/>
                <a:gd name="T6" fmla="*/ 54 w 133"/>
                <a:gd name="T7" fmla="*/ 0 h 77"/>
                <a:gd name="T8" fmla="*/ 0 w 133"/>
                <a:gd name="T9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1"/>
                  </a:moveTo>
                  <a:lnTo>
                    <a:pt x="79" y="77"/>
                  </a:lnTo>
                  <a:lnTo>
                    <a:pt x="133" y="45"/>
                  </a:lnTo>
                  <a:lnTo>
                    <a:pt x="5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7" name="Freeform 56">
              <a:extLst>
                <a:ext uri="{FF2B5EF4-FFF2-40B4-BE49-F238E27FC236}">
                  <a16:creationId xmlns:a16="http://schemas.microsoft.com/office/drawing/2014/main" id="{72BCD055-9972-4F36-97FB-EE795936CB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4988" y="3761801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8" name="Freeform 57">
              <a:extLst>
                <a:ext uri="{FF2B5EF4-FFF2-40B4-BE49-F238E27FC236}">
                  <a16:creationId xmlns:a16="http://schemas.microsoft.com/office/drawing/2014/main" id="{FCC8D804-AEF8-403B-A1E8-B0EFDA737F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9576" y="3739576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9" name="Freeform 58">
              <a:extLst>
                <a:ext uri="{FF2B5EF4-FFF2-40B4-BE49-F238E27FC236}">
                  <a16:creationId xmlns:a16="http://schemas.microsoft.com/office/drawing/2014/main" id="{B5DDBB4C-F4B3-453E-8005-541D732540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9576" y="3688776"/>
              <a:ext cx="211138" cy="122238"/>
            </a:xfrm>
            <a:custGeom>
              <a:avLst/>
              <a:gdLst>
                <a:gd name="T0" fmla="*/ 0 w 133"/>
                <a:gd name="T1" fmla="*/ 32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2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0" name="Freeform 59">
              <a:extLst>
                <a:ext uri="{FF2B5EF4-FFF2-40B4-BE49-F238E27FC236}">
                  <a16:creationId xmlns:a16="http://schemas.microsoft.com/office/drawing/2014/main" id="{FD726C6A-A638-44C9-BA79-E75855EC5D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1676" y="3858639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1" name="Freeform 60">
              <a:extLst>
                <a:ext uri="{FF2B5EF4-FFF2-40B4-BE49-F238E27FC236}">
                  <a16:creationId xmlns:a16="http://schemas.microsoft.com/office/drawing/2014/main" id="{74F62A18-CD73-4B9B-9DA7-6A28E7B95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6263" y="383641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2" name="Freeform 61">
              <a:extLst>
                <a:ext uri="{FF2B5EF4-FFF2-40B4-BE49-F238E27FC236}">
                  <a16:creationId xmlns:a16="http://schemas.microsoft.com/office/drawing/2014/main" id="{D87AE5F4-DF49-48B2-A60B-9ED0B74CCB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6263" y="3785614"/>
              <a:ext cx="211138" cy="122238"/>
            </a:xfrm>
            <a:custGeom>
              <a:avLst/>
              <a:gdLst>
                <a:gd name="T0" fmla="*/ 0 w 133"/>
                <a:gd name="T1" fmla="*/ 32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2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3" name="Freeform 62">
              <a:extLst>
                <a:ext uri="{FF2B5EF4-FFF2-40B4-BE49-F238E27FC236}">
                  <a16:creationId xmlns:a16="http://schemas.microsoft.com/office/drawing/2014/main" id="{87DC6248-0296-4081-98ED-CD96782AAD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8363" y="3953889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4" name="Freeform 63">
              <a:extLst>
                <a:ext uri="{FF2B5EF4-FFF2-40B4-BE49-F238E27FC236}">
                  <a16:creationId xmlns:a16="http://schemas.microsoft.com/office/drawing/2014/main" id="{AA1C46B7-CB46-456E-AF90-2421AA9980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2951" y="39316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5" name="Freeform 64">
              <a:extLst>
                <a:ext uri="{FF2B5EF4-FFF2-40B4-BE49-F238E27FC236}">
                  <a16:creationId xmlns:a16="http://schemas.microsoft.com/office/drawing/2014/main" id="{137724C3-F8FF-4EE4-BCC6-8563DC5007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2951" y="3882451"/>
              <a:ext cx="211138" cy="120650"/>
            </a:xfrm>
            <a:custGeom>
              <a:avLst/>
              <a:gdLst>
                <a:gd name="T0" fmla="*/ 0 w 133"/>
                <a:gd name="T1" fmla="*/ 31 h 76"/>
                <a:gd name="T2" fmla="*/ 79 w 133"/>
                <a:gd name="T3" fmla="*/ 76 h 76"/>
                <a:gd name="T4" fmla="*/ 133 w 133"/>
                <a:gd name="T5" fmla="*/ 45 h 76"/>
                <a:gd name="T6" fmla="*/ 54 w 133"/>
                <a:gd name="T7" fmla="*/ 0 h 76"/>
                <a:gd name="T8" fmla="*/ 0 w 133"/>
                <a:gd name="T9" fmla="*/ 3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6">
                  <a:moveTo>
                    <a:pt x="0" y="31"/>
                  </a:moveTo>
                  <a:lnTo>
                    <a:pt x="79" y="76"/>
                  </a:lnTo>
                  <a:lnTo>
                    <a:pt x="133" y="45"/>
                  </a:lnTo>
                  <a:lnTo>
                    <a:pt x="5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6" name="Freeform 65">
              <a:extLst>
                <a:ext uri="{FF2B5EF4-FFF2-40B4-BE49-F238E27FC236}">
                  <a16:creationId xmlns:a16="http://schemas.microsoft.com/office/drawing/2014/main" id="{F986700D-60E6-4790-8A1A-5931D5FEAB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55051" y="4049139"/>
              <a:ext cx="85725" cy="77788"/>
            </a:xfrm>
            <a:custGeom>
              <a:avLst/>
              <a:gdLst>
                <a:gd name="T0" fmla="*/ 0 w 54"/>
                <a:gd name="T1" fmla="*/ 49 h 49"/>
                <a:gd name="T2" fmla="*/ 54 w 54"/>
                <a:gd name="T3" fmla="*/ 17 h 49"/>
                <a:gd name="T4" fmla="*/ 54 w 54"/>
                <a:gd name="T5" fmla="*/ 0 h 49"/>
                <a:gd name="T6" fmla="*/ 0 w 54"/>
                <a:gd name="T7" fmla="*/ 32 h 49"/>
                <a:gd name="T8" fmla="*/ 0 w 5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0" y="49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7" name="Freeform 66">
              <a:extLst>
                <a:ext uri="{FF2B5EF4-FFF2-40B4-BE49-F238E27FC236}">
                  <a16:creationId xmlns:a16="http://schemas.microsoft.com/office/drawing/2014/main" id="{76EEBC96-3D4E-448A-AC2E-71F465F6E6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29638" y="4026914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8" name="Freeform 67">
              <a:extLst>
                <a:ext uri="{FF2B5EF4-FFF2-40B4-BE49-F238E27FC236}">
                  <a16:creationId xmlns:a16="http://schemas.microsoft.com/office/drawing/2014/main" id="{B90CA246-15C5-4A18-B5CC-3306963A8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29638" y="3979289"/>
              <a:ext cx="211138" cy="120650"/>
            </a:xfrm>
            <a:custGeom>
              <a:avLst/>
              <a:gdLst>
                <a:gd name="T0" fmla="*/ 0 w 133"/>
                <a:gd name="T1" fmla="*/ 30 h 76"/>
                <a:gd name="T2" fmla="*/ 79 w 133"/>
                <a:gd name="T3" fmla="*/ 76 h 76"/>
                <a:gd name="T4" fmla="*/ 133 w 133"/>
                <a:gd name="T5" fmla="*/ 44 h 76"/>
                <a:gd name="T6" fmla="*/ 54 w 133"/>
                <a:gd name="T7" fmla="*/ 0 h 76"/>
                <a:gd name="T8" fmla="*/ 0 w 133"/>
                <a:gd name="T9" fmla="*/ 3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6">
                  <a:moveTo>
                    <a:pt x="0" y="30"/>
                  </a:moveTo>
                  <a:lnTo>
                    <a:pt x="79" y="76"/>
                  </a:lnTo>
                  <a:lnTo>
                    <a:pt x="133" y="44"/>
                  </a:lnTo>
                  <a:lnTo>
                    <a:pt x="54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9" name="Freeform 68">
              <a:extLst>
                <a:ext uri="{FF2B5EF4-FFF2-40B4-BE49-F238E27FC236}">
                  <a16:creationId xmlns:a16="http://schemas.microsoft.com/office/drawing/2014/main" id="{25E02773-3ED1-4277-953F-260F01C0A5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23326" y="4145976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0" name="Freeform 69">
              <a:extLst>
                <a:ext uri="{FF2B5EF4-FFF2-40B4-BE49-F238E27FC236}">
                  <a16:creationId xmlns:a16="http://schemas.microsoft.com/office/drawing/2014/main" id="{36DA3C3B-34DF-4211-A698-68874F5417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7913" y="412375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1" name="Freeform 70">
              <a:extLst>
                <a:ext uri="{FF2B5EF4-FFF2-40B4-BE49-F238E27FC236}">
                  <a16:creationId xmlns:a16="http://schemas.microsoft.com/office/drawing/2014/main" id="{245DA805-263E-414C-91F4-8B1DF508B8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7913" y="4072951"/>
              <a:ext cx="211138" cy="122238"/>
            </a:xfrm>
            <a:custGeom>
              <a:avLst/>
              <a:gdLst>
                <a:gd name="T0" fmla="*/ 0 w 133"/>
                <a:gd name="T1" fmla="*/ 32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2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2" name="Freeform 71">
              <a:extLst>
                <a:ext uri="{FF2B5EF4-FFF2-40B4-BE49-F238E27FC236}">
                  <a16:creationId xmlns:a16="http://schemas.microsoft.com/office/drawing/2014/main" id="{4DF143BF-9762-4800-AAC5-248EA39FC3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90013" y="4242814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3" name="Freeform 72">
              <a:extLst>
                <a:ext uri="{FF2B5EF4-FFF2-40B4-BE49-F238E27FC236}">
                  <a16:creationId xmlns:a16="http://schemas.microsoft.com/office/drawing/2014/main" id="{410FE34C-4B25-4AF5-9079-B7BFD53601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4601" y="4220589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4" name="Freeform 73">
              <a:extLst>
                <a:ext uri="{FF2B5EF4-FFF2-40B4-BE49-F238E27FC236}">
                  <a16:creationId xmlns:a16="http://schemas.microsoft.com/office/drawing/2014/main" id="{17DDF134-3923-413E-AD4F-856C72490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4601" y="4169789"/>
              <a:ext cx="211138" cy="122238"/>
            </a:xfrm>
            <a:custGeom>
              <a:avLst/>
              <a:gdLst>
                <a:gd name="T0" fmla="*/ 0 w 133"/>
                <a:gd name="T1" fmla="*/ 32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2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5" name="Freeform 74">
              <a:extLst>
                <a:ext uri="{FF2B5EF4-FFF2-40B4-BE49-F238E27FC236}">
                  <a16:creationId xmlns:a16="http://schemas.microsoft.com/office/drawing/2014/main" id="{A4554AB8-CF61-41B9-A9D4-37F4175589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6701" y="4339651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6" name="Freeform 75">
              <a:extLst>
                <a:ext uri="{FF2B5EF4-FFF2-40B4-BE49-F238E27FC236}">
                  <a16:creationId xmlns:a16="http://schemas.microsoft.com/office/drawing/2014/main" id="{DA23758A-F2BD-481E-B8E9-62C68B0F36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1288" y="4315839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7" name="Freeform 76">
              <a:extLst>
                <a:ext uri="{FF2B5EF4-FFF2-40B4-BE49-F238E27FC236}">
                  <a16:creationId xmlns:a16="http://schemas.microsoft.com/office/drawing/2014/main" id="{14076EE7-6105-4754-B1DA-46CAC5B73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1288" y="4266626"/>
              <a:ext cx="211138" cy="122238"/>
            </a:xfrm>
            <a:custGeom>
              <a:avLst/>
              <a:gdLst>
                <a:gd name="T0" fmla="*/ 0 w 133"/>
                <a:gd name="T1" fmla="*/ 31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1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8" name="Freeform 77">
              <a:extLst>
                <a:ext uri="{FF2B5EF4-FFF2-40B4-BE49-F238E27FC236}">
                  <a16:creationId xmlns:a16="http://schemas.microsoft.com/office/drawing/2014/main" id="{C3F84850-57BC-4FC8-87E0-7FCE287390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23388" y="4434901"/>
              <a:ext cx="85725" cy="77788"/>
            </a:xfrm>
            <a:custGeom>
              <a:avLst/>
              <a:gdLst>
                <a:gd name="T0" fmla="*/ 0 w 54"/>
                <a:gd name="T1" fmla="*/ 49 h 49"/>
                <a:gd name="T2" fmla="*/ 54 w 54"/>
                <a:gd name="T3" fmla="*/ 17 h 49"/>
                <a:gd name="T4" fmla="*/ 54 w 54"/>
                <a:gd name="T5" fmla="*/ 0 h 49"/>
                <a:gd name="T6" fmla="*/ 0 w 54"/>
                <a:gd name="T7" fmla="*/ 32 h 49"/>
                <a:gd name="T8" fmla="*/ 0 w 5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0" y="49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9" name="Freeform 78">
              <a:extLst>
                <a:ext uri="{FF2B5EF4-FFF2-40B4-BE49-F238E27FC236}">
                  <a16:creationId xmlns:a16="http://schemas.microsoft.com/office/drawing/2014/main" id="{55AD06DB-3375-4613-9A39-872E0BBE9F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7976" y="4412676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0" name="Freeform 79">
              <a:extLst>
                <a:ext uri="{FF2B5EF4-FFF2-40B4-BE49-F238E27FC236}">
                  <a16:creationId xmlns:a16="http://schemas.microsoft.com/office/drawing/2014/main" id="{2AE4B113-31AA-4E06-883B-97C10CB559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7976" y="4363464"/>
              <a:ext cx="211138" cy="122238"/>
            </a:xfrm>
            <a:custGeom>
              <a:avLst/>
              <a:gdLst>
                <a:gd name="T0" fmla="*/ 0 w 133"/>
                <a:gd name="T1" fmla="*/ 31 h 77"/>
                <a:gd name="T2" fmla="*/ 79 w 133"/>
                <a:gd name="T3" fmla="*/ 77 h 77"/>
                <a:gd name="T4" fmla="*/ 133 w 133"/>
                <a:gd name="T5" fmla="*/ 45 h 77"/>
                <a:gd name="T6" fmla="*/ 54 w 133"/>
                <a:gd name="T7" fmla="*/ 0 h 77"/>
                <a:gd name="T8" fmla="*/ 0 w 133"/>
                <a:gd name="T9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1"/>
                  </a:moveTo>
                  <a:lnTo>
                    <a:pt x="79" y="77"/>
                  </a:lnTo>
                  <a:lnTo>
                    <a:pt x="133" y="45"/>
                  </a:lnTo>
                  <a:lnTo>
                    <a:pt x="5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1" name="Freeform 80">
              <a:extLst>
                <a:ext uri="{FF2B5EF4-FFF2-40B4-BE49-F238E27FC236}">
                  <a16:creationId xmlns:a16="http://schemas.microsoft.com/office/drawing/2014/main" id="{EDC1EE11-9C04-41B0-95FE-6161CFDB89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90076" y="4531739"/>
              <a:ext cx="87313" cy="76200"/>
            </a:xfrm>
            <a:custGeom>
              <a:avLst/>
              <a:gdLst>
                <a:gd name="T0" fmla="*/ 0 w 55"/>
                <a:gd name="T1" fmla="*/ 48 h 48"/>
                <a:gd name="T2" fmla="*/ 55 w 55"/>
                <a:gd name="T3" fmla="*/ 17 h 48"/>
                <a:gd name="T4" fmla="*/ 55 w 55"/>
                <a:gd name="T5" fmla="*/ 0 h 48"/>
                <a:gd name="T6" fmla="*/ 0 w 55"/>
                <a:gd name="T7" fmla="*/ 31 h 48"/>
                <a:gd name="T8" fmla="*/ 0 w 55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48">
                  <a:moveTo>
                    <a:pt x="0" y="48"/>
                  </a:moveTo>
                  <a:lnTo>
                    <a:pt x="55" y="17"/>
                  </a:lnTo>
                  <a:lnTo>
                    <a:pt x="55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2" name="Freeform 81">
              <a:extLst>
                <a:ext uri="{FF2B5EF4-FFF2-40B4-BE49-F238E27FC236}">
                  <a16:creationId xmlns:a16="http://schemas.microsoft.com/office/drawing/2014/main" id="{0EE8D738-6350-42F5-A67A-E5C1980B9B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64663" y="4509514"/>
              <a:ext cx="125413" cy="98425"/>
            </a:xfrm>
            <a:custGeom>
              <a:avLst/>
              <a:gdLst>
                <a:gd name="T0" fmla="*/ 1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1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1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3" name="Freeform 82">
              <a:extLst>
                <a:ext uri="{FF2B5EF4-FFF2-40B4-BE49-F238E27FC236}">
                  <a16:creationId xmlns:a16="http://schemas.microsoft.com/office/drawing/2014/main" id="{B0F9E489-D1F6-4EC0-892A-0C33946D89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66251" y="4458714"/>
              <a:ext cx="211138" cy="122238"/>
            </a:xfrm>
            <a:custGeom>
              <a:avLst/>
              <a:gdLst>
                <a:gd name="T0" fmla="*/ 0 w 133"/>
                <a:gd name="T1" fmla="*/ 32 h 77"/>
                <a:gd name="T2" fmla="*/ 78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2"/>
                  </a:moveTo>
                  <a:lnTo>
                    <a:pt x="78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4" name="Freeform 83">
              <a:extLst>
                <a:ext uri="{FF2B5EF4-FFF2-40B4-BE49-F238E27FC236}">
                  <a16:creationId xmlns:a16="http://schemas.microsoft.com/office/drawing/2014/main" id="{6E867ECF-27C8-4DF0-B28F-F9D545C861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58351" y="4628576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5" name="Freeform 84">
              <a:extLst>
                <a:ext uri="{FF2B5EF4-FFF2-40B4-BE49-F238E27FC236}">
                  <a16:creationId xmlns:a16="http://schemas.microsoft.com/office/drawing/2014/main" id="{0D157B97-BA56-41BC-85AF-2392E273A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32938" y="460635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6" name="Freeform 85">
              <a:extLst>
                <a:ext uri="{FF2B5EF4-FFF2-40B4-BE49-F238E27FC236}">
                  <a16:creationId xmlns:a16="http://schemas.microsoft.com/office/drawing/2014/main" id="{CD172626-587A-4797-A172-F58C137863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32938" y="4555551"/>
              <a:ext cx="211138" cy="122238"/>
            </a:xfrm>
            <a:custGeom>
              <a:avLst/>
              <a:gdLst>
                <a:gd name="T0" fmla="*/ 79 w 133"/>
                <a:gd name="T1" fmla="*/ 77 h 77"/>
                <a:gd name="T2" fmla="*/ 133 w 133"/>
                <a:gd name="T3" fmla="*/ 46 h 77"/>
                <a:gd name="T4" fmla="*/ 54 w 133"/>
                <a:gd name="T5" fmla="*/ 0 h 77"/>
                <a:gd name="T6" fmla="*/ 0 w 133"/>
                <a:gd name="T7" fmla="*/ 32 h 77"/>
                <a:gd name="T8" fmla="*/ 79 w 133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79" y="77"/>
                  </a:moveTo>
                  <a:lnTo>
                    <a:pt x="133" y="46"/>
                  </a:lnTo>
                  <a:lnTo>
                    <a:pt x="54" y="0"/>
                  </a:lnTo>
                  <a:lnTo>
                    <a:pt x="0" y="32"/>
                  </a:lnTo>
                  <a:lnTo>
                    <a:pt x="79" y="77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7" name="Freeform 86">
              <a:extLst>
                <a:ext uri="{FF2B5EF4-FFF2-40B4-BE49-F238E27FC236}">
                  <a16:creationId xmlns:a16="http://schemas.microsoft.com/office/drawing/2014/main" id="{5F41D18B-3B90-4AF5-AEE9-7D6375BE0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25038" y="4725414"/>
              <a:ext cx="85725" cy="76200"/>
            </a:xfrm>
            <a:custGeom>
              <a:avLst/>
              <a:gdLst>
                <a:gd name="T0" fmla="*/ 0 w 54"/>
                <a:gd name="T1" fmla="*/ 48 h 48"/>
                <a:gd name="T2" fmla="*/ 54 w 54"/>
                <a:gd name="T3" fmla="*/ 17 h 48"/>
                <a:gd name="T4" fmla="*/ 54 w 54"/>
                <a:gd name="T5" fmla="*/ 0 h 48"/>
                <a:gd name="T6" fmla="*/ 0 w 54"/>
                <a:gd name="T7" fmla="*/ 31 h 48"/>
                <a:gd name="T8" fmla="*/ 0 w 5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8">
                  <a:moveTo>
                    <a:pt x="0" y="48"/>
                  </a:moveTo>
                  <a:lnTo>
                    <a:pt x="54" y="17"/>
                  </a:lnTo>
                  <a:lnTo>
                    <a:pt x="54" y="0"/>
                  </a:lnTo>
                  <a:lnTo>
                    <a:pt x="0" y="3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8" name="Freeform 87">
              <a:extLst>
                <a:ext uri="{FF2B5EF4-FFF2-40B4-BE49-F238E27FC236}">
                  <a16:creationId xmlns:a16="http://schemas.microsoft.com/office/drawing/2014/main" id="{DC5C8EB9-C13E-4F28-A525-B92A397406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626" y="4701601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9" name="Freeform 88">
              <a:extLst>
                <a:ext uri="{FF2B5EF4-FFF2-40B4-BE49-F238E27FC236}">
                  <a16:creationId xmlns:a16="http://schemas.microsoft.com/office/drawing/2014/main" id="{2D68E381-4110-4EB1-8BC0-116BBF402E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626" y="4652389"/>
              <a:ext cx="211138" cy="122238"/>
            </a:xfrm>
            <a:custGeom>
              <a:avLst/>
              <a:gdLst>
                <a:gd name="T0" fmla="*/ 0 w 133"/>
                <a:gd name="T1" fmla="*/ 31 h 77"/>
                <a:gd name="T2" fmla="*/ 79 w 133"/>
                <a:gd name="T3" fmla="*/ 77 h 77"/>
                <a:gd name="T4" fmla="*/ 133 w 133"/>
                <a:gd name="T5" fmla="*/ 46 h 77"/>
                <a:gd name="T6" fmla="*/ 54 w 133"/>
                <a:gd name="T7" fmla="*/ 0 h 77"/>
                <a:gd name="T8" fmla="*/ 0 w 133"/>
                <a:gd name="T9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7">
                  <a:moveTo>
                    <a:pt x="0" y="31"/>
                  </a:moveTo>
                  <a:lnTo>
                    <a:pt x="79" y="77"/>
                  </a:lnTo>
                  <a:lnTo>
                    <a:pt x="133" y="46"/>
                  </a:lnTo>
                  <a:lnTo>
                    <a:pt x="5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0" name="Freeform 89">
              <a:extLst>
                <a:ext uri="{FF2B5EF4-FFF2-40B4-BE49-F238E27FC236}">
                  <a16:creationId xmlns:a16="http://schemas.microsoft.com/office/drawing/2014/main" id="{8D9625BC-972B-4622-80C7-E9BEB56F91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18426" y="3679251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1" name="Freeform 90">
              <a:extLst>
                <a:ext uri="{FF2B5EF4-FFF2-40B4-BE49-F238E27FC236}">
                  <a16:creationId xmlns:a16="http://schemas.microsoft.com/office/drawing/2014/main" id="{AB417C16-45A7-4D79-B8AA-2DD8CBACBF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9513" y="3642739"/>
              <a:ext cx="188913" cy="136525"/>
            </a:xfrm>
            <a:custGeom>
              <a:avLst/>
              <a:gdLst>
                <a:gd name="T0" fmla="*/ 119 w 119"/>
                <a:gd name="T1" fmla="*/ 69 h 86"/>
                <a:gd name="T2" fmla="*/ 0 w 119"/>
                <a:gd name="T3" fmla="*/ 0 h 86"/>
                <a:gd name="T4" fmla="*/ 0 w 119"/>
                <a:gd name="T5" fmla="*/ 17 h 86"/>
                <a:gd name="T6" fmla="*/ 119 w 119"/>
                <a:gd name="T7" fmla="*/ 86 h 86"/>
                <a:gd name="T8" fmla="*/ 119 w 119"/>
                <a:gd name="T9" fmla="*/ 6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86">
                  <a:moveTo>
                    <a:pt x="119" y="69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119" y="86"/>
                  </a:lnTo>
                  <a:lnTo>
                    <a:pt x="119" y="69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2" name="Freeform 91">
              <a:extLst>
                <a:ext uri="{FF2B5EF4-FFF2-40B4-BE49-F238E27FC236}">
                  <a16:creationId xmlns:a16="http://schemas.microsoft.com/office/drawing/2014/main" id="{DCB299CB-E86F-4918-B224-FA21393456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9513" y="3569714"/>
              <a:ext cx="314325" cy="182563"/>
            </a:xfrm>
            <a:custGeom>
              <a:avLst/>
              <a:gdLst>
                <a:gd name="T0" fmla="*/ 198 w 198"/>
                <a:gd name="T1" fmla="*/ 69 h 115"/>
                <a:gd name="T2" fmla="*/ 78 w 198"/>
                <a:gd name="T3" fmla="*/ 0 h 115"/>
                <a:gd name="T4" fmla="*/ 0 w 198"/>
                <a:gd name="T5" fmla="*/ 46 h 115"/>
                <a:gd name="T6" fmla="*/ 119 w 198"/>
                <a:gd name="T7" fmla="*/ 115 h 115"/>
                <a:gd name="T8" fmla="*/ 198 w 198"/>
                <a:gd name="T9" fmla="*/ 6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15">
                  <a:moveTo>
                    <a:pt x="198" y="69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119" y="115"/>
                  </a:lnTo>
                  <a:lnTo>
                    <a:pt x="198" y="69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3" name="Freeform 92">
              <a:extLst>
                <a:ext uri="{FF2B5EF4-FFF2-40B4-BE49-F238E27FC236}">
                  <a16:creationId xmlns:a16="http://schemas.microsoft.com/office/drawing/2014/main" id="{156F3D01-9727-4F30-A416-6D34DF5AAB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89876" y="377926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8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8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4" name="Freeform 93">
              <a:extLst>
                <a:ext uri="{FF2B5EF4-FFF2-40B4-BE49-F238E27FC236}">
                  <a16:creationId xmlns:a16="http://schemas.microsoft.com/office/drawing/2014/main" id="{07971B68-2D3A-430F-B8CB-EA1D79143E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4463" y="37792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5" name="Freeform 94">
              <a:extLst>
                <a:ext uri="{FF2B5EF4-FFF2-40B4-BE49-F238E27FC236}">
                  <a16:creationId xmlns:a16="http://schemas.microsoft.com/office/drawing/2014/main" id="{4E4EC787-AB9B-4058-B50C-83128F8349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4463" y="3706239"/>
              <a:ext cx="250825" cy="144463"/>
            </a:xfrm>
            <a:custGeom>
              <a:avLst/>
              <a:gdLst>
                <a:gd name="T0" fmla="*/ 79 w 158"/>
                <a:gd name="T1" fmla="*/ 91 h 91"/>
                <a:gd name="T2" fmla="*/ 158 w 158"/>
                <a:gd name="T3" fmla="*/ 46 h 91"/>
                <a:gd name="T4" fmla="*/ 79 w 158"/>
                <a:gd name="T5" fmla="*/ 0 h 91"/>
                <a:gd name="T6" fmla="*/ 0 w 158"/>
                <a:gd name="T7" fmla="*/ 46 h 91"/>
                <a:gd name="T8" fmla="*/ 79 w 158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79" y="91"/>
                  </a:moveTo>
                  <a:lnTo>
                    <a:pt x="158" y="46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6" name="Freeform 95">
              <a:extLst>
                <a:ext uri="{FF2B5EF4-FFF2-40B4-BE49-F238E27FC236}">
                  <a16:creationId xmlns:a16="http://schemas.microsoft.com/office/drawing/2014/main" id="{8EB50FC1-6F50-41C0-8173-9EF2962E72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56563" y="3874514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7" name="Freeform 96">
              <a:extLst>
                <a:ext uri="{FF2B5EF4-FFF2-40B4-BE49-F238E27FC236}">
                  <a16:creationId xmlns:a16="http://schemas.microsoft.com/office/drawing/2014/main" id="{12D6FDD3-8C18-45F8-9849-AC4790B9F6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1151" y="3874514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8" name="Freeform 97">
              <a:extLst>
                <a:ext uri="{FF2B5EF4-FFF2-40B4-BE49-F238E27FC236}">
                  <a16:creationId xmlns:a16="http://schemas.microsoft.com/office/drawing/2014/main" id="{062DA8CA-86D9-494B-BFA6-F9234E735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1151" y="3803076"/>
              <a:ext cx="250825" cy="144463"/>
            </a:xfrm>
            <a:custGeom>
              <a:avLst/>
              <a:gdLst>
                <a:gd name="T0" fmla="*/ 0 w 158"/>
                <a:gd name="T1" fmla="*/ 45 h 91"/>
                <a:gd name="T2" fmla="*/ 79 w 158"/>
                <a:gd name="T3" fmla="*/ 91 h 91"/>
                <a:gd name="T4" fmla="*/ 158 w 158"/>
                <a:gd name="T5" fmla="*/ 45 h 91"/>
                <a:gd name="T6" fmla="*/ 79 w 158"/>
                <a:gd name="T7" fmla="*/ 0 h 91"/>
                <a:gd name="T8" fmla="*/ 0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0" y="45"/>
                  </a:moveTo>
                  <a:lnTo>
                    <a:pt x="79" y="91"/>
                  </a:lnTo>
                  <a:lnTo>
                    <a:pt x="158" y="45"/>
                  </a:lnTo>
                  <a:lnTo>
                    <a:pt x="79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9" name="Freeform 98">
              <a:extLst>
                <a:ext uri="{FF2B5EF4-FFF2-40B4-BE49-F238E27FC236}">
                  <a16:creationId xmlns:a16="http://schemas.microsoft.com/office/drawing/2014/main" id="{879A4968-4D0A-4140-A605-943E4E0E30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24838" y="3971351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6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6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0" name="Freeform 99">
              <a:extLst>
                <a:ext uri="{FF2B5EF4-FFF2-40B4-BE49-F238E27FC236}">
                  <a16:creationId xmlns:a16="http://schemas.microsoft.com/office/drawing/2014/main" id="{40E21DC6-5B27-428F-BBC4-66BF2FAB6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99426" y="397135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6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6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1" name="Freeform 100">
              <a:extLst>
                <a:ext uri="{FF2B5EF4-FFF2-40B4-BE49-F238E27FC236}">
                  <a16:creationId xmlns:a16="http://schemas.microsoft.com/office/drawing/2014/main" id="{763659A6-8AA7-42AA-A742-A7C4392DCC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99426" y="3899914"/>
              <a:ext cx="249238" cy="142875"/>
            </a:xfrm>
            <a:custGeom>
              <a:avLst/>
              <a:gdLst>
                <a:gd name="T0" fmla="*/ 0 w 157"/>
                <a:gd name="T1" fmla="*/ 45 h 90"/>
                <a:gd name="T2" fmla="*/ 79 w 157"/>
                <a:gd name="T3" fmla="*/ 90 h 90"/>
                <a:gd name="T4" fmla="*/ 157 w 157"/>
                <a:gd name="T5" fmla="*/ 45 h 90"/>
                <a:gd name="T6" fmla="*/ 78 w 157"/>
                <a:gd name="T7" fmla="*/ 0 h 90"/>
                <a:gd name="T8" fmla="*/ 0 w 157"/>
                <a:gd name="T9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0">
                  <a:moveTo>
                    <a:pt x="0" y="45"/>
                  </a:moveTo>
                  <a:lnTo>
                    <a:pt x="79" y="90"/>
                  </a:lnTo>
                  <a:lnTo>
                    <a:pt x="157" y="45"/>
                  </a:lnTo>
                  <a:lnTo>
                    <a:pt x="78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2" name="Freeform 101">
              <a:extLst>
                <a:ext uri="{FF2B5EF4-FFF2-40B4-BE49-F238E27FC236}">
                  <a16:creationId xmlns:a16="http://schemas.microsoft.com/office/drawing/2014/main" id="{653434E3-0884-4B3F-BDD2-BF8A45B83F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1526" y="4066601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3" name="Freeform 102">
              <a:extLst>
                <a:ext uri="{FF2B5EF4-FFF2-40B4-BE49-F238E27FC236}">
                  <a16:creationId xmlns:a16="http://schemas.microsoft.com/office/drawing/2014/main" id="{AF0BED15-0AEE-4A31-A864-273AE70C01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6113" y="406660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4" name="Freeform 103">
              <a:extLst>
                <a:ext uri="{FF2B5EF4-FFF2-40B4-BE49-F238E27FC236}">
                  <a16:creationId xmlns:a16="http://schemas.microsoft.com/office/drawing/2014/main" id="{93D2A9A0-3E7B-4B28-8410-76965E4596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6113" y="3993576"/>
              <a:ext cx="249238" cy="144463"/>
            </a:xfrm>
            <a:custGeom>
              <a:avLst/>
              <a:gdLst>
                <a:gd name="T0" fmla="*/ 0 w 157"/>
                <a:gd name="T1" fmla="*/ 46 h 91"/>
                <a:gd name="T2" fmla="*/ 79 w 157"/>
                <a:gd name="T3" fmla="*/ 91 h 91"/>
                <a:gd name="T4" fmla="*/ 157 w 157"/>
                <a:gd name="T5" fmla="*/ 46 h 91"/>
                <a:gd name="T6" fmla="*/ 78 w 157"/>
                <a:gd name="T7" fmla="*/ 0 h 91"/>
                <a:gd name="T8" fmla="*/ 0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0" y="46"/>
                  </a:moveTo>
                  <a:lnTo>
                    <a:pt x="79" y="91"/>
                  </a:lnTo>
                  <a:lnTo>
                    <a:pt x="157" y="46"/>
                  </a:lnTo>
                  <a:lnTo>
                    <a:pt x="78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5" name="Freeform 104">
              <a:extLst>
                <a:ext uri="{FF2B5EF4-FFF2-40B4-BE49-F238E27FC236}">
                  <a16:creationId xmlns:a16="http://schemas.microsoft.com/office/drawing/2014/main" id="{3C7DFCD2-5703-42B3-A0D8-0A815B5063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58213" y="4163439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6" name="Freeform 105">
              <a:extLst>
                <a:ext uri="{FF2B5EF4-FFF2-40B4-BE49-F238E27FC236}">
                  <a16:creationId xmlns:a16="http://schemas.microsoft.com/office/drawing/2014/main" id="{2403AF6E-63BC-4F50-AF35-80EDA79DB2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32801" y="4163439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7" name="Freeform 106">
              <a:extLst>
                <a:ext uri="{FF2B5EF4-FFF2-40B4-BE49-F238E27FC236}">
                  <a16:creationId xmlns:a16="http://schemas.microsoft.com/office/drawing/2014/main" id="{366F5F9E-1DAA-40B9-9967-39083EAC3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32801" y="4090414"/>
              <a:ext cx="249238" cy="144463"/>
            </a:xfrm>
            <a:custGeom>
              <a:avLst/>
              <a:gdLst>
                <a:gd name="T0" fmla="*/ 0 w 157"/>
                <a:gd name="T1" fmla="*/ 46 h 91"/>
                <a:gd name="T2" fmla="*/ 79 w 157"/>
                <a:gd name="T3" fmla="*/ 91 h 91"/>
                <a:gd name="T4" fmla="*/ 157 w 157"/>
                <a:gd name="T5" fmla="*/ 46 h 91"/>
                <a:gd name="T6" fmla="*/ 78 w 157"/>
                <a:gd name="T7" fmla="*/ 0 h 91"/>
                <a:gd name="T8" fmla="*/ 0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0" y="46"/>
                  </a:moveTo>
                  <a:lnTo>
                    <a:pt x="79" y="91"/>
                  </a:lnTo>
                  <a:lnTo>
                    <a:pt x="157" y="46"/>
                  </a:lnTo>
                  <a:lnTo>
                    <a:pt x="78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8" name="Freeform 107">
              <a:extLst>
                <a:ext uri="{FF2B5EF4-FFF2-40B4-BE49-F238E27FC236}">
                  <a16:creationId xmlns:a16="http://schemas.microsoft.com/office/drawing/2014/main" id="{D542DDDC-8D59-4077-8228-E4D1EA5537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24901" y="4258689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9" name="Freeform 108">
              <a:extLst>
                <a:ext uri="{FF2B5EF4-FFF2-40B4-BE49-F238E27FC236}">
                  <a16:creationId xmlns:a16="http://schemas.microsoft.com/office/drawing/2014/main" id="{D1AE1083-E6DF-4AE5-B318-7D2E1C9AED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9488" y="4258689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0" name="Freeform 109">
              <a:extLst>
                <a:ext uri="{FF2B5EF4-FFF2-40B4-BE49-F238E27FC236}">
                  <a16:creationId xmlns:a16="http://schemas.microsoft.com/office/drawing/2014/main" id="{F81579D4-A0DA-4F3E-BA6F-06E840007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9488" y="4187251"/>
              <a:ext cx="250825" cy="144463"/>
            </a:xfrm>
            <a:custGeom>
              <a:avLst/>
              <a:gdLst>
                <a:gd name="T0" fmla="*/ 0 w 158"/>
                <a:gd name="T1" fmla="*/ 45 h 91"/>
                <a:gd name="T2" fmla="*/ 79 w 158"/>
                <a:gd name="T3" fmla="*/ 91 h 91"/>
                <a:gd name="T4" fmla="*/ 158 w 158"/>
                <a:gd name="T5" fmla="*/ 45 h 91"/>
                <a:gd name="T6" fmla="*/ 79 w 158"/>
                <a:gd name="T7" fmla="*/ 0 h 91"/>
                <a:gd name="T8" fmla="*/ 0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0" y="45"/>
                  </a:moveTo>
                  <a:lnTo>
                    <a:pt x="79" y="91"/>
                  </a:lnTo>
                  <a:lnTo>
                    <a:pt x="158" y="45"/>
                  </a:lnTo>
                  <a:lnTo>
                    <a:pt x="79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1" name="Freeform 110">
              <a:extLst>
                <a:ext uri="{FF2B5EF4-FFF2-40B4-BE49-F238E27FC236}">
                  <a16:creationId xmlns:a16="http://schemas.microsoft.com/office/drawing/2014/main" id="{23A3FC56-AC10-4953-A3FE-5F20C1728E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91588" y="4355526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2" name="Freeform 111">
              <a:extLst>
                <a:ext uri="{FF2B5EF4-FFF2-40B4-BE49-F238E27FC236}">
                  <a16:creationId xmlns:a16="http://schemas.microsoft.com/office/drawing/2014/main" id="{6BB24F15-2950-4EAF-9B88-578646A17F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176" y="4355526"/>
              <a:ext cx="125413" cy="100013"/>
            </a:xfrm>
            <a:custGeom>
              <a:avLst/>
              <a:gdLst>
                <a:gd name="T0" fmla="*/ 1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1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1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3" name="Freeform 112">
              <a:extLst>
                <a:ext uri="{FF2B5EF4-FFF2-40B4-BE49-F238E27FC236}">
                  <a16:creationId xmlns:a16="http://schemas.microsoft.com/office/drawing/2014/main" id="{51C93CB2-4B76-4BBF-8A8F-9374D26A5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7763" y="4284089"/>
              <a:ext cx="249238" cy="144463"/>
            </a:xfrm>
            <a:custGeom>
              <a:avLst/>
              <a:gdLst>
                <a:gd name="T0" fmla="*/ 0 w 157"/>
                <a:gd name="T1" fmla="*/ 45 h 91"/>
                <a:gd name="T2" fmla="*/ 78 w 157"/>
                <a:gd name="T3" fmla="*/ 91 h 91"/>
                <a:gd name="T4" fmla="*/ 157 w 157"/>
                <a:gd name="T5" fmla="*/ 45 h 91"/>
                <a:gd name="T6" fmla="*/ 78 w 157"/>
                <a:gd name="T7" fmla="*/ 0 h 91"/>
                <a:gd name="T8" fmla="*/ 0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0" y="45"/>
                  </a:moveTo>
                  <a:lnTo>
                    <a:pt x="78" y="91"/>
                  </a:lnTo>
                  <a:lnTo>
                    <a:pt x="157" y="45"/>
                  </a:lnTo>
                  <a:lnTo>
                    <a:pt x="78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4" name="Freeform 113">
              <a:extLst>
                <a:ext uri="{FF2B5EF4-FFF2-40B4-BE49-F238E27FC236}">
                  <a16:creationId xmlns:a16="http://schemas.microsoft.com/office/drawing/2014/main" id="{B1AEF148-094D-49ED-9B5C-87717EC375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59863" y="4452364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5" name="Freeform 114">
              <a:extLst>
                <a:ext uri="{FF2B5EF4-FFF2-40B4-BE49-F238E27FC236}">
                  <a16:creationId xmlns:a16="http://schemas.microsoft.com/office/drawing/2014/main" id="{C1DBB987-6F95-4F8F-A40F-89077E396B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34451" y="4452364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6" name="Freeform 115">
              <a:extLst>
                <a:ext uri="{FF2B5EF4-FFF2-40B4-BE49-F238E27FC236}">
                  <a16:creationId xmlns:a16="http://schemas.microsoft.com/office/drawing/2014/main" id="{37F1CB7C-1F68-487E-912A-79F171A31B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34451" y="4379339"/>
              <a:ext cx="249238" cy="146050"/>
            </a:xfrm>
            <a:custGeom>
              <a:avLst/>
              <a:gdLst>
                <a:gd name="T0" fmla="*/ 0 w 157"/>
                <a:gd name="T1" fmla="*/ 46 h 92"/>
                <a:gd name="T2" fmla="*/ 79 w 157"/>
                <a:gd name="T3" fmla="*/ 92 h 92"/>
                <a:gd name="T4" fmla="*/ 157 w 157"/>
                <a:gd name="T5" fmla="*/ 46 h 92"/>
                <a:gd name="T6" fmla="*/ 78 w 157"/>
                <a:gd name="T7" fmla="*/ 0 h 92"/>
                <a:gd name="T8" fmla="*/ 0 w 157"/>
                <a:gd name="T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2">
                  <a:moveTo>
                    <a:pt x="0" y="46"/>
                  </a:moveTo>
                  <a:lnTo>
                    <a:pt x="79" y="92"/>
                  </a:lnTo>
                  <a:lnTo>
                    <a:pt x="157" y="46"/>
                  </a:lnTo>
                  <a:lnTo>
                    <a:pt x="78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7" name="Freeform 116">
              <a:extLst>
                <a:ext uri="{FF2B5EF4-FFF2-40B4-BE49-F238E27FC236}">
                  <a16:creationId xmlns:a16="http://schemas.microsoft.com/office/drawing/2014/main" id="{E0393BF0-5604-4D3C-BCBC-61E5441F7A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26551" y="4549201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8" name="Freeform 117">
              <a:extLst>
                <a:ext uri="{FF2B5EF4-FFF2-40B4-BE49-F238E27FC236}">
                  <a16:creationId xmlns:a16="http://schemas.microsoft.com/office/drawing/2014/main" id="{2C1D0602-087D-40F0-A6E2-E2BD0F2DE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01138" y="4549201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9" name="Freeform 118">
              <a:extLst>
                <a:ext uri="{FF2B5EF4-FFF2-40B4-BE49-F238E27FC236}">
                  <a16:creationId xmlns:a16="http://schemas.microsoft.com/office/drawing/2014/main" id="{B15D022A-C8FB-47A9-BC0B-8859ADA4BB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01138" y="4476176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0" name="Freeform 119">
              <a:extLst>
                <a:ext uri="{FF2B5EF4-FFF2-40B4-BE49-F238E27FC236}">
                  <a16:creationId xmlns:a16="http://schemas.microsoft.com/office/drawing/2014/main" id="{3A001E16-0717-4C82-9BF2-B41B8107C7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3238" y="4644451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1" name="Freeform 120">
              <a:extLst>
                <a:ext uri="{FF2B5EF4-FFF2-40B4-BE49-F238E27FC236}">
                  <a16:creationId xmlns:a16="http://schemas.microsoft.com/office/drawing/2014/main" id="{698D1C01-0908-4C27-8A91-9FFB61BFC3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67826" y="464445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2" name="Freeform 121">
              <a:extLst>
                <a:ext uri="{FF2B5EF4-FFF2-40B4-BE49-F238E27FC236}">
                  <a16:creationId xmlns:a16="http://schemas.microsoft.com/office/drawing/2014/main" id="{D0EFBDB4-1CED-4EC7-A864-8EFCA92C0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67826" y="4573014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3" name="Freeform 122">
              <a:extLst>
                <a:ext uri="{FF2B5EF4-FFF2-40B4-BE49-F238E27FC236}">
                  <a16:creationId xmlns:a16="http://schemas.microsoft.com/office/drawing/2014/main" id="{2C6471D0-C9D9-4F30-8386-88FE4A08A5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59938" y="4798439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4" name="Freeform 123">
              <a:extLst>
                <a:ext uri="{FF2B5EF4-FFF2-40B4-BE49-F238E27FC236}">
                  <a16:creationId xmlns:a16="http://schemas.microsoft.com/office/drawing/2014/main" id="{8C9EA35A-7DA9-4778-941E-C81C29FF74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40863" y="4744464"/>
              <a:ext cx="219075" cy="153988"/>
            </a:xfrm>
            <a:custGeom>
              <a:avLst/>
              <a:gdLst>
                <a:gd name="T0" fmla="*/ 0 w 138"/>
                <a:gd name="T1" fmla="*/ 0 h 97"/>
                <a:gd name="T2" fmla="*/ 0 w 138"/>
                <a:gd name="T3" fmla="*/ 17 h 97"/>
                <a:gd name="T4" fmla="*/ 138 w 138"/>
                <a:gd name="T5" fmla="*/ 97 h 97"/>
                <a:gd name="T6" fmla="*/ 138 w 138"/>
                <a:gd name="T7" fmla="*/ 80 h 97"/>
                <a:gd name="T8" fmla="*/ 0 w 138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97">
                  <a:moveTo>
                    <a:pt x="0" y="0"/>
                  </a:moveTo>
                  <a:lnTo>
                    <a:pt x="0" y="17"/>
                  </a:lnTo>
                  <a:lnTo>
                    <a:pt x="138" y="97"/>
                  </a:lnTo>
                  <a:lnTo>
                    <a:pt x="138" y="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5" name="Freeform 124">
              <a:extLst>
                <a:ext uri="{FF2B5EF4-FFF2-40B4-BE49-F238E27FC236}">
                  <a16:creationId xmlns:a16="http://schemas.microsoft.com/office/drawing/2014/main" id="{2BCD3551-142B-4798-8783-8DC62965A0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40863" y="4673026"/>
              <a:ext cx="342900" cy="198438"/>
            </a:xfrm>
            <a:custGeom>
              <a:avLst/>
              <a:gdLst>
                <a:gd name="T0" fmla="*/ 0 w 216"/>
                <a:gd name="T1" fmla="*/ 45 h 125"/>
                <a:gd name="T2" fmla="*/ 138 w 216"/>
                <a:gd name="T3" fmla="*/ 125 h 125"/>
                <a:gd name="T4" fmla="*/ 216 w 216"/>
                <a:gd name="T5" fmla="*/ 79 h 125"/>
                <a:gd name="T6" fmla="*/ 79 w 216"/>
                <a:gd name="T7" fmla="*/ 0 h 125"/>
                <a:gd name="T8" fmla="*/ 0 w 216"/>
                <a:gd name="T9" fmla="*/ 4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125">
                  <a:moveTo>
                    <a:pt x="0" y="45"/>
                  </a:moveTo>
                  <a:lnTo>
                    <a:pt x="138" y="125"/>
                  </a:lnTo>
                  <a:lnTo>
                    <a:pt x="216" y="79"/>
                  </a:lnTo>
                  <a:lnTo>
                    <a:pt x="79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6" name="Freeform 125">
              <a:extLst>
                <a:ext uri="{FF2B5EF4-FFF2-40B4-BE49-F238E27FC236}">
                  <a16:creationId xmlns:a16="http://schemas.microsoft.com/office/drawing/2014/main" id="{078D3821-938E-41FF-BB18-F4AACD3ABA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56513" y="3834826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7" name="Freeform 126">
              <a:extLst>
                <a:ext uri="{FF2B5EF4-FFF2-40B4-BE49-F238E27FC236}">
                  <a16:creationId xmlns:a16="http://schemas.microsoft.com/office/drawing/2014/main" id="{F0048C3E-AE5A-47A5-9F7E-82282CF1E1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2826" y="3739576"/>
              <a:ext cx="293688" cy="195263"/>
            </a:xfrm>
            <a:custGeom>
              <a:avLst/>
              <a:gdLst>
                <a:gd name="T0" fmla="*/ 185 w 185"/>
                <a:gd name="T1" fmla="*/ 106 h 123"/>
                <a:gd name="T2" fmla="*/ 0 w 185"/>
                <a:gd name="T3" fmla="*/ 0 h 123"/>
                <a:gd name="T4" fmla="*/ 0 w 185"/>
                <a:gd name="T5" fmla="*/ 17 h 123"/>
                <a:gd name="T6" fmla="*/ 185 w 185"/>
                <a:gd name="T7" fmla="*/ 123 h 123"/>
                <a:gd name="T8" fmla="*/ 185 w 185"/>
                <a:gd name="T9" fmla="*/ 10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123">
                  <a:moveTo>
                    <a:pt x="185" y="10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185" y="123"/>
                  </a:lnTo>
                  <a:lnTo>
                    <a:pt x="185" y="10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8" name="Freeform 127">
              <a:extLst>
                <a:ext uri="{FF2B5EF4-FFF2-40B4-BE49-F238E27FC236}">
                  <a16:creationId xmlns:a16="http://schemas.microsoft.com/office/drawing/2014/main" id="{25530465-0F3B-4018-BB7E-F7EB338B6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2826" y="3666551"/>
              <a:ext cx="417513" cy="241300"/>
            </a:xfrm>
            <a:custGeom>
              <a:avLst/>
              <a:gdLst>
                <a:gd name="T0" fmla="*/ 263 w 263"/>
                <a:gd name="T1" fmla="*/ 106 h 152"/>
                <a:gd name="T2" fmla="*/ 79 w 263"/>
                <a:gd name="T3" fmla="*/ 0 h 152"/>
                <a:gd name="T4" fmla="*/ 0 w 263"/>
                <a:gd name="T5" fmla="*/ 46 h 152"/>
                <a:gd name="T6" fmla="*/ 185 w 263"/>
                <a:gd name="T7" fmla="*/ 152 h 152"/>
                <a:gd name="T8" fmla="*/ 263 w 263"/>
                <a:gd name="T9" fmla="*/ 10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152">
                  <a:moveTo>
                    <a:pt x="263" y="10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185" y="152"/>
                  </a:lnTo>
                  <a:lnTo>
                    <a:pt x="263" y="10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9" name="Freeform 128">
              <a:extLst>
                <a:ext uri="{FF2B5EF4-FFF2-40B4-BE49-F238E27FC236}">
                  <a16:creationId xmlns:a16="http://schemas.microsoft.com/office/drawing/2014/main" id="{91A693C6-EDF3-4455-82B5-0835FBCB75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3201" y="3931664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0" name="Freeform 129">
              <a:extLst>
                <a:ext uri="{FF2B5EF4-FFF2-40B4-BE49-F238E27FC236}">
                  <a16:creationId xmlns:a16="http://schemas.microsoft.com/office/drawing/2014/main" id="{8A7F8F53-7E49-45B3-A46E-740604977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7788" y="39316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1" name="Freeform 130">
              <a:extLst>
                <a:ext uri="{FF2B5EF4-FFF2-40B4-BE49-F238E27FC236}">
                  <a16:creationId xmlns:a16="http://schemas.microsoft.com/office/drawing/2014/main" id="{E1A9604E-2256-4C72-827A-CF3B9A71EB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7788" y="3860226"/>
              <a:ext cx="249238" cy="142875"/>
            </a:xfrm>
            <a:custGeom>
              <a:avLst/>
              <a:gdLst>
                <a:gd name="T0" fmla="*/ 79 w 157"/>
                <a:gd name="T1" fmla="*/ 90 h 90"/>
                <a:gd name="T2" fmla="*/ 157 w 157"/>
                <a:gd name="T3" fmla="*/ 45 h 90"/>
                <a:gd name="T4" fmla="*/ 78 w 157"/>
                <a:gd name="T5" fmla="*/ 0 h 90"/>
                <a:gd name="T6" fmla="*/ 0 w 157"/>
                <a:gd name="T7" fmla="*/ 45 h 90"/>
                <a:gd name="T8" fmla="*/ 79 w 157"/>
                <a:gd name="T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0">
                  <a:moveTo>
                    <a:pt x="79" y="90"/>
                  </a:moveTo>
                  <a:lnTo>
                    <a:pt x="157" y="45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79" y="90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2" name="Freeform 131">
              <a:extLst>
                <a:ext uri="{FF2B5EF4-FFF2-40B4-BE49-F238E27FC236}">
                  <a16:creationId xmlns:a16="http://schemas.microsoft.com/office/drawing/2014/main" id="{A2CD6D0F-3C7B-4321-9954-F0C0C7CCFC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9888" y="4026914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3" name="Freeform 132">
              <a:extLst>
                <a:ext uri="{FF2B5EF4-FFF2-40B4-BE49-F238E27FC236}">
                  <a16:creationId xmlns:a16="http://schemas.microsoft.com/office/drawing/2014/main" id="{CC15BCFF-3EA8-40C4-984E-40BD673380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4476" y="4026914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4" name="Freeform 133">
              <a:extLst>
                <a:ext uri="{FF2B5EF4-FFF2-40B4-BE49-F238E27FC236}">
                  <a16:creationId xmlns:a16="http://schemas.microsoft.com/office/drawing/2014/main" id="{016B648F-3003-4DA2-85FB-64A2BE31AC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4476" y="3955476"/>
              <a:ext cx="249238" cy="144463"/>
            </a:xfrm>
            <a:custGeom>
              <a:avLst/>
              <a:gdLst>
                <a:gd name="T0" fmla="*/ 79 w 157"/>
                <a:gd name="T1" fmla="*/ 91 h 91"/>
                <a:gd name="T2" fmla="*/ 157 w 157"/>
                <a:gd name="T3" fmla="*/ 45 h 91"/>
                <a:gd name="T4" fmla="*/ 79 w 157"/>
                <a:gd name="T5" fmla="*/ 0 h 91"/>
                <a:gd name="T6" fmla="*/ 0 w 157"/>
                <a:gd name="T7" fmla="*/ 45 h 91"/>
                <a:gd name="T8" fmla="*/ 79 w 157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79" y="91"/>
                  </a:moveTo>
                  <a:lnTo>
                    <a:pt x="157" y="45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5" name="Freeform 134">
              <a:extLst>
                <a:ext uri="{FF2B5EF4-FFF2-40B4-BE49-F238E27FC236}">
                  <a16:creationId xmlns:a16="http://schemas.microsoft.com/office/drawing/2014/main" id="{0F1464F7-C1D4-4BDF-92EB-5B74762EC8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6576" y="4123751"/>
              <a:ext cx="125413" cy="98425"/>
            </a:xfrm>
            <a:custGeom>
              <a:avLst/>
              <a:gdLst>
                <a:gd name="T0" fmla="*/ 79 w 79"/>
                <a:gd name="T1" fmla="*/ 0 h 62"/>
                <a:gd name="T2" fmla="*/ 0 w 79"/>
                <a:gd name="T3" fmla="*/ 45 h 62"/>
                <a:gd name="T4" fmla="*/ 0 w 79"/>
                <a:gd name="T5" fmla="*/ 62 h 62"/>
                <a:gd name="T6" fmla="*/ 79 w 79"/>
                <a:gd name="T7" fmla="*/ 17 h 62"/>
                <a:gd name="T8" fmla="*/ 79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0"/>
                  </a:moveTo>
                  <a:lnTo>
                    <a:pt x="0" y="45"/>
                  </a:lnTo>
                  <a:lnTo>
                    <a:pt x="0" y="62"/>
                  </a:lnTo>
                  <a:lnTo>
                    <a:pt x="79" y="17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6" name="Freeform 135">
              <a:extLst>
                <a:ext uri="{FF2B5EF4-FFF2-40B4-BE49-F238E27FC236}">
                  <a16:creationId xmlns:a16="http://schemas.microsoft.com/office/drawing/2014/main" id="{5DF119A9-E620-4D2A-9BDD-F6850F3E25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1163" y="412375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7" name="Freeform 136">
              <a:extLst>
                <a:ext uri="{FF2B5EF4-FFF2-40B4-BE49-F238E27FC236}">
                  <a16:creationId xmlns:a16="http://schemas.microsoft.com/office/drawing/2014/main" id="{09505D65-48D4-4A4E-85CB-6FF1DA525E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1163" y="4050726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8" name="Freeform 137">
              <a:extLst>
                <a:ext uri="{FF2B5EF4-FFF2-40B4-BE49-F238E27FC236}">
                  <a16:creationId xmlns:a16="http://schemas.microsoft.com/office/drawing/2014/main" id="{34FD91B1-A4F1-43BF-AE93-983A45515A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3263" y="4219001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1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1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9" name="Freeform 138">
              <a:extLst>
                <a:ext uri="{FF2B5EF4-FFF2-40B4-BE49-F238E27FC236}">
                  <a16:creationId xmlns:a16="http://schemas.microsoft.com/office/drawing/2014/main" id="{9E762378-87DD-43CE-A229-4AE0EB06AF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7851" y="4219001"/>
              <a:ext cx="127000" cy="100013"/>
            </a:xfrm>
            <a:custGeom>
              <a:avLst/>
              <a:gdLst>
                <a:gd name="T0" fmla="*/ 80 w 80"/>
                <a:gd name="T1" fmla="*/ 46 h 63"/>
                <a:gd name="T2" fmla="*/ 1 w 80"/>
                <a:gd name="T3" fmla="*/ 0 h 63"/>
                <a:gd name="T4" fmla="*/ 0 w 80"/>
                <a:gd name="T5" fmla="*/ 17 h 63"/>
                <a:gd name="T6" fmla="*/ 79 w 80"/>
                <a:gd name="T7" fmla="*/ 63 h 63"/>
                <a:gd name="T8" fmla="*/ 80 w 80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3">
                  <a:moveTo>
                    <a:pt x="80" y="46"/>
                  </a:moveTo>
                  <a:lnTo>
                    <a:pt x="1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80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0" name="Freeform 139">
              <a:extLst>
                <a:ext uri="{FF2B5EF4-FFF2-40B4-BE49-F238E27FC236}">
                  <a16:creationId xmlns:a16="http://schemas.microsoft.com/office/drawing/2014/main" id="{C17DCD8C-C935-40D0-8A20-067C25E5EB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9438" y="4147564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1" name="Freeform 140">
              <a:extLst>
                <a:ext uri="{FF2B5EF4-FFF2-40B4-BE49-F238E27FC236}">
                  <a16:creationId xmlns:a16="http://schemas.microsoft.com/office/drawing/2014/main" id="{7AE7C5B7-2FF5-4090-B718-5843CB6C0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538" y="4315839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2" name="Freeform 141">
              <a:extLst>
                <a:ext uri="{FF2B5EF4-FFF2-40B4-BE49-F238E27FC236}">
                  <a16:creationId xmlns:a16="http://schemas.microsoft.com/office/drawing/2014/main" id="{DF79A42E-F849-4A9D-9763-8EDE14A0A7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126" y="4315839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3" name="Freeform 142">
              <a:extLst>
                <a:ext uri="{FF2B5EF4-FFF2-40B4-BE49-F238E27FC236}">
                  <a16:creationId xmlns:a16="http://schemas.microsoft.com/office/drawing/2014/main" id="{125D4995-793D-4910-836D-B29F9E5F9C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126" y="4244401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4" name="Freeform 143">
              <a:extLst>
                <a:ext uri="{FF2B5EF4-FFF2-40B4-BE49-F238E27FC236}">
                  <a16:creationId xmlns:a16="http://schemas.microsoft.com/office/drawing/2014/main" id="{A87C1753-FA89-486C-BAEE-533D3F8B2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58226" y="4412676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5" name="Freeform 144">
              <a:extLst>
                <a:ext uri="{FF2B5EF4-FFF2-40B4-BE49-F238E27FC236}">
                  <a16:creationId xmlns:a16="http://schemas.microsoft.com/office/drawing/2014/main" id="{EAB4B929-D54E-46EE-B7AE-31EFCC2995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2813" y="4412676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6" name="Freeform 145">
              <a:extLst>
                <a:ext uri="{FF2B5EF4-FFF2-40B4-BE49-F238E27FC236}">
                  <a16:creationId xmlns:a16="http://schemas.microsoft.com/office/drawing/2014/main" id="{62658B31-621D-4DDA-AB69-6E464B5A62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2813" y="4339651"/>
              <a:ext cx="249238" cy="146050"/>
            </a:xfrm>
            <a:custGeom>
              <a:avLst/>
              <a:gdLst>
                <a:gd name="T0" fmla="*/ 157 w 157"/>
                <a:gd name="T1" fmla="*/ 46 h 92"/>
                <a:gd name="T2" fmla="*/ 78 w 157"/>
                <a:gd name="T3" fmla="*/ 0 h 92"/>
                <a:gd name="T4" fmla="*/ 0 w 157"/>
                <a:gd name="T5" fmla="*/ 46 h 92"/>
                <a:gd name="T6" fmla="*/ 79 w 157"/>
                <a:gd name="T7" fmla="*/ 92 h 92"/>
                <a:gd name="T8" fmla="*/ 157 w 157"/>
                <a:gd name="T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2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2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7" name="Freeform 146">
              <a:extLst>
                <a:ext uri="{FF2B5EF4-FFF2-40B4-BE49-F238E27FC236}">
                  <a16:creationId xmlns:a16="http://schemas.microsoft.com/office/drawing/2014/main" id="{0274250E-62B9-463B-AAAF-F35273325D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24913" y="450951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8" name="Freeform 147">
              <a:extLst>
                <a:ext uri="{FF2B5EF4-FFF2-40B4-BE49-F238E27FC236}">
                  <a16:creationId xmlns:a16="http://schemas.microsoft.com/office/drawing/2014/main" id="{154CBC64-D798-4574-AC8D-7E283A81F3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9501" y="4509514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9" name="Freeform 148">
              <a:extLst>
                <a:ext uri="{FF2B5EF4-FFF2-40B4-BE49-F238E27FC236}">
                  <a16:creationId xmlns:a16="http://schemas.microsoft.com/office/drawing/2014/main" id="{A8F2D449-0596-4399-9CD5-87DA21F2E9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9501" y="4436489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0" name="Freeform 149">
              <a:extLst>
                <a:ext uri="{FF2B5EF4-FFF2-40B4-BE49-F238E27FC236}">
                  <a16:creationId xmlns:a16="http://schemas.microsoft.com/office/drawing/2014/main" id="{5E34444A-AF1B-4078-A677-5F0E528064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91601" y="4604764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1" name="Freeform 150">
              <a:extLst>
                <a:ext uri="{FF2B5EF4-FFF2-40B4-BE49-F238E27FC236}">
                  <a16:creationId xmlns:a16="http://schemas.microsoft.com/office/drawing/2014/main" id="{6A0D617B-8BA8-4AF8-A8EA-81BAC01714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6188" y="4604764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2" name="Freeform 151">
              <a:extLst>
                <a:ext uri="{FF2B5EF4-FFF2-40B4-BE49-F238E27FC236}">
                  <a16:creationId xmlns:a16="http://schemas.microsoft.com/office/drawing/2014/main" id="{4D9938FB-8B37-4E9A-884B-78EC2F65A2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6188" y="4533326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3" name="Freeform 152">
              <a:extLst>
                <a:ext uri="{FF2B5EF4-FFF2-40B4-BE49-F238E27FC236}">
                  <a16:creationId xmlns:a16="http://schemas.microsoft.com/office/drawing/2014/main" id="{F5244804-8D5A-4053-8694-5A924673FB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9876" y="4701601"/>
              <a:ext cx="123825" cy="100013"/>
            </a:xfrm>
            <a:custGeom>
              <a:avLst/>
              <a:gdLst>
                <a:gd name="T0" fmla="*/ 78 w 78"/>
                <a:gd name="T1" fmla="*/ 0 h 63"/>
                <a:gd name="T2" fmla="*/ 0 w 78"/>
                <a:gd name="T3" fmla="*/ 46 h 63"/>
                <a:gd name="T4" fmla="*/ 0 w 78"/>
                <a:gd name="T5" fmla="*/ 63 h 63"/>
                <a:gd name="T6" fmla="*/ 78 w 78"/>
                <a:gd name="T7" fmla="*/ 17 h 63"/>
                <a:gd name="T8" fmla="*/ 78 w 78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78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4" name="Freeform 153">
              <a:extLst>
                <a:ext uri="{FF2B5EF4-FFF2-40B4-BE49-F238E27FC236}">
                  <a16:creationId xmlns:a16="http://schemas.microsoft.com/office/drawing/2014/main" id="{7172E2F6-0754-49EF-8CD6-9BA8631B1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4463" y="4701601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5" name="Freeform 154">
              <a:extLst>
                <a:ext uri="{FF2B5EF4-FFF2-40B4-BE49-F238E27FC236}">
                  <a16:creationId xmlns:a16="http://schemas.microsoft.com/office/drawing/2014/main" id="{1A20A900-5E4B-4F77-8FB9-642302915A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4463" y="4630164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6" name="Freeform 155">
              <a:extLst>
                <a:ext uri="{FF2B5EF4-FFF2-40B4-BE49-F238E27FC236}">
                  <a16:creationId xmlns:a16="http://schemas.microsoft.com/office/drawing/2014/main" id="{DF7BF1EA-268A-4473-A8D2-6404B1E3A8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23138" y="3834826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7" name="Freeform 156">
              <a:extLst>
                <a:ext uri="{FF2B5EF4-FFF2-40B4-BE49-F238E27FC236}">
                  <a16:creationId xmlns:a16="http://schemas.microsoft.com/office/drawing/2014/main" id="{65C63A1D-0723-451E-8096-E366C758D0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7726" y="3834826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8" name="Freeform 157">
              <a:extLst>
                <a:ext uri="{FF2B5EF4-FFF2-40B4-BE49-F238E27FC236}">
                  <a16:creationId xmlns:a16="http://schemas.microsoft.com/office/drawing/2014/main" id="{7C0F984F-4F10-4EFC-9DF6-816DBA351D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7726" y="3763389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9" name="Freeform 158">
              <a:extLst>
                <a:ext uri="{FF2B5EF4-FFF2-40B4-BE49-F238E27FC236}">
                  <a16:creationId xmlns:a16="http://schemas.microsoft.com/office/drawing/2014/main" id="{CA65F026-642F-4FAD-A091-2318480BFC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89826" y="393166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0" name="Freeform 159">
              <a:extLst>
                <a:ext uri="{FF2B5EF4-FFF2-40B4-BE49-F238E27FC236}">
                  <a16:creationId xmlns:a16="http://schemas.microsoft.com/office/drawing/2014/main" id="{E7776DD9-4DB6-446E-91B2-D041CE11B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413" y="39316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1" name="Freeform 160">
              <a:extLst>
                <a:ext uri="{FF2B5EF4-FFF2-40B4-BE49-F238E27FC236}">
                  <a16:creationId xmlns:a16="http://schemas.microsoft.com/office/drawing/2014/main" id="{C0598CBE-A53F-487E-A38E-34EE7E7DD6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413" y="3858639"/>
              <a:ext cx="250825" cy="144463"/>
            </a:xfrm>
            <a:custGeom>
              <a:avLst/>
              <a:gdLst>
                <a:gd name="T0" fmla="*/ 0 w 158"/>
                <a:gd name="T1" fmla="*/ 46 h 91"/>
                <a:gd name="T2" fmla="*/ 79 w 158"/>
                <a:gd name="T3" fmla="*/ 91 h 91"/>
                <a:gd name="T4" fmla="*/ 158 w 158"/>
                <a:gd name="T5" fmla="*/ 46 h 91"/>
                <a:gd name="T6" fmla="*/ 79 w 158"/>
                <a:gd name="T7" fmla="*/ 0 h 91"/>
                <a:gd name="T8" fmla="*/ 0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0" y="46"/>
                  </a:moveTo>
                  <a:lnTo>
                    <a:pt x="79" y="91"/>
                  </a:lnTo>
                  <a:lnTo>
                    <a:pt x="158" y="46"/>
                  </a:lnTo>
                  <a:lnTo>
                    <a:pt x="79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2" name="Freeform 161">
              <a:extLst>
                <a:ext uri="{FF2B5EF4-FFF2-40B4-BE49-F238E27FC236}">
                  <a16:creationId xmlns:a16="http://schemas.microsoft.com/office/drawing/2014/main" id="{5559DD4B-2D07-42DA-97AF-2A2FF0467B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56513" y="402691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3" name="Freeform 162">
              <a:extLst>
                <a:ext uri="{FF2B5EF4-FFF2-40B4-BE49-F238E27FC236}">
                  <a16:creationId xmlns:a16="http://schemas.microsoft.com/office/drawing/2014/main" id="{812288A8-BFA6-402D-94D7-9D178CCA44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1101" y="402691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4" name="Freeform 163">
              <a:extLst>
                <a:ext uri="{FF2B5EF4-FFF2-40B4-BE49-F238E27FC236}">
                  <a16:creationId xmlns:a16="http://schemas.microsoft.com/office/drawing/2014/main" id="{7CB01C71-9CDF-4454-8F72-AE69BFB1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1101" y="3955476"/>
              <a:ext cx="250825" cy="142875"/>
            </a:xfrm>
            <a:custGeom>
              <a:avLst/>
              <a:gdLst>
                <a:gd name="T0" fmla="*/ 0 w 158"/>
                <a:gd name="T1" fmla="*/ 45 h 90"/>
                <a:gd name="T2" fmla="*/ 79 w 158"/>
                <a:gd name="T3" fmla="*/ 90 h 90"/>
                <a:gd name="T4" fmla="*/ 158 w 158"/>
                <a:gd name="T5" fmla="*/ 45 h 90"/>
                <a:gd name="T6" fmla="*/ 79 w 158"/>
                <a:gd name="T7" fmla="*/ 0 h 90"/>
                <a:gd name="T8" fmla="*/ 0 w 158"/>
                <a:gd name="T9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0">
                  <a:moveTo>
                    <a:pt x="0" y="45"/>
                  </a:moveTo>
                  <a:lnTo>
                    <a:pt x="79" y="90"/>
                  </a:lnTo>
                  <a:lnTo>
                    <a:pt x="158" y="45"/>
                  </a:lnTo>
                  <a:lnTo>
                    <a:pt x="79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5" name="Freeform 164">
              <a:extLst>
                <a:ext uri="{FF2B5EF4-FFF2-40B4-BE49-F238E27FC236}">
                  <a16:creationId xmlns:a16="http://schemas.microsoft.com/office/drawing/2014/main" id="{A0709D4A-452B-4FC0-8EBD-53566D89D1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4788" y="4123751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6" name="Freeform 165">
              <a:extLst>
                <a:ext uri="{FF2B5EF4-FFF2-40B4-BE49-F238E27FC236}">
                  <a16:creationId xmlns:a16="http://schemas.microsoft.com/office/drawing/2014/main" id="{D2CFE9D6-DE4E-4B4C-8572-DE96B8DB73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9376" y="4123751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7" name="Freeform 166">
              <a:extLst>
                <a:ext uri="{FF2B5EF4-FFF2-40B4-BE49-F238E27FC236}">
                  <a16:creationId xmlns:a16="http://schemas.microsoft.com/office/drawing/2014/main" id="{192CB573-F7C9-4665-8A4B-5F3D714DDA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9376" y="4050726"/>
              <a:ext cx="249238" cy="144463"/>
            </a:xfrm>
            <a:custGeom>
              <a:avLst/>
              <a:gdLst>
                <a:gd name="T0" fmla="*/ 0 w 157"/>
                <a:gd name="T1" fmla="*/ 46 h 91"/>
                <a:gd name="T2" fmla="*/ 79 w 157"/>
                <a:gd name="T3" fmla="*/ 91 h 91"/>
                <a:gd name="T4" fmla="*/ 157 w 157"/>
                <a:gd name="T5" fmla="*/ 46 h 91"/>
                <a:gd name="T6" fmla="*/ 78 w 157"/>
                <a:gd name="T7" fmla="*/ 0 h 91"/>
                <a:gd name="T8" fmla="*/ 0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0" y="46"/>
                  </a:moveTo>
                  <a:lnTo>
                    <a:pt x="79" y="91"/>
                  </a:lnTo>
                  <a:lnTo>
                    <a:pt x="157" y="46"/>
                  </a:lnTo>
                  <a:lnTo>
                    <a:pt x="78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8" name="Freeform 167">
              <a:extLst>
                <a:ext uri="{FF2B5EF4-FFF2-40B4-BE49-F238E27FC236}">
                  <a16:creationId xmlns:a16="http://schemas.microsoft.com/office/drawing/2014/main" id="{43885EE1-6917-426E-8490-749581306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91476" y="4219001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9" name="Freeform 168">
              <a:extLst>
                <a:ext uri="{FF2B5EF4-FFF2-40B4-BE49-F238E27FC236}">
                  <a16:creationId xmlns:a16="http://schemas.microsoft.com/office/drawing/2014/main" id="{03657840-5B89-42BF-BA90-0AEBB45F69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6063" y="421900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0" name="Freeform 169">
              <a:extLst>
                <a:ext uri="{FF2B5EF4-FFF2-40B4-BE49-F238E27FC236}">
                  <a16:creationId xmlns:a16="http://schemas.microsoft.com/office/drawing/2014/main" id="{1864B518-02A1-4ACB-A186-097157ABA1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6063" y="4147564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1" name="Freeform 170">
              <a:extLst>
                <a:ext uri="{FF2B5EF4-FFF2-40B4-BE49-F238E27FC236}">
                  <a16:creationId xmlns:a16="http://schemas.microsoft.com/office/drawing/2014/main" id="{2FA1DDBF-3C35-47DE-9DE5-27DB5FB2F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8163" y="4315839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2" name="Freeform 171">
              <a:extLst>
                <a:ext uri="{FF2B5EF4-FFF2-40B4-BE49-F238E27FC236}">
                  <a16:creationId xmlns:a16="http://schemas.microsoft.com/office/drawing/2014/main" id="{CE6A90BF-5691-4280-956C-862DFBC880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2751" y="4315839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3" name="Freeform 172">
              <a:extLst>
                <a:ext uri="{FF2B5EF4-FFF2-40B4-BE49-F238E27FC236}">
                  <a16:creationId xmlns:a16="http://schemas.microsoft.com/office/drawing/2014/main" id="{A7493AB7-BC23-4679-8796-1752C4D3FC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2751" y="4242814"/>
              <a:ext cx="250825" cy="146050"/>
            </a:xfrm>
            <a:custGeom>
              <a:avLst/>
              <a:gdLst>
                <a:gd name="T0" fmla="*/ 158 w 158"/>
                <a:gd name="T1" fmla="*/ 46 h 92"/>
                <a:gd name="T2" fmla="*/ 79 w 158"/>
                <a:gd name="T3" fmla="*/ 0 h 92"/>
                <a:gd name="T4" fmla="*/ 0 w 158"/>
                <a:gd name="T5" fmla="*/ 46 h 92"/>
                <a:gd name="T6" fmla="*/ 79 w 158"/>
                <a:gd name="T7" fmla="*/ 92 h 92"/>
                <a:gd name="T8" fmla="*/ 158 w 158"/>
                <a:gd name="T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2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2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4" name="Freeform 173">
              <a:extLst>
                <a:ext uri="{FF2B5EF4-FFF2-40B4-BE49-F238E27FC236}">
                  <a16:creationId xmlns:a16="http://schemas.microsoft.com/office/drawing/2014/main" id="{D2E82461-B121-4A44-AC56-4B3B3AA2AD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4851" y="4412676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5" name="Freeform 174">
              <a:extLst>
                <a:ext uri="{FF2B5EF4-FFF2-40B4-BE49-F238E27FC236}">
                  <a16:creationId xmlns:a16="http://schemas.microsoft.com/office/drawing/2014/main" id="{79607198-7434-4BA1-BF36-E88890408C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9438" y="4412676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6" name="Freeform 175">
              <a:extLst>
                <a:ext uri="{FF2B5EF4-FFF2-40B4-BE49-F238E27FC236}">
                  <a16:creationId xmlns:a16="http://schemas.microsoft.com/office/drawing/2014/main" id="{CA10B4D3-47E8-41AE-B208-C6A0803FB7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99438" y="4339651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7" name="Freeform 176">
              <a:extLst>
                <a:ext uri="{FF2B5EF4-FFF2-40B4-BE49-F238E27FC236}">
                  <a16:creationId xmlns:a16="http://schemas.microsoft.com/office/drawing/2014/main" id="{CFFE8F4E-1EDA-44D4-A198-7282BA66BF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3126" y="4509514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8" name="Freeform 177">
              <a:extLst>
                <a:ext uri="{FF2B5EF4-FFF2-40B4-BE49-F238E27FC236}">
                  <a16:creationId xmlns:a16="http://schemas.microsoft.com/office/drawing/2014/main" id="{3DD4AA24-DFB3-4B19-8EB9-279094F7CE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7713" y="4509514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9" name="Freeform 178">
              <a:extLst>
                <a:ext uri="{FF2B5EF4-FFF2-40B4-BE49-F238E27FC236}">
                  <a16:creationId xmlns:a16="http://schemas.microsoft.com/office/drawing/2014/main" id="{7E48C851-3140-4C44-B27A-DD270A5493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7713" y="4436489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0" name="Freeform 179">
              <a:extLst>
                <a:ext uri="{FF2B5EF4-FFF2-40B4-BE49-F238E27FC236}">
                  <a16:creationId xmlns:a16="http://schemas.microsoft.com/office/drawing/2014/main" id="{74172AF2-3312-47A0-9BB4-CD81D509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59813" y="4604764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1" name="Freeform 180">
              <a:extLst>
                <a:ext uri="{FF2B5EF4-FFF2-40B4-BE49-F238E27FC236}">
                  <a16:creationId xmlns:a16="http://schemas.microsoft.com/office/drawing/2014/main" id="{D076FD69-494D-462A-82D2-FE32FA823F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4401" y="4604764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2" name="Freeform 181">
              <a:extLst>
                <a:ext uri="{FF2B5EF4-FFF2-40B4-BE49-F238E27FC236}">
                  <a16:creationId xmlns:a16="http://schemas.microsoft.com/office/drawing/2014/main" id="{31909F4E-5B2E-44D5-BE87-952CFBB0A4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4401" y="4533326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3" name="Freeform 182">
              <a:extLst>
                <a:ext uri="{FF2B5EF4-FFF2-40B4-BE49-F238E27FC236}">
                  <a16:creationId xmlns:a16="http://schemas.microsoft.com/office/drawing/2014/main" id="{C14DAE07-E019-4CFD-8AD7-FFC16FF92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26501" y="4701601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8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8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4" name="Freeform 183">
              <a:extLst>
                <a:ext uri="{FF2B5EF4-FFF2-40B4-BE49-F238E27FC236}">
                  <a16:creationId xmlns:a16="http://schemas.microsoft.com/office/drawing/2014/main" id="{27BB24BC-19E0-4CFA-8D2D-6A45181B2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1088" y="470160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5" name="Freeform 184">
              <a:extLst>
                <a:ext uri="{FF2B5EF4-FFF2-40B4-BE49-F238E27FC236}">
                  <a16:creationId xmlns:a16="http://schemas.microsoft.com/office/drawing/2014/main" id="{9D486805-D504-4C0F-A940-A0B1945DB3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1088" y="4630164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6" name="Freeform 185">
              <a:extLst>
                <a:ext uri="{FF2B5EF4-FFF2-40B4-BE49-F238E27FC236}">
                  <a16:creationId xmlns:a16="http://schemas.microsoft.com/office/drawing/2014/main" id="{66A655FA-23B4-4E9C-88AF-EF79FC1692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93188" y="4798439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7" name="Freeform 186">
              <a:extLst>
                <a:ext uri="{FF2B5EF4-FFF2-40B4-BE49-F238E27FC236}">
                  <a16:creationId xmlns:a16="http://schemas.microsoft.com/office/drawing/2014/main" id="{6FFDBB86-C8CE-4D53-A04C-89EF909098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7776" y="4798439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8" name="Freeform 187">
              <a:extLst>
                <a:ext uri="{FF2B5EF4-FFF2-40B4-BE49-F238E27FC236}">
                  <a16:creationId xmlns:a16="http://schemas.microsoft.com/office/drawing/2014/main" id="{FA05048F-DAEF-49BC-8770-BF641E60A8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7776" y="4725414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9" name="Freeform 188">
              <a:extLst>
                <a:ext uri="{FF2B5EF4-FFF2-40B4-BE49-F238E27FC236}">
                  <a16:creationId xmlns:a16="http://schemas.microsoft.com/office/drawing/2014/main" id="{20FC8F8F-F55C-4588-BA42-AAEDE2FCDE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4798439"/>
              <a:ext cx="174625" cy="112713"/>
            </a:xfrm>
            <a:custGeom>
              <a:avLst/>
              <a:gdLst>
                <a:gd name="T0" fmla="*/ 0 w 110"/>
                <a:gd name="T1" fmla="*/ 0 h 71"/>
                <a:gd name="T2" fmla="*/ 0 w 110"/>
                <a:gd name="T3" fmla="*/ 17 h 71"/>
                <a:gd name="T4" fmla="*/ 95 w 110"/>
                <a:gd name="T5" fmla="*/ 71 h 71"/>
                <a:gd name="T6" fmla="*/ 110 w 110"/>
                <a:gd name="T7" fmla="*/ 63 h 71"/>
                <a:gd name="T8" fmla="*/ 0 w 110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71">
                  <a:moveTo>
                    <a:pt x="0" y="0"/>
                  </a:moveTo>
                  <a:lnTo>
                    <a:pt x="0" y="17"/>
                  </a:lnTo>
                  <a:lnTo>
                    <a:pt x="95" y="71"/>
                  </a:lnTo>
                  <a:lnTo>
                    <a:pt x="11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0" name="Freeform 189">
              <a:extLst>
                <a:ext uri="{FF2B5EF4-FFF2-40B4-BE49-F238E27FC236}">
                  <a16:creationId xmlns:a16="http://schemas.microsoft.com/office/drawing/2014/main" id="{3C3567D0-B573-46F7-BBC0-FE5DA8FF12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59876" y="4895276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1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1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1" name="Freeform 190">
              <a:extLst>
                <a:ext uri="{FF2B5EF4-FFF2-40B4-BE49-F238E27FC236}">
                  <a16:creationId xmlns:a16="http://schemas.microsoft.com/office/drawing/2014/main" id="{64462E50-DC26-4C74-B3A0-3D7ED587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6051" y="4895276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8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8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2" name="Freeform 191">
              <a:extLst>
                <a:ext uri="{FF2B5EF4-FFF2-40B4-BE49-F238E27FC236}">
                  <a16:creationId xmlns:a16="http://schemas.microsoft.com/office/drawing/2014/main" id="{5F8B1410-F39A-401D-824F-B3250907EF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6051" y="4822251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3" name="Freeform 192">
              <a:extLst>
                <a:ext uri="{FF2B5EF4-FFF2-40B4-BE49-F238E27FC236}">
                  <a16:creationId xmlns:a16="http://schemas.microsoft.com/office/drawing/2014/main" id="{574719D5-DED6-4F95-9E10-E4F756FEAC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58326" y="4901626"/>
              <a:ext cx="160338" cy="120650"/>
            </a:xfrm>
            <a:custGeom>
              <a:avLst/>
              <a:gdLst>
                <a:gd name="T0" fmla="*/ 0 w 101"/>
                <a:gd name="T1" fmla="*/ 76 h 76"/>
                <a:gd name="T2" fmla="*/ 101 w 101"/>
                <a:gd name="T3" fmla="*/ 17 h 76"/>
                <a:gd name="T4" fmla="*/ 101 w 101"/>
                <a:gd name="T5" fmla="*/ 0 h 76"/>
                <a:gd name="T6" fmla="*/ 0 w 101"/>
                <a:gd name="T7" fmla="*/ 59 h 76"/>
                <a:gd name="T8" fmla="*/ 0 w 101"/>
                <a:gd name="T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76">
                  <a:moveTo>
                    <a:pt x="0" y="76"/>
                  </a:moveTo>
                  <a:lnTo>
                    <a:pt x="101" y="17"/>
                  </a:lnTo>
                  <a:lnTo>
                    <a:pt x="101" y="0"/>
                  </a:lnTo>
                  <a:lnTo>
                    <a:pt x="0" y="59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4" name="Freeform 193">
              <a:extLst>
                <a:ext uri="{FF2B5EF4-FFF2-40B4-BE49-F238E27FC236}">
                  <a16:creationId xmlns:a16="http://schemas.microsoft.com/office/drawing/2014/main" id="{70D3AF65-6120-4D82-A510-2516B82936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6413" y="4995289"/>
              <a:ext cx="61913" cy="61913"/>
            </a:xfrm>
            <a:custGeom>
              <a:avLst/>
              <a:gdLst>
                <a:gd name="T0" fmla="*/ 0 w 39"/>
                <a:gd name="T1" fmla="*/ 22 h 39"/>
                <a:gd name="T2" fmla="*/ 0 w 39"/>
                <a:gd name="T3" fmla="*/ 39 h 39"/>
                <a:gd name="T4" fmla="*/ 39 w 39"/>
                <a:gd name="T5" fmla="*/ 17 h 39"/>
                <a:gd name="T6" fmla="*/ 39 w 39"/>
                <a:gd name="T7" fmla="*/ 0 h 39"/>
                <a:gd name="T8" fmla="*/ 0 w 39"/>
                <a:gd name="T9" fmla="*/ 2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0" y="22"/>
                  </a:moveTo>
                  <a:lnTo>
                    <a:pt x="0" y="39"/>
                  </a:lnTo>
                  <a:lnTo>
                    <a:pt x="39" y="17"/>
                  </a:lnTo>
                  <a:lnTo>
                    <a:pt x="39" y="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5" name="Freeform 194">
              <a:extLst>
                <a:ext uri="{FF2B5EF4-FFF2-40B4-BE49-F238E27FC236}">
                  <a16:creationId xmlns:a16="http://schemas.microsoft.com/office/drawing/2014/main" id="{57C82B25-4448-43E6-B596-C9FD251E04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02738" y="4995289"/>
              <a:ext cx="127000" cy="101600"/>
            </a:xfrm>
            <a:custGeom>
              <a:avLst/>
              <a:gdLst>
                <a:gd name="T0" fmla="*/ 0 w 80"/>
                <a:gd name="T1" fmla="*/ 0 h 64"/>
                <a:gd name="T2" fmla="*/ 0 w 80"/>
                <a:gd name="T3" fmla="*/ 17 h 64"/>
                <a:gd name="T4" fmla="*/ 80 w 80"/>
                <a:gd name="T5" fmla="*/ 64 h 64"/>
                <a:gd name="T6" fmla="*/ 80 w 80"/>
                <a:gd name="T7" fmla="*/ 47 h 64"/>
                <a:gd name="T8" fmla="*/ 0 w 80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4">
                  <a:moveTo>
                    <a:pt x="0" y="0"/>
                  </a:moveTo>
                  <a:lnTo>
                    <a:pt x="0" y="17"/>
                  </a:lnTo>
                  <a:lnTo>
                    <a:pt x="80" y="64"/>
                  </a:lnTo>
                  <a:lnTo>
                    <a:pt x="80" y="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6" name="Freeform 195">
              <a:extLst>
                <a:ext uri="{FF2B5EF4-FFF2-40B4-BE49-F238E27FC236}">
                  <a16:creationId xmlns:a16="http://schemas.microsoft.com/office/drawing/2014/main" id="{01608AB2-4BBD-4D53-AD8E-7BC03263F6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29738" y="5030214"/>
              <a:ext cx="66675" cy="66675"/>
            </a:xfrm>
            <a:custGeom>
              <a:avLst/>
              <a:gdLst>
                <a:gd name="T0" fmla="*/ 0 w 42"/>
                <a:gd name="T1" fmla="*/ 25 h 42"/>
                <a:gd name="T2" fmla="*/ 0 w 42"/>
                <a:gd name="T3" fmla="*/ 42 h 42"/>
                <a:gd name="T4" fmla="*/ 42 w 42"/>
                <a:gd name="T5" fmla="*/ 17 h 42"/>
                <a:gd name="T6" fmla="*/ 42 w 42"/>
                <a:gd name="T7" fmla="*/ 0 h 42"/>
                <a:gd name="T8" fmla="*/ 0 w 42"/>
                <a:gd name="T9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0" y="25"/>
                  </a:moveTo>
                  <a:lnTo>
                    <a:pt x="0" y="42"/>
                  </a:lnTo>
                  <a:lnTo>
                    <a:pt x="42" y="17"/>
                  </a:lnTo>
                  <a:lnTo>
                    <a:pt x="42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7" name="Freeform 196">
              <a:extLst>
                <a:ext uri="{FF2B5EF4-FFF2-40B4-BE49-F238E27FC236}">
                  <a16:creationId xmlns:a16="http://schemas.microsoft.com/office/drawing/2014/main" id="{0F901272-3E7B-421E-AA43-33D129D8F2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4727001"/>
              <a:ext cx="422275" cy="342900"/>
            </a:xfrm>
            <a:custGeom>
              <a:avLst/>
              <a:gdLst>
                <a:gd name="T0" fmla="*/ 185 w 266"/>
                <a:gd name="T1" fmla="*/ 62 h 216"/>
                <a:gd name="T2" fmla="*/ 77 w 266"/>
                <a:gd name="T3" fmla="*/ 0 h 216"/>
                <a:gd name="T4" fmla="*/ 0 w 266"/>
                <a:gd name="T5" fmla="*/ 45 h 216"/>
                <a:gd name="T6" fmla="*/ 110 w 266"/>
                <a:gd name="T7" fmla="*/ 108 h 216"/>
                <a:gd name="T8" fmla="*/ 95 w 266"/>
                <a:gd name="T9" fmla="*/ 116 h 216"/>
                <a:gd name="T10" fmla="*/ 85 w 266"/>
                <a:gd name="T11" fmla="*/ 122 h 216"/>
                <a:gd name="T12" fmla="*/ 46 w 266"/>
                <a:gd name="T13" fmla="*/ 145 h 216"/>
                <a:gd name="T14" fmla="*/ 4 w 266"/>
                <a:gd name="T15" fmla="*/ 169 h 216"/>
                <a:gd name="T16" fmla="*/ 84 w 266"/>
                <a:gd name="T17" fmla="*/ 216 h 216"/>
                <a:gd name="T18" fmla="*/ 126 w 266"/>
                <a:gd name="T19" fmla="*/ 191 h 216"/>
                <a:gd name="T20" fmla="*/ 165 w 266"/>
                <a:gd name="T21" fmla="*/ 169 h 216"/>
                <a:gd name="T22" fmla="*/ 266 w 266"/>
                <a:gd name="T23" fmla="*/ 110 h 216"/>
                <a:gd name="T24" fmla="*/ 207 w 266"/>
                <a:gd name="T25" fmla="*/ 75 h 216"/>
                <a:gd name="T26" fmla="*/ 185 w 266"/>
                <a:gd name="T27" fmla="*/ 6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216">
                  <a:moveTo>
                    <a:pt x="185" y="62"/>
                  </a:moveTo>
                  <a:lnTo>
                    <a:pt x="77" y="0"/>
                  </a:lnTo>
                  <a:lnTo>
                    <a:pt x="0" y="45"/>
                  </a:lnTo>
                  <a:lnTo>
                    <a:pt x="110" y="108"/>
                  </a:lnTo>
                  <a:lnTo>
                    <a:pt x="95" y="116"/>
                  </a:lnTo>
                  <a:lnTo>
                    <a:pt x="85" y="122"/>
                  </a:lnTo>
                  <a:lnTo>
                    <a:pt x="46" y="145"/>
                  </a:lnTo>
                  <a:lnTo>
                    <a:pt x="4" y="169"/>
                  </a:lnTo>
                  <a:lnTo>
                    <a:pt x="84" y="216"/>
                  </a:lnTo>
                  <a:lnTo>
                    <a:pt x="126" y="191"/>
                  </a:lnTo>
                  <a:lnTo>
                    <a:pt x="165" y="169"/>
                  </a:lnTo>
                  <a:lnTo>
                    <a:pt x="266" y="110"/>
                  </a:lnTo>
                  <a:lnTo>
                    <a:pt x="207" y="75"/>
                  </a:lnTo>
                  <a:lnTo>
                    <a:pt x="185" y="6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8" name="Freeform 197">
              <a:extLst>
                <a:ext uri="{FF2B5EF4-FFF2-40B4-BE49-F238E27FC236}">
                  <a16:creationId xmlns:a16="http://schemas.microsoft.com/office/drawing/2014/main" id="{B9343C0E-CC34-4F0F-B55C-8792885BC7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21538" y="3968176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6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6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9" name="Freeform 198">
              <a:extLst>
                <a:ext uri="{FF2B5EF4-FFF2-40B4-BE49-F238E27FC236}">
                  <a16:creationId xmlns:a16="http://schemas.microsoft.com/office/drawing/2014/main" id="{A2E0D555-0663-4A87-B97C-B6773BEC14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2626" y="3931664"/>
              <a:ext cx="188913" cy="134938"/>
            </a:xfrm>
            <a:custGeom>
              <a:avLst/>
              <a:gdLst>
                <a:gd name="T0" fmla="*/ 119 w 119"/>
                <a:gd name="T1" fmla="*/ 68 h 85"/>
                <a:gd name="T2" fmla="*/ 0 w 119"/>
                <a:gd name="T3" fmla="*/ 0 h 85"/>
                <a:gd name="T4" fmla="*/ 0 w 119"/>
                <a:gd name="T5" fmla="*/ 17 h 85"/>
                <a:gd name="T6" fmla="*/ 119 w 119"/>
                <a:gd name="T7" fmla="*/ 85 h 85"/>
                <a:gd name="T8" fmla="*/ 119 w 119"/>
                <a:gd name="T9" fmla="*/ 6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85">
                  <a:moveTo>
                    <a:pt x="119" y="68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119" y="85"/>
                  </a:lnTo>
                  <a:lnTo>
                    <a:pt x="119" y="6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0" name="Freeform 199">
              <a:extLst>
                <a:ext uri="{FF2B5EF4-FFF2-40B4-BE49-F238E27FC236}">
                  <a16:creationId xmlns:a16="http://schemas.microsoft.com/office/drawing/2014/main" id="{29F97B94-96F4-46FD-B3F3-B6403630C6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2626" y="3858639"/>
              <a:ext cx="312738" cy="180975"/>
            </a:xfrm>
            <a:custGeom>
              <a:avLst/>
              <a:gdLst>
                <a:gd name="T0" fmla="*/ 197 w 197"/>
                <a:gd name="T1" fmla="*/ 69 h 114"/>
                <a:gd name="T2" fmla="*/ 78 w 197"/>
                <a:gd name="T3" fmla="*/ 0 h 114"/>
                <a:gd name="T4" fmla="*/ 0 w 197"/>
                <a:gd name="T5" fmla="*/ 46 h 114"/>
                <a:gd name="T6" fmla="*/ 119 w 197"/>
                <a:gd name="T7" fmla="*/ 114 h 114"/>
                <a:gd name="T8" fmla="*/ 197 w 197"/>
                <a:gd name="T9" fmla="*/ 6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14">
                  <a:moveTo>
                    <a:pt x="197" y="69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119" y="114"/>
                  </a:lnTo>
                  <a:lnTo>
                    <a:pt x="197" y="69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1" name="Freeform 200">
              <a:extLst>
                <a:ext uri="{FF2B5EF4-FFF2-40B4-BE49-F238E27FC236}">
                  <a16:creationId xmlns:a16="http://schemas.microsoft.com/office/drawing/2014/main" id="{63610F53-4EFF-4186-A718-8F687463B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8226" y="4063426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2" name="Freeform 201">
              <a:extLst>
                <a:ext uri="{FF2B5EF4-FFF2-40B4-BE49-F238E27FC236}">
                  <a16:creationId xmlns:a16="http://schemas.microsoft.com/office/drawing/2014/main" id="{39260D7D-11C4-409C-89F8-3C1B08C5DB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2813" y="4063426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3" name="Freeform 202">
              <a:extLst>
                <a:ext uri="{FF2B5EF4-FFF2-40B4-BE49-F238E27FC236}">
                  <a16:creationId xmlns:a16="http://schemas.microsoft.com/office/drawing/2014/main" id="{4F1399D0-E0FA-4C27-BAE9-9E83043589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2813" y="3990401"/>
              <a:ext cx="250825" cy="146050"/>
            </a:xfrm>
            <a:custGeom>
              <a:avLst/>
              <a:gdLst>
                <a:gd name="T0" fmla="*/ 79 w 158"/>
                <a:gd name="T1" fmla="*/ 92 h 92"/>
                <a:gd name="T2" fmla="*/ 158 w 158"/>
                <a:gd name="T3" fmla="*/ 46 h 92"/>
                <a:gd name="T4" fmla="*/ 79 w 158"/>
                <a:gd name="T5" fmla="*/ 0 h 92"/>
                <a:gd name="T6" fmla="*/ 0 w 158"/>
                <a:gd name="T7" fmla="*/ 46 h 92"/>
                <a:gd name="T8" fmla="*/ 79 w 158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2">
                  <a:moveTo>
                    <a:pt x="79" y="92"/>
                  </a:moveTo>
                  <a:lnTo>
                    <a:pt x="158" y="46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79" y="92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4" name="Freeform 203">
              <a:extLst>
                <a:ext uri="{FF2B5EF4-FFF2-40B4-BE49-F238E27FC236}">
                  <a16:creationId xmlns:a16="http://schemas.microsoft.com/office/drawing/2014/main" id="{AF46AC86-3DA1-40C3-A530-6736281011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4913" y="416026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5" name="Freeform 204">
              <a:extLst>
                <a:ext uri="{FF2B5EF4-FFF2-40B4-BE49-F238E27FC236}">
                  <a16:creationId xmlns:a16="http://schemas.microsoft.com/office/drawing/2014/main" id="{B8434953-33FB-4020-AA5D-E9C1DAF91C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29501" y="4160264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6" name="Freeform 206">
              <a:extLst>
                <a:ext uri="{FF2B5EF4-FFF2-40B4-BE49-F238E27FC236}">
                  <a16:creationId xmlns:a16="http://schemas.microsoft.com/office/drawing/2014/main" id="{A8D39C0D-424B-4260-9DD8-D4E741828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29501" y="4087239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7" name="Freeform 207">
              <a:extLst>
                <a:ext uri="{FF2B5EF4-FFF2-40B4-BE49-F238E27FC236}">
                  <a16:creationId xmlns:a16="http://schemas.microsoft.com/office/drawing/2014/main" id="{1F510C96-5317-4D4C-B213-3058B66239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23188" y="4257101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8" name="Freeform 208">
              <a:extLst>
                <a:ext uri="{FF2B5EF4-FFF2-40B4-BE49-F238E27FC236}">
                  <a16:creationId xmlns:a16="http://schemas.microsoft.com/office/drawing/2014/main" id="{69BB5406-C322-440C-A1B5-C14CD623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97776" y="4257101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9" name="Freeform 209">
              <a:extLst>
                <a:ext uri="{FF2B5EF4-FFF2-40B4-BE49-F238E27FC236}">
                  <a16:creationId xmlns:a16="http://schemas.microsoft.com/office/drawing/2014/main" id="{45A6CF2A-F334-4B05-89DD-6E5BE9A86B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97776" y="4184076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0" name="Freeform 210">
              <a:extLst>
                <a:ext uri="{FF2B5EF4-FFF2-40B4-BE49-F238E27FC236}">
                  <a16:creationId xmlns:a16="http://schemas.microsoft.com/office/drawing/2014/main" id="{00534B0F-1ADF-4020-B945-BC6B63C13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89876" y="4352351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1" name="Freeform 211">
              <a:extLst>
                <a:ext uri="{FF2B5EF4-FFF2-40B4-BE49-F238E27FC236}">
                  <a16:creationId xmlns:a16="http://schemas.microsoft.com/office/drawing/2014/main" id="{1219AFD4-45A2-4A73-B982-5E36BE042A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4463" y="435235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2" name="Freeform 212">
              <a:extLst>
                <a:ext uri="{FF2B5EF4-FFF2-40B4-BE49-F238E27FC236}">
                  <a16:creationId xmlns:a16="http://schemas.microsoft.com/office/drawing/2014/main" id="{5C4CD82A-1189-43F6-B874-6005A2899E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64463" y="4280914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3" name="Freeform 213">
              <a:extLst>
                <a:ext uri="{FF2B5EF4-FFF2-40B4-BE49-F238E27FC236}">
                  <a16:creationId xmlns:a16="http://schemas.microsoft.com/office/drawing/2014/main" id="{2FE6CF87-2BDB-4D65-8611-F5C4C11256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56563" y="4449189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4" name="Freeform 214">
              <a:extLst>
                <a:ext uri="{FF2B5EF4-FFF2-40B4-BE49-F238E27FC236}">
                  <a16:creationId xmlns:a16="http://schemas.microsoft.com/office/drawing/2014/main" id="{63A43AA6-FBD4-4A47-9109-A482213CA8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1151" y="4449189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5" name="Freeform 215">
              <a:extLst>
                <a:ext uri="{FF2B5EF4-FFF2-40B4-BE49-F238E27FC236}">
                  <a16:creationId xmlns:a16="http://schemas.microsoft.com/office/drawing/2014/main" id="{55325DF1-140B-45CF-9B52-5AE37B575D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31151" y="4377751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6" name="Freeform 216">
              <a:extLst>
                <a:ext uri="{FF2B5EF4-FFF2-40B4-BE49-F238E27FC236}">
                  <a16:creationId xmlns:a16="http://schemas.microsoft.com/office/drawing/2014/main" id="{CF7E0DC0-E9DC-44CE-89AA-56F2226F00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23251" y="4546026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7" name="Freeform 217">
              <a:extLst>
                <a:ext uri="{FF2B5EF4-FFF2-40B4-BE49-F238E27FC236}">
                  <a16:creationId xmlns:a16="http://schemas.microsoft.com/office/drawing/2014/main" id="{EC4FF4B8-05FD-408E-A399-05B6683B18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97838" y="4546026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8" name="Freeform 218">
              <a:extLst>
                <a:ext uri="{FF2B5EF4-FFF2-40B4-BE49-F238E27FC236}">
                  <a16:creationId xmlns:a16="http://schemas.microsoft.com/office/drawing/2014/main" id="{E105455B-58BA-440B-BD9E-451C3E3DBF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97838" y="4473001"/>
              <a:ext cx="250825" cy="144463"/>
            </a:xfrm>
            <a:custGeom>
              <a:avLst/>
              <a:gdLst>
                <a:gd name="T0" fmla="*/ 158 w 158"/>
                <a:gd name="T1" fmla="*/ 46 h 91"/>
                <a:gd name="T2" fmla="*/ 79 w 158"/>
                <a:gd name="T3" fmla="*/ 0 h 91"/>
                <a:gd name="T4" fmla="*/ 0 w 158"/>
                <a:gd name="T5" fmla="*/ 46 h 91"/>
                <a:gd name="T6" fmla="*/ 79 w 158"/>
                <a:gd name="T7" fmla="*/ 91 h 91"/>
                <a:gd name="T8" fmla="*/ 158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6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8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9" name="Freeform 219">
              <a:extLst>
                <a:ext uri="{FF2B5EF4-FFF2-40B4-BE49-F238E27FC236}">
                  <a16:creationId xmlns:a16="http://schemas.microsoft.com/office/drawing/2014/main" id="{170C5A37-9DDF-48CC-BAA6-C9CF830219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1526" y="4642864"/>
              <a:ext cx="123825" cy="98425"/>
            </a:xfrm>
            <a:custGeom>
              <a:avLst/>
              <a:gdLst>
                <a:gd name="T0" fmla="*/ 0 w 78"/>
                <a:gd name="T1" fmla="*/ 62 h 62"/>
                <a:gd name="T2" fmla="*/ 78 w 78"/>
                <a:gd name="T3" fmla="*/ 17 h 62"/>
                <a:gd name="T4" fmla="*/ 78 w 78"/>
                <a:gd name="T5" fmla="*/ 0 h 62"/>
                <a:gd name="T6" fmla="*/ 0 w 78"/>
                <a:gd name="T7" fmla="*/ 45 h 62"/>
                <a:gd name="T8" fmla="*/ 0 w 78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0" y="62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0" name="Freeform 220">
              <a:extLst>
                <a:ext uri="{FF2B5EF4-FFF2-40B4-BE49-F238E27FC236}">
                  <a16:creationId xmlns:a16="http://schemas.microsoft.com/office/drawing/2014/main" id="{A5DE202B-D0A1-4412-96C2-FA07B8BB9A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6113" y="4642864"/>
              <a:ext cx="125413" cy="98425"/>
            </a:xfrm>
            <a:custGeom>
              <a:avLst/>
              <a:gdLst>
                <a:gd name="T0" fmla="*/ 79 w 79"/>
                <a:gd name="T1" fmla="*/ 45 h 62"/>
                <a:gd name="T2" fmla="*/ 0 w 79"/>
                <a:gd name="T3" fmla="*/ 0 h 62"/>
                <a:gd name="T4" fmla="*/ 0 w 79"/>
                <a:gd name="T5" fmla="*/ 17 h 62"/>
                <a:gd name="T6" fmla="*/ 79 w 79"/>
                <a:gd name="T7" fmla="*/ 62 h 62"/>
                <a:gd name="T8" fmla="*/ 79 w 79"/>
                <a:gd name="T9" fmla="*/ 4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45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1" name="Freeform 221">
              <a:extLst>
                <a:ext uri="{FF2B5EF4-FFF2-40B4-BE49-F238E27FC236}">
                  <a16:creationId xmlns:a16="http://schemas.microsoft.com/office/drawing/2014/main" id="{1AEE740E-874F-472E-B337-F74F69059B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6113" y="4569839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2" name="Freeform 222">
              <a:extLst>
                <a:ext uri="{FF2B5EF4-FFF2-40B4-BE49-F238E27FC236}">
                  <a16:creationId xmlns:a16="http://schemas.microsoft.com/office/drawing/2014/main" id="{29D20370-08DA-4734-823E-4550413783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58213" y="4738114"/>
              <a:ext cx="123825" cy="100013"/>
            </a:xfrm>
            <a:custGeom>
              <a:avLst/>
              <a:gdLst>
                <a:gd name="T0" fmla="*/ 0 w 78"/>
                <a:gd name="T1" fmla="*/ 63 h 63"/>
                <a:gd name="T2" fmla="*/ 78 w 78"/>
                <a:gd name="T3" fmla="*/ 17 h 63"/>
                <a:gd name="T4" fmla="*/ 78 w 78"/>
                <a:gd name="T5" fmla="*/ 0 h 63"/>
                <a:gd name="T6" fmla="*/ 0 w 78"/>
                <a:gd name="T7" fmla="*/ 46 h 63"/>
                <a:gd name="T8" fmla="*/ 0 w 7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63"/>
                  </a:moveTo>
                  <a:lnTo>
                    <a:pt x="78" y="17"/>
                  </a:lnTo>
                  <a:lnTo>
                    <a:pt x="78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3" name="Freeform 223">
              <a:extLst>
                <a:ext uri="{FF2B5EF4-FFF2-40B4-BE49-F238E27FC236}">
                  <a16:creationId xmlns:a16="http://schemas.microsoft.com/office/drawing/2014/main" id="{E28A0CF5-22D4-4433-9619-1B1E112E3F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32801" y="4738114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4" name="Freeform 224">
              <a:extLst>
                <a:ext uri="{FF2B5EF4-FFF2-40B4-BE49-F238E27FC236}">
                  <a16:creationId xmlns:a16="http://schemas.microsoft.com/office/drawing/2014/main" id="{4EDE1358-75F9-42F7-9C3E-121760AE68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32801" y="4666676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5" name="Freeform 225">
              <a:extLst>
                <a:ext uri="{FF2B5EF4-FFF2-40B4-BE49-F238E27FC236}">
                  <a16:creationId xmlns:a16="http://schemas.microsoft.com/office/drawing/2014/main" id="{0897DDE7-1AAA-4C02-9B66-9ABED33638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24901" y="4834951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8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8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6" name="Freeform 226">
              <a:extLst>
                <a:ext uri="{FF2B5EF4-FFF2-40B4-BE49-F238E27FC236}">
                  <a16:creationId xmlns:a16="http://schemas.microsoft.com/office/drawing/2014/main" id="{8837BF4A-07CC-4AF3-938B-DB400B4465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9488" y="4834951"/>
              <a:ext cx="125413" cy="100013"/>
            </a:xfrm>
            <a:custGeom>
              <a:avLst/>
              <a:gdLst>
                <a:gd name="T0" fmla="*/ 79 w 79"/>
                <a:gd name="T1" fmla="*/ 46 h 63"/>
                <a:gd name="T2" fmla="*/ 0 w 79"/>
                <a:gd name="T3" fmla="*/ 0 h 63"/>
                <a:gd name="T4" fmla="*/ 0 w 79"/>
                <a:gd name="T5" fmla="*/ 17 h 63"/>
                <a:gd name="T6" fmla="*/ 79 w 79"/>
                <a:gd name="T7" fmla="*/ 63 h 63"/>
                <a:gd name="T8" fmla="*/ 79 w 79"/>
                <a:gd name="T9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46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7" name="Freeform 227">
              <a:extLst>
                <a:ext uri="{FF2B5EF4-FFF2-40B4-BE49-F238E27FC236}">
                  <a16:creationId xmlns:a16="http://schemas.microsoft.com/office/drawing/2014/main" id="{654E621A-70D7-45FE-9D43-4FFDB749D6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9488" y="4763514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8" name="Freeform 228">
              <a:extLst>
                <a:ext uri="{FF2B5EF4-FFF2-40B4-BE49-F238E27FC236}">
                  <a16:creationId xmlns:a16="http://schemas.microsoft.com/office/drawing/2014/main" id="{B2D4E14D-296F-47E5-B081-17F3B6049F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94776" y="4990526"/>
              <a:ext cx="125413" cy="100013"/>
            </a:xfrm>
            <a:custGeom>
              <a:avLst/>
              <a:gdLst>
                <a:gd name="T0" fmla="*/ 0 w 79"/>
                <a:gd name="T1" fmla="*/ 63 h 63"/>
                <a:gd name="T2" fmla="*/ 79 w 79"/>
                <a:gd name="T3" fmla="*/ 17 h 63"/>
                <a:gd name="T4" fmla="*/ 79 w 79"/>
                <a:gd name="T5" fmla="*/ 0 h 63"/>
                <a:gd name="T6" fmla="*/ 0 w 79"/>
                <a:gd name="T7" fmla="*/ 46 h 63"/>
                <a:gd name="T8" fmla="*/ 0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3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9" name="Freeform 229">
              <a:extLst>
                <a:ext uri="{FF2B5EF4-FFF2-40B4-BE49-F238E27FC236}">
                  <a16:creationId xmlns:a16="http://schemas.microsoft.com/office/drawing/2014/main" id="{053B4639-5F54-495C-84AA-F2EC0EBF7A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4588" y="4930201"/>
              <a:ext cx="230188" cy="160338"/>
            </a:xfrm>
            <a:custGeom>
              <a:avLst/>
              <a:gdLst>
                <a:gd name="T0" fmla="*/ 145 w 145"/>
                <a:gd name="T1" fmla="*/ 84 h 101"/>
                <a:gd name="T2" fmla="*/ 0 w 145"/>
                <a:gd name="T3" fmla="*/ 0 h 101"/>
                <a:gd name="T4" fmla="*/ 0 w 145"/>
                <a:gd name="T5" fmla="*/ 17 h 101"/>
                <a:gd name="T6" fmla="*/ 145 w 145"/>
                <a:gd name="T7" fmla="*/ 101 h 101"/>
                <a:gd name="T8" fmla="*/ 145 w 145"/>
                <a:gd name="T9" fmla="*/ 8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01">
                  <a:moveTo>
                    <a:pt x="145" y="84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145" y="101"/>
                  </a:lnTo>
                  <a:lnTo>
                    <a:pt x="145" y="84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0" name="Freeform 230">
              <a:extLst>
                <a:ext uri="{FF2B5EF4-FFF2-40B4-BE49-F238E27FC236}">
                  <a16:creationId xmlns:a16="http://schemas.microsoft.com/office/drawing/2014/main" id="{B782CD16-2A78-42E0-B34C-BA749C0A1C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4588" y="4858764"/>
              <a:ext cx="355600" cy="204788"/>
            </a:xfrm>
            <a:custGeom>
              <a:avLst/>
              <a:gdLst>
                <a:gd name="T0" fmla="*/ 224 w 224"/>
                <a:gd name="T1" fmla="*/ 83 h 129"/>
                <a:gd name="T2" fmla="*/ 79 w 224"/>
                <a:gd name="T3" fmla="*/ 0 h 129"/>
                <a:gd name="T4" fmla="*/ 0 w 224"/>
                <a:gd name="T5" fmla="*/ 45 h 129"/>
                <a:gd name="T6" fmla="*/ 145 w 224"/>
                <a:gd name="T7" fmla="*/ 129 h 129"/>
                <a:gd name="T8" fmla="*/ 224 w 224"/>
                <a:gd name="T9" fmla="*/ 8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129">
                  <a:moveTo>
                    <a:pt x="224" y="83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145" y="129"/>
                  </a:lnTo>
                  <a:lnTo>
                    <a:pt x="224" y="83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1" name="Freeform 231">
              <a:extLst>
                <a:ext uri="{FF2B5EF4-FFF2-40B4-BE49-F238E27FC236}">
                  <a16:creationId xmlns:a16="http://schemas.microsoft.com/office/drawing/2014/main" id="{922A22A5-20D7-4143-8FA6-7836B1C05B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61463" y="5087364"/>
              <a:ext cx="125413" cy="98425"/>
            </a:xfrm>
            <a:custGeom>
              <a:avLst/>
              <a:gdLst>
                <a:gd name="T0" fmla="*/ 0 w 79"/>
                <a:gd name="T1" fmla="*/ 62 h 62"/>
                <a:gd name="T2" fmla="*/ 79 w 79"/>
                <a:gd name="T3" fmla="*/ 17 h 62"/>
                <a:gd name="T4" fmla="*/ 79 w 79"/>
                <a:gd name="T5" fmla="*/ 0 h 62"/>
                <a:gd name="T6" fmla="*/ 0 w 79"/>
                <a:gd name="T7" fmla="*/ 45 h 62"/>
                <a:gd name="T8" fmla="*/ 0 w 79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62"/>
                  </a:moveTo>
                  <a:lnTo>
                    <a:pt x="79" y="17"/>
                  </a:lnTo>
                  <a:lnTo>
                    <a:pt x="79" y="0"/>
                  </a:lnTo>
                  <a:lnTo>
                    <a:pt x="0" y="45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2" name="Freeform 232">
              <a:extLst>
                <a:ext uri="{FF2B5EF4-FFF2-40B4-BE49-F238E27FC236}">
                  <a16:creationId xmlns:a16="http://schemas.microsoft.com/office/drawing/2014/main" id="{09D64C3D-A107-4748-82F5-DAAF9BDB61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6051" y="50873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3" name="Freeform 233">
              <a:extLst>
                <a:ext uri="{FF2B5EF4-FFF2-40B4-BE49-F238E27FC236}">
                  <a16:creationId xmlns:a16="http://schemas.microsoft.com/office/drawing/2014/main" id="{DE3350FD-D73F-47EB-980E-6A8858A5AA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6051" y="5014339"/>
              <a:ext cx="250825" cy="144463"/>
            </a:xfrm>
            <a:custGeom>
              <a:avLst/>
              <a:gdLst>
                <a:gd name="T0" fmla="*/ 0 w 158"/>
                <a:gd name="T1" fmla="*/ 46 h 91"/>
                <a:gd name="T2" fmla="*/ 79 w 158"/>
                <a:gd name="T3" fmla="*/ 91 h 91"/>
                <a:gd name="T4" fmla="*/ 158 w 158"/>
                <a:gd name="T5" fmla="*/ 46 h 91"/>
                <a:gd name="T6" fmla="*/ 79 w 158"/>
                <a:gd name="T7" fmla="*/ 0 h 91"/>
                <a:gd name="T8" fmla="*/ 0 w 158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0" y="46"/>
                  </a:moveTo>
                  <a:lnTo>
                    <a:pt x="79" y="91"/>
                  </a:lnTo>
                  <a:lnTo>
                    <a:pt x="158" y="46"/>
                  </a:lnTo>
                  <a:lnTo>
                    <a:pt x="79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4" name="Freeform 234">
              <a:extLst>
                <a:ext uri="{FF2B5EF4-FFF2-40B4-BE49-F238E27FC236}">
                  <a16:creationId xmlns:a16="http://schemas.microsoft.com/office/drawing/2014/main" id="{2707965D-6AD0-4135-A033-83C56C3BCD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1351" y="4026914"/>
              <a:ext cx="125413" cy="98425"/>
            </a:xfrm>
            <a:custGeom>
              <a:avLst/>
              <a:gdLst>
                <a:gd name="T0" fmla="*/ 79 w 79"/>
                <a:gd name="T1" fmla="*/ 0 h 62"/>
                <a:gd name="T2" fmla="*/ 0 w 79"/>
                <a:gd name="T3" fmla="*/ 45 h 62"/>
                <a:gd name="T4" fmla="*/ 0 w 79"/>
                <a:gd name="T5" fmla="*/ 62 h 62"/>
                <a:gd name="T6" fmla="*/ 79 w 79"/>
                <a:gd name="T7" fmla="*/ 17 h 62"/>
                <a:gd name="T8" fmla="*/ 79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79" y="0"/>
                  </a:moveTo>
                  <a:lnTo>
                    <a:pt x="0" y="45"/>
                  </a:lnTo>
                  <a:lnTo>
                    <a:pt x="0" y="62"/>
                  </a:lnTo>
                  <a:lnTo>
                    <a:pt x="79" y="17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5" name="Freeform 235">
              <a:extLst>
                <a:ext uri="{FF2B5EF4-FFF2-40B4-BE49-F238E27FC236}">
                  <a16:creationId xmlns:a16="http://schemas.microsoft.com/office/drawing/2014/main" id="{29E26B72-EC81-430E-A747-D169A447E8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938" y="402691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6" name="Freeform 236">
              <a:extLst>
                <a:ext uri="{FF2B5EF4-FFF2-40B4-BE49-F238E27FC236}">
                  <a16:creationId xmlns:a16="http://schemas.microsoft.com/office/drawing/2014/main" id="{D9936302-9770-4E9F-B2AA-D21B7354BA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938" y="3955476"/>
              <a:ext cx="250825" cy="142875"/>
            </a:xfrm>
            <a:custGeom>
              <a:avLst/>
              <a:gdLst>
                <a:gd name="T0" fmla="*/ 158 w 158"/>
                <a:gd name="T1" fmla="*/ 45 h 90"/>
                <a:gd name="T2" fmla="*/ 79 w 158"/>
                <a:gd name="T3" fmla="*/ 0 h 90"/>
                <a:gd name="T4" fmla="*/ 0 w 158"/>
                <a:gd name="T5" fmla="*/ 45 h 90"/>
                <a:gd name="T6" fmla="*/ 79 w 158"/>
                <a:gd name="T7" fmla="*/ 90 h 90"/>
                <a:gd name="T8" fmla="*/ 158 w 158"/>
                <a:gd name="T9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0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0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7" name="Freeform 237">
              <a:extLst>
                <a:ext uri="{FF2B5EF4-FFF2-40B4-BE49-F238E27FC236}">
                  <a16:creationId xmlns:a16="http://schemas.microsoft.com/office/drawing/2014/main" id="{CBAEAE71-84FF-43AA-A52E-72E8E93209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8038" y="4122164"/>
              <a:ext cx="125413" cy="100013"/>
            </a:xfrm>
            <a:custGeom>
              <a:avLst/>
              <a:gdLst>
                <a:gd name="T0" fmla="*/ 79 w 79"/>
                <a:gd name="T1" fmla="*/ 0 h 63"/>
                <a:gd name="T2" fmla="*/ 0 w 79"/>
                <a:gd name="T3" fmla="*/ 46 h 63"/>
                <a:gd name="T4" fmla="*/ 0 w 79"/>
                <a:gd name="T5" fmla="*/ 63 h 63"/>
                <a:gd name="T6" fmla="*/ 79 w 79"/>
                <a:gd name="T7" fmla="*/ 17 h 63"/>
                <a:gd name="T8" fmla="*/ 79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9" y="17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8" name="Freeform 238">
              <a:extLst>
                <a:ext uri="{FF2B5EF4-FFF2-40B4-BE49-F238E27FC236}">
                  <a16:creationId xmlns:a16="http://schemas.microsoft.com/office/drawing/2014/main" id="{FB95319D-DF6D-4FFC-9D7B-BDB736B5DB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2626" y="4122164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9" name="Freeform 239">
              <a:extLst>
                <a:ext uri="{FF2B5EF4-FFF2-40B4-BE49-F238E27FC236}">
                  <a16:creationId xmlns:a16="http://schemas.microsoft.com/office/drawing/2014/main" id="{21D3CAB0-A411-433D-87D6-EC29DCE776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2626" y="4050726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0" name="Freeform 240">
              <a:extLst>
                <a:ext uri="{FF2B5EF4-FFF2-40B4-BE49-F238E27FC236}">
                  <a16:creationId xmlns:a16="http://schemas.microsoft.com/office/drawing/2014/main" id="{943CA2E9-85D2-42B8-B475-2E6A188916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26313" y="4219001"/>
              <a:ext cx="123825" cy="100013"/>
            </a:xfrm>
            <a:custGeom>
              <a:avLst/>
              <a:gdLst>
                <a:gd name="T0" fmla="*/ 78 w 78"/>
                <a:gd name="T1" fmla="*/ 0 h 63"/>
                <a:gd name="T2" fmla="*/ 0 w 78"/>
                <a:gd name="T3" fmla="*/ 46 h 63"/>
                <a:gd name="T4" fmla="*/ 0 w 78"/>
                <a:gd name="T5" fmla="*/ 63 h 63"/>
                <a:gd name="T6" fmla="*/ 78 w 78"/>
                <a:gd name="T7" fmla="*/ 17 h 63"/>
                <a:gd name="T8" fmla="*/ 78 w 78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78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1" name="Freeform 241">
              <a:extLst>
                <a:ext uri="{FF2B5EF4-FFF2-40B4-BE49-F238E27FC236}">
                  <a16:creationId xmlns:a16="http://schemas.microsoft.com/office/drawing/2014/main" id="{1294F606-4F4A-4798-9C00-26E7BAD26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0901" y="4219001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2" name="Freeform 242">
              <a:extLst>
                <a:ext uri="{FF2B5EF4-FFF2-40B4-BE49-F238E27FC236}">
                  <a16:creationId xmlns:a16="http://schemas.microsoft.com/office/drawing/2014/main" id="{AA1C6842-5B07-4611-9594-CC70B46EF3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0901" y="4147564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9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3" name="Freeform 243">
              <a:extLst>
                <a:ext uri="{FF2B5EF4-FFF2-40B4-BE49-F238E27FC236}">
                  <a16:creationId xmlns:a16="http://schemas.microsoft.com/office/drawing/2014/main" id="{439CD653-260F-4CF4-BEDF-310615FD4E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93001" y="4315839"/>
              <a:ext cx="123825" cy="100013"/>
            </a:xfrm>
            <a:custGeom>
              <a:avLst/>
              <a:gdLst>
                <a:gd name="T0" fmla="*/ 78 w 78"/>
                <a:gd name="T1" fmla="*/ 0 h 63"/>
                <a:gd name="T2" fmla="*/ 0 w 78"/>
                <a:gd name="T3" fmla="*/ 46 h 63"/>
                <a:gd name="T4" fmla="*/ 0 w 78"/>
                <a:gd name="T5" fmla="*/ 63 h 63"/>
                <a:gd name="T6" fmla="*/ 78 w 78"/>
                <a:gd name="T7" fmla="*/ 17 h 63"/>
                <a:gd name="T8" fmla="*/ 78 w 78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78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4" name="Freeform 244">
              <a:extLst>
                <a:ext uri="{FF2B5EF4-FFF2-40B4-BE49-F238E27FC236}">
                  <a16:creationId xmlns:a16="http://schemas.microsoft.com/office/drawing/2014/main" id="{81759120-A01F-428D-AE32-8D20D4220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315839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5" name="Freeform 245">
              <a:extLst>
                <a:ext uri="{FF2B5EF4-FFF2-40B4-BE49-F238E27FC236}">
                  <a16:creationId xmlns:a16="http://schemas.microsoft.com/office/drawing/2014/main" id="{27970448-C18B-4467-AF7F-826B5C704A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242814"/>
              <a:ext cx="249238" cy="146050"/>
            </a:xfrm>
            <a:custGeom>
              <a:avLst/>
              <a:gdLst>
                <a:gd name="T0" fmla="*/ 157 w 157"/>
                <a:gd name="T1" fmla="*/ 46 h 92"/>
                <a:gd name="T2" fmla="*/ 78 w 157"/>
                <a:gd name="T3" fmla="*/ 0 h 92"/>
                <a:gd name="T4" fmla="*/ 0 w 157"/>
                <a:gd name="T5" fmla="*/ 46 h 92"/>
                <a:gd name="T6" fmla="*/ 79 w 157"/>
                <a:gd name="T7" fmla="*/ 92 h 92"/>
                <a:gd name="T8" fmla="*/ 157 w 157"/>
                <a:gd name="T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2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2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6" name="Freeform 246">
              <a:extLst>
                <a:ext uri="{FF2B5EF4-FFF2-40B4-BE49-F238E27FC236}">
                  <a16:creationId xmlns:a16="http://schemas.microsoft.com/office/drawing/2014/main" id="{2BBC5590-4CA7-430B-BA3E-BFB4F2CAA6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8026" y="4798439"/>
              <a:ext cx="123825" cy="98425"/>
            </a:xfrm>
            <a:custGeom>
              <a:avLst/>
              <a:gdLst>
                <a:gd name="T0" fmla="*/ 78 w 78"/>
                <a:gd name="T1" fmla="*/ 0 h 62"/>
                <a:gd name="T2" fmla="*/ 0 w 78"/>
                <a:gd name="T3" fmla="*/ 45 h 62"/>
                <a:gd name="T4" fmla="*/ 0 w 78"/>
                <a:gd name="T5" fmla="*/ 62 h 62"/>
                <a:gd name="T6" fmla="*/ 78 w 78"/>
                <a:gd name="T7" fmla="*/ 17 h 62"/>
                <a:gd name="T8" fmla="*/ 78 w 78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78" y="0"/>
                  </a:moveTo>
                  <a:lnTo>
                    <a:pt x="0" y="45"/>
                  </a:lnTo>
                  <a:lnTo>
                    <a:pt x="0" y="62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7" name="Freeform 247">
              <a:extLst>
                <a:ext uri="{FF2B5EF4-FFF2-40B4-BE49-F238E27FC236}">
                  <a16:creationId xmlns:a16="http://schemas.microsoft.com/office/drawing/2014/main" id="{55BB7F15-312B-4D87-BEAD-A6CE2ABFA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4276" y="4412676"/>
              <a:ext cx="793750" cy="484188"/>
            </a:xfrm>
            <a:custGeom>
              <a:avLst/>
              <a:gdLst>
                <a:gd name="T0" fmla="*/ 0 w 500"/>
                <a:gd name="T1" fmla="*/ 0 h 305"/>
                <a:gd name="T2" fmla="*/ 0 w 500"/>
                <a:gd name="T3" fmla="*/ 17 h 305"/>
                <a:gd name="T4" fmla="*/ 500 w 500"/>
                <a:gd name="T5" fmla="*/ 305 h 305"/>
                <a:gd name="T6" fmla="*/ 500 w 500"/>
                <a:gd name="T7" fmla="*/ 288 h 305"/>
                <a:gd name="T8" fmla="*/ 0 w 500"/>
                <a:gd name="T9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0" h="305">
                  <a:moveTo>
                    <a:pt x="0" y="0"/>
                  </a:moveTo>
                  <a:lnTo>
                    <a:pt x="0" y="17"/>
                  </a:lnTo>
                  <a:lnTo>
                    <a:pt x="500" y="305"/>
                  </a:lnTo>
                  <a:lnTo>
                    <a:pt x="50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8" name="Freeform 248">
              <a:extLst>
                <a:ext uri="{FF2B5EF4-FFF2-40B4-BE49-F238E27FC236}">
                  <a16:creationId xmlns:a16="http://schemas.microsoft.com/office/drawing/2014/main" id="{0ACF1398-6489-4267-BC36-F369D0250E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4276" y="4339651"/>
              <a:ext cx="917575" cy="530225"/>
            </a:xfrm>
            <a:custGeom>
              <a:avLst/>
              <a:gdLst>
                <a:gd name="T0" fmla="*/ 578 w 578"/>
                <a:gd name="T1" fmla="*/ 289 h 334"/>
                <a:gd name="T2" fmla="*/ 79 w 578"/>
                <a:gd name="T3" fmla="*/ 0 h 334"/>
                <a:gd name="T4" fmla="*/ 0 w 578"/>
                <a:gd name="T5" fmla="*/ 46 h 334"/>
                <a:gd name="T6" fmla="*/ 500 w 578"/>
                <a:gd name="T7" fmla="*/ 334 h 334"/>
                <a:gd name="T8" fmla="*/ 578 w 578"/>
                <a:gd name="T9" fmla="*/ 28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8" h="334">
                  <a:moveTo>
                    <a:pt x="578" y="289"/>
                  </a:moveTo>
                  <a:lnTo>
                    <a:pt x="79" y="0"/>
                  </a:lnTo>
                  <a:lnTo>
                    <a:pt x="0" y="46"/>
                  </a:lnTo>
                  <a:lnTo>
                    <a:pt x="500" y="334"/>
                  </a:lnTo>
                  <a:lnTo>
                    <a:pt x="578" y="289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9" name="Freeform 249">
              <a:extLst>
                <a:ext uri="{FF2B5EF4-FFF2-40B4-BE49-F238E27FC236}">
                  <a16:creationId xmlns:a16="http://schemas.microsoft.com/office/drawing/2014/main" id="{0BC41050-055B-4D78-A10D-B5141720C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4713" y="4893689"/>
              <a:ext cx="125413" cy="100013"/>
            </a:xfrm>
            <a:custGeom>
              <a:avLst/>
              <a:gdLst>
                <a:gd name="T0" fmla="*/ 79 w 79"/>
                <a:gd name="T1" fmla="*/ 0 h 63"/>
                <a:gd name="T2" fmla="*/ 0 w 79"/>
                <a:gd name="T3" fmla="*/ 46 h 63"/>
                <a:gd name="T4" fmla="*/ 0 w 79"/>
                <a:gd name="T5" fmla="*/ 63 h 63"/>
                <a:gd name="T6" fmla="*/ 79 w 79"/>
                <a:gd name="T7" fmla="*/ 17 h 63"/>
                <a:gd name="T8" fmla="*/ 79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9" y="17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0" name="Freeform 250">
              <a:extLst>
                <a:ext uri="{FF2B5EF4-FFF2-40B4-BE49-F238E27FC236}">
                  <a16:creationId xmlns:a16="http://schemas.microsoft.com/office/drawing/2014/main" id="{18D42114-8D4F-4C35-B1E6-6DB40B7670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9301" y="4893689"/>
              <a:ext cx="125413" cy="100013"/>
            </a:xfrm>
            <a:custGeom>
              <a:avLst/>
              <a:gdLst>
                <a:gd name="T0" fmla="*/ 0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0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1" name="Freeform 251">
              <a:extLst>
                <a:ext uri="{FF2B5EF4-FFF2-40B4-BE49-F238E27FC236}">
                  <a16:creationId xmlns:a16="http://schemas.microsoft.com/office/drawing/2014/main" id="{A10F9CCA-B7C3-4092-B0DB-65938D3585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9301" y="4822251"/>
              <a:ext cx="250825" cy="144463"/>
            </a:xfrm>
            <a:custGeom>
              <a:avLst/>
              <a:gdLst>
                <a:gd name="T0" fmla="*/ 158 w 158"/>
                <a:gd name="T1" fmla="*/ 45 h 91"/>
                <a:gd name="T2" fmla="*/ 79 w 158"/>
                <a:gd name="T3" fmla="*/ 0 h 91"/>
                <a:gd name="T4" fmla="*/ 0 w 158"/>
                <a:gd name="T5" fmla="*/ 45 h 91"/>
                <a:gd name="T6" fmla="*/ 79 w 158"/>
                <a:gd name="T7" fmla="*/ 91 h 91"/>
                <a:gd name="T8" fmla="*/ 158 w 158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1">
                  <a:moveTo>
                    <a:pt x="158" y="45"/>
                  </a:moveTo>
                  <a:lnTo>
                    <a:pt x="79" y="0"/>
                  </a:lnTo>
                  <a:lnTo>
                    <a:pt x="0" y="45"/>
                  </a:lnTo>
                  <a:lnTo>
                    <a:pt x="79" y="91"/>
                  </a:lnTo>
                  <a:lnTo>
                    <a:pt x="158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2" name="Freeform 252">
              <a:extLst>
                <a:ext uri="{FF2B5EF4-FFF2-40B4-BE49-F238E27FC236}">
                  <a16:creationId xmlns:a16="http://schemas.microsoft.com/office/drawing/2014/main" id="{19FD1B5F-D9B3-4DB0-8615-037EDB7D3D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61401" y="4990526"/>
              <a:ext cx="125413" cy="100013"/>
            </a:xfrm>
            <a:custGeom>
              <a:avLst/>
              <a:gdLst>
                <a:gd name="T0" fmla="*/ 79 w 79"/>
                <a:gd name="T1" fmla="*/ 0 h 63"/>
                <a:gd name="T2" fmla="*/ 0 w 79"/>
                <a:gd name="T3" fmla="*/ 46 h 63"/>
                <a:gd name="T4" fmla="*/ 0 w 79"/>
                <a:gd name="T5" fmla="*/ 63 h 63"/>
                <a:gd name="T6" fmla="*/ 79 w 79"/>
                <a:gd name="T7" fmla="*/ 17 h 63"/>
                <a:gd name="T8" fmla="*/ 79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0"/>
                  </a:moveTo>
                  <a:lnTo>
                    <a:pt x="0" y="46"/>
                  </a:lnTo>
                  <a:lnTo>
                    <a:pt x="0" y="63"/>
                  </a:lnTo>
                  <a:lnTo>
                    <a:pt x="79" y="17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3" name="Freeform 253">
              <a:extLst>
                <a:ext uri="{FF2B5EF4-FFF2-40B4-BE49-F238E27FC236}">
                  <a16:creationId xmlns:a16="http://schemas.microsoft.com/office/drawing/2014/main" id="{4E54EB9A-F08D-4679-AB61-C442680AEA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5988" y="4990526"/>
              <a:ext cx="125413" cy="100013"/>
            </a:xfrm>
            <a:custGeom>
              <a:avLst/>
              <a:gdLst>
                <a:gd name="T0" fmla="*/ 1 w 79"/>
                <a:gd name="T1" fmla="*/ 0 h 63"/>
                <a:gd name="T2" fmla="*/ 0 w 79"/>
                <a:gd name="T3" fmla="*/ 17 h 63"/>
                <a:gd name="T4" fmla="*/ 79 w 79"/>
                <a:gd name="T5" fmla="*/ 63 h 63"/>
                <a:gd name="T6" fmla="*/ 79 w 79"/>
                <a:gd name="T7" fmla="*/ 46 h 63"/>
                <a:gd name="T8" fmla="*/ 1 w 79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1" y="0"/>
                  </a:moveTo>
                  <a:lnTo>
                    <a:pt x="0" y="17"/>
                  </a:lnTo>
                  <a:lnTo>
                    <a:pt x="79" y="63"/>
                  </a:lnTo>
                  <a:lnTo>
                    <a:pt x="79" y="4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4" name="Freeform 254">
              <a:extLst>
                <a:ext uri="{FF2B5EF4-FFF2-40B4-BE49-F238E27FC236}">
                  <a16:creationId xmlns:a16="http://schemas.microsoft.com/office/drawing/2014/main" id="{8CA5498A-3838-4A82-B11A-9A4D15CDDD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7576" y="4919089"/>
              <a:ext cx="249238" cy="144463"/>
            </a:xfrm>
            <a:custGeom>
              <a:avLst/>
              <a:gdLst>
                <a:gd name="T0" fmla="*/ 157 w 157"/>
                <a:gd name="T1" fmla="*/ 45 h 91"/>
                <a:gd name="T2" fmla="*/ 78 w 157"/>
                <a:gd name="T3" fmla="*/ 0 h 91"/>
                <a:gd name="T4" fmla="*/ 0 w 157"/>
                <a:gd name="T5" fmla="*/ 45 h 91"/>
                <a:gd name="T6" fmla="*/ 78 w 157"/>
                <a:gd name="T7" fmla="*/ 91 h 91"/>
                <a:gd name="T8" fmla="*/ 157 w 157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8" y="91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5" name="Freeform 255">
              <a:extLst>
                <a:ext uri="{FF2B5EF4-FFF2-40B4-BE49-F238E27FC236}">
                  <a16:creationId xmlns:a16="http://schemas.microsoft.com/office/drawing/2014/main" id="{52FDB48E-3744-43C2-AD16-01025C3745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29676" y="5087364"/>
              <a:ext cx="123825" cy="98425"/>
            </a:xfrm>
            <a:custGeom>
              <a:avLst/>
              <a:gdLst>
                <a:gd name="T0" fmla="*/ 78 w 78"/>
                <a:gd name="T1" fmla="*/ 0 h 62"/>
                <a:gd name="T2" fmla="*/ 0 w 78"/>
                <a:gd name="T3" fmla="*/ 45 h 62"/>
                <a:gd name="T4" fmla="*/ 0 w 78"/>
                <a:gd name="T5" fmla="*/ 62 h 62"/>
                <a:gd name="T6" fmla="*/ 78 w 78"/>
                <a:gd name="T7" fmla="*/ 17 h 62"/>
                <a:gd name="T8" fmla="*/ 78 w 78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78" y="0"/>
                  </a:moveTo>
                  <a:lnTo>
                    <a:pt x="0" y="45"/>
                  </a:lnTo>
                  <a:lnTo>
                    <a:pt x="0" y="62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6" name="Freeform 256">
              <a:extLst>
                <a:ext uri="{FF2B5EF4-FFF2-40B4-BE49-F238E27FC236}">
                  <a16:creationId xmlns:a16="http://schemas.microsoft.com/office/drawing/2014/main" id="{420A3C19-2A2D-43E8-B0E8-A83D681110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4263" y="508736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7" name="Freeform 257">
              <a:extLst>
                <a:ext uri="{FF2B5EF4-FFF2-40B4-BE49-F238E27FC236}">
                  <a16:creationId xmlns:a16="http://schemas.microsoft.com/office/drawing/2014/main" id="{54249694-B682-4D6D-9436-A1A31F468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4263" y="5014339"/>
              <a:ext cx="249238" cy="144463"/>
            </a:xfrm>
            <a:custGeom>
              <a:avLst/>
              <a:gdLst>
                <a:gd name="T0" fmla="*/ 157 w 157"/>
                <a:gd name="T1" fmla="*/ 46 h 91"/>
                <a:gd name="T2" fmla="*/ 78 w 157"/>
                <a:gd name="T3" fmla="*/ 0 h 91"/>
                <a:gd name="T4" fmla="*/ 0 w 157"/>
                <a:gd name="T5" fmla="*/ 46 h 91"/>
                <a:gd name="T6" fmla="*/ 79 w 157"/>
                <a:gd name="T7" fmla="*/ 91 h 91"/>
                <a:gd name="T8" fmla="*/ 157 w 157"/>
                <a:gd name="T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1">
                  <a:moveTo>
                    <a:pt x="157" y="46"/>
                  </a:moveTo>
                  <a:lnTo>
                    <a:pt x="78" y="0"/>
                  </a:lnTo>
                  <a:lnTo>
                    <a:pt x="0" y="46"/>
                  </a:lnTo>
                  <a:lnTo>
                    <a:pt x="79" y="91"/>
                  </a:lnTo>
                  <a:lnTo>
                    <a:pt x="157" y="46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8" name="Freeform 258">
              <a:extLst>
                <a:ext uri="{FF2B5EF4-FFF2-40B4-BE49-F238E27FC236}">
                  <a16:creationId xmlns:a16="http://schemas.microsoft.com/office/drawing/2014/main" id="{4BC81278-A134-4B2B-9CC7-ABF0BA8AD7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96363" y="5182614"/>
              <a:ext cx="123825" cy="98425"/>
            </a:xfrm>
            <a:custGeom>
              <a:avLst/>
              <a:gdLst>
                <a:gd name="T0" fmla="*/ 78 w 78"/>
                <a:gd name="T1" fmla="*/ 0 h 62"/>
                <a:gd name="T2" fmla="*/ 0 w 78"/>
                <a:gd name="T3" fmla="*/ 45 h 62"/>
                <a:gd name="T4" fmla="*/ 0 w 78"/>
                <a:gd name="T5" fmla="*/ 62 h 62"/>
                <a:gd name="T6" fmla="*/ 78 w 78"/>
                <a:gd name="T7" fmla="*/ 17 h 62"/>
                <a:gd name="T8" fmla="*/ 78 w 78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78" y="0"/>
                  </a:moveTo>
                  <a:lnTo>
                    <a:pt x="0" y="45"/>
                  </a:lnTo>
                  <a:lnTo>
                    <a:pt x="0" y="62"/>
                  </a:lnTo>
                  <a:lnTo>
                    <a:pt x="78" y="17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9" name="Freeform 259">
              <a:extLst>
                <a:ext uri="{FF2B5EF4-FFF2-40B4-BE49-F238E27FC236}">
                  <a16:creationId xmlns:a16="http://schemas.microsoft.com/office/drawing/2014/main" id="{42F474C2-F930-4B30-8D70-65EE2E4374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70951" y="5182614"/>
              <a:ext cx="125413" cy="98425"/>
            </a:xfrm>
            <a:custGeom>
              <a:avLst/>
              <a:gdLst>
                <a:gd name="T0" fmla="*/ 0 w 79"/>
                <a:gd name="T1" fmla="*/ 0 h 62"/>
                <a:gd name="T2" fmla="*/ 0 w 79"/>
                <a:gd name="T3" fmla="*/ 17 h 62"/>
                <a:gd name="T4" fmla="*/ 79 w 79"/>
                <a:gd name="T5" fmla="*/ 62 h 62"/>
                <a:gd name="T6" fmla="*/ 79 w 79"/>
                <a:gd name="T7" fmla="*/ 45 h 62"/>
                <a:gd name="T8" fmla="*/ 0 w 7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2">
                  <a:moveTo>
                    <a:pt x="0" y="0"/>
                  </a:moveTo>
                  <a:lnTo>
                    <a:pt x="0" y="17"/>
                  </a:lnTo>
                  <a:lnTo>
                    <a:pt x="79" y="62"/>
                  </a:lnTo>
                  <a:lnTo>
                    <a:pt x="79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0" name="Freeform 260">
              <a:extLst>
                <a:ext uri="{FF2B5EF4-FFF2-40B4-BE49-F238E27FC236}">
                  <a16:creationId xmlns:a16="http://schemas.microsoft.com/office/drawing/2014/main" id="{EBB654E0-7FEE-46BC-84BF-7F66D7F52C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70951" y="5111176"/>
              <a:ext cx="249238" cy="142875"/>
            </a:xfrm>
            <a:custGeom>
              <a:avLst/>
              <a:gdLst>
                <a:gd name="T0" fmla="*/ 157 w 157"/>
                <a:gd name="T1" fmla="*/ 45 h 90"/>
                <a:gd name="T2" fmla="*/ 78 w 157"/>
                <a:gd name="T3" fmla="*/ 0 h 90"/>
                <a:gd name="T4" fmla="*/ 0 w 157"/>
                <a:gd name="T5" fmla="*/ 45 h 90"/>
                <a:gd name="T6" fmla="*/ 79 w 157"/>
                <a:gd name="T7" fmla="*/ 90 h 90"/>
                <a:gd name="T8" fmla="*/ 157 w 157"/>
                <a:gd name="T9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90">
                  <a:moveTo>
                    <a:pt x="157" y="45"/>
                  </a:moveTo>
                  <a:lnTo>
                    <a:pt x="78" y="0"/>
                  </a:lnTo>
                  <a:lnTo>
                    <a:pt x="0" y="45"/>
                  </a:lnTo>
                  <a:lnTo>
                    <a:pt x="79" y="90"/>
                  </a:lnTo>
                  <a:lnTo>
                    <a:pt x="157" y="45"/>
                  </a:lnTo>
                  <a:close/>
                </a:path>
              </a:pathLst>
            </a:cu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1" name="Freeform 261">
              <a:extLst>
                <a:ext uri="{FF2B5EF4-FFF2-40B4-BE49-F238E27FC236}">
                  <a16:creationId xmlns:a16="http://schemas.microsoft.com/office/drawing/2014/main" id="{C5A76085-5A6A-439C-B09B-48C67C6C8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288726"/>
              <a:ext cx="342900" cy="592138"/>
            </a:xfrm>
            <a:custGeom>
              <a:avLst/>
              <a:gdLst>
                <a:gd name="T0" fmla="*/ 0 w 216"/>
                <a:gd name="T1" fmla="*/ 0 h 373"/>
                <a:gd name="T2" fmla="*/ 0 w 216"/>
                <a:gd name="T3" fmla="*/ 213 h 373"/>
                <a:gd name="T4" fmla="*/ 147 w 216"/>
                <a:gd name="T5" fmla="*/ 298 h 373"/>
                <a:gd name="T6" fmla="*/ 147 w 216"/>
                <a:gd name="T7" fmla="*/ 334 h 373"/>
                <a:gd name="T8" fmla="*/ 216 w 216"/>
                <a:gd name="T9" fmla="*/ 373 h 373"/>
                <a:gd name="T10" fmla="*/ 216 w 216"/>
                <a:gd name="T11" fmla="*/ 202 h 373"/>
                <a:gd name="T12" fmla="*/ 212 w 216"/>
                <a:gd name="T13" fmla="*/ 199 h 373"/>
                <a:gd name="T14" fmla="*/ 45 w 216"/>
                <a:gd name="T15" fmla="*/ 26 h 373"/>
                <a:gd name="T16" fmla="*/ 0 w 216"/>
                <a:gd name="T17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373">
                  <a:moveTo>
                    <a:pt x="0" y="0"/>
                  </a:moveTo>
                  <a:cubicBezTo>
                    <a:pt x="0" y="213"/>
                    <a:pt x="0" y="213"/>
                    <a:pt x="0" y="213"/>
                  </a:cubicBezTo>
                  <a:cubicBezTo>
                    <a:pt x="147" y="298"/>
                    <a:pt x="147" y="298"/>
                    <a:pt x="147" y="298"/>
                  </a:cubicBezTo>
                  <a:cubicBezTo>
                    <a:pt x="147" y="334"/>
                    <a:pt x="147" y="334"/>
                    <a:pt x="147" y="334"/>
                  </a:cubicBezTo>
                  <a:cubicBezTo>
                    <a:pt x="216" y="373"/>
                    <a:pt x="216" y="373"/>
                    <a:pt x="216" y="373"/>
                  </a:cubicBezTo>
                  <a:cubicBezTo>
                    <a:pt x="216" y="202"/>
                    <a:pt x="216" y="202"/>
                    <a:pt x="216" y="202"/>
                  </a:cubicBezTo>
                  <a:cubicBezTo>
                    <a:pt x="215" y="201"/>
                    <a:pt x="213" y="200"/>
                    <a:pt x="212" y="199"/>
                  </a:cubicBezTo>
                  <a:cubicBezTo>
                    <a:pt x="147" y="162"/>
                    <a:pt x="88" y="99"/>
                    <a:pt x="45" y="2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2" name="Freeform 262">
              <a:extLst>
                <a:ext uri="{FF2B5EF4-FFF2-40B4-BE49-F238E27FC236}">
                  <a16:creationId xmlns:a16="http://schemas.microsoft.com/office/drawing/2014/main" id="{017A9D02-1731-43CE-ABA3-DE7D692902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72676" y="3330001"/>
              <a:ext cx="271463" cy="279400"/>
            </a:xfrm>
            <a:custGeom>
              <a:avLst/>
              <a:gdLst>
                <a:gd name="T0" fmla="*/ 0 w 171"/>
                <a:gd name="T1" fmla="*/ 0 h 176"/>
                <a:gd name="T2" fmla="*/ 167 w 171"/>
                <a:gd name="T3" fmla="*/ 173 h 176"/>
                <a:gd name="T4" fmla="*/ 171 w 171"/>
                <a:gd name="T5" fmla="*/ 176 h 176"/>
                <a:gd name="T6" fmla="*/ 171 w 171"/>
                <a:gd name="T7" fmla="*/ 103 h 176"/>
                <a:gd name="T8" fmla="*/ 167 w 171"/>
                <a:gd name="T9" fmla="*/ 101 h 176"/>
                <a:gd name="T10" fmla="*/ 167 w 171"/>
                <a:gd name="T11" fmla="*/ 101 h 176"/>
                <a:gd name="T12" fmla="*/ 129 w 171"/>
                <a:gd name="T13" fmla="*/ 75 h 176"/>
                <a:gd name="T14" fmla="*/ 0 w 171"/>
                <a:gd name="T15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176">
                  <a:moveTo>
                    <a:pt x="0" y="0"/>
                  </a:moveTo>
                  <a:cubicBezTo>
                    <a:pt x="43" y="73"/>
                    <a:pt x="102" y="136"/>
                    <a:pt x="167" y="173"/>
                  </a:cubicBezTo>
                  <a:cubicBezTo>
                    <a:pt x="168" y="174"/>
                    <a:pt x="170" y="175"/>
                    <a:pt x="171" y="176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0" y="103"/>
                    <a:pt x="168" y="102"/>
                    <a:pt x="167" y="101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54" y="94"/>
                    <a:pt x="141" y="85"/>
                    <a:pt x="129" y="7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3" name="Freeform 263">
              <a:extLst>
                <a:ext uri="{FF2B5EF4-FFF2-40B4-BE49-F238E27FC236}">
                  <a16:creationId xmlns:a16="http://schemas.microsoft.com/office/drawing/2014/main" id="{61080750-A950-4A9B-8E6F-DFCA83CCD3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77188" y="1963164"/>
              <a:ext cx="460375" cy="792163"/>
            </a:xfrm>
            <a:custGeom>
              <a:avLst/>
              <a:gdLst>
                <a:gd name="T0" fmla="*/ 1 w 290"/>
                <a:gd name="T1" fmla="*/ 171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385 h 499"/>
                <a:gd name="T8" fmla="*/ 254 w 290"/>
                <a:gd name="T9" fmla="*/ 365 h 499"/>
                <a:gd name="T10" fmla="*/ 254 w 290"/>
                <a:gd name="T11" fmla="*/ 318 h 499"/>
                <a:gd name="T12" fmla="*/ 1 w 290"/>
                <a:gd name="T13" fmla="*/ 171 h 499"/>
                <a:gd name="T14" fmla="*/ 1 w 290"/>
                <a:gd name="T15" fmla="*/ 0 h 499"/>
                <a:gd name="T16" fmla="*/ 1 w 290"/>
                <a:gd name="T17" fmla="*/ 150 h 499"/>
                <a:gd name="T18" fmla="*/ 254 w 290"/>
                <a:gd name="T19" fmla="*/ 296 h 499"/>
                <a:gd name="T20" fmla="*/ 255 w 290"/>
                <a:gd name="T21" fmla="*/ 146 h 499"/>
                <a:gd name="T22" fmla="*/ 1 w 290"/>
                <a:gd name="T23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0" h="499">
                  <a:moveTo>
                    <a:pt x="1" y="171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385"/>
                  </a:lnTo>
                  <a:lnTo>
                    <a:pt x="254" y="365"/>
                  </a:lnTo>
                  <a:lnTo>
                    <a:pt x="254" y="318"/>
                  </a:lnTo>
                  <a:lnTo>
                    <a:pt x="1" y="171"/>
                  </a:lnTo>
                  <a:close/>
                  <a:moveTo>
                    <a:pt x="1" y="0"/>
                  </a:moveTo>
                  <a:lnTo>
                    <a:pt x="1" y="150"/>
                  </a:lnTo>
                  <a:lnTo>
                    <a:pt x="254" y="296"/>
                  </a:lnTo>
                  <a:lnTo>
                    <a:pt x="255" y="14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4" name="Freeform 264">
              <a:extLst>
                <a:ext uri="{FF2B5EF4-FFF2-40B4-BE49-F238E27FC236}">
                  <a16:creationId xmlns:a16="http://schemas.microsoft.com/office/drawing/2014/main" id="{5FA6C583-C757-4810-A906-3383A0F455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77188" y="1963164"/>
              <a:ext cx="460375" cy="792163"/>
            </a:xfrm>
            <a:custGeom>
              <a:avLst/>
              <a:gdLst>
                <a:gd name="T0" fmla="*/ 1 w 290"/>
                <a:gd name="T1" fmla="*/ 171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385 h 499"/>
                <a:gd name="T8" fmla="*/ 254 w 290"/>
                <a:gd name="T9" fmla="*/ 365 h 499"/>
                <a:gd name="T10" fmla="*/ 254 w 290"/>
                <a:gd name="T11" fmla="*/ 318 h 499"/>
                <a:gd name="T12" fmla="*/ 1 w 290"/>
                <a:gd name="T13" fmla="*/ 171 h 499"/>
                <a:gd name="T14" fmla="*/ 1 w 290"/>
                <a:gd name="T15" fmla="*/ 0 h 499"/>
                <a:gd name="T16" fmla="*/ 1 w 290"/>
                <a:gd name="T17" fmla="*/ 150 h 499"/>
                <a:gd name="T18" fmla="*/ 254 w 290"/>
                <a:gd name="T19" fmla="*/ 296 h 499"/>
                <a:gd name="T20" fmla="*/ 255 w 290"/>
                <a:gd name="T21" fmla="*/ 146 h 499"/>
                <a:gd name="T22" fmla="*/ 1 w 290"/>
                <a:gd name="T23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0" h="499">
                  <a:moveTo>
                    <a:pt x="1" y="171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385"/>
                  </a:lnTo>
                  <a:lnTo>
                    <a:pt x="254" y="365"/>
                  </a:lnTo>
                  <a:lnTo>
                    <a:pt x="254" y="318"/>
                  </a:lnTo>
                  <a:lnTo>
                    <a:pt x="1" y="171"/>
                  </a:lnTo>
                  <a:moveTo>
                    <a:pt x="1" y="0"/>
                  </a:moveTo>
                  <a:lnTo>
                    <a:pt x="1" y="150"/>
                  </a:lnTo>
                  <a:lnTo>
                    <a:pt x="254" y="296"/>
                  </a:lnTo>
                  <a:lnTo>
                    <a:pt x="255" y="146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5" name="Freeform 265">
              <a:extLst>
                <a:ext uri="{FF2B5EF4-FFF2-40B4-BE49-F238E27FC236}">
                  <a16:creationId xmlns:a16="http://schemas.microsoft.com/office/drawing/2014/main" id="{1A1885FD-C6BB-442A-9689-89E9A09CE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42401" y="3174426"/>
              <a:ext cx="460375" cy="792163"/>
            </a:xfrm>
            <a:custGeom>
              <a:avLst/>
              <a:gdLst>
                <a:gd name="T0" fmla="*/ 1 w 290"/>
                <a:gd name="T1" fmla="*/ 0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167 h 499"/>
                <a:gd name="T8" fmla="*/ 1 w 29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9">
                  <a:moveTo>
                    <a:pt x="1" y="0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16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6" name="Freeform 266">
              <a:extLst>
                <a:ext uri="{FF2B5EF4-FFF2-40B4-BE49-F238E27FC236}">
                  <a16:creationId xmlns:a16="http://schemas.microsoft.com/office/drawing/2014/main" id="{9537F323-84D7-4774-AE2B-D70268D029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42401" y="3174426"/>
              <a:ext cx="460375" cy="792163"/>
            </a:xfrm>
            <a:custGeom>
              <a:avLst/>
              <a:gdLst>
                <a:gd name="T0" fmla="*/ 1 w 290"/>
                <a:gd name="T1" fmla="*/ 0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167 h 499"/>
                <a:gd name="T8" fmla="*/ 1 w 29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9">
                  <a:moveTo>
                    <a:pt x="1" y="0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16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7" name="Freeform 267">
              <a:extLst>
                <a:ext uri="{FF2B5EF4-FFF2-40B4-BE49-F238E27FC236}">
                  <a16:creationId xmlns:a16="http://schemas.microsoft.com/office/drawing/2014/main" id="{FAFEB204-F675-434E-BC8B-1031C8E86F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9001" y="2866451"/>
              <a:ext cx="460375" cy="792163"/>
            </a:xfrm>
            <a:custGeom>
              <a:avLst/>
              <a:gdLst>
                <a:gd name="T0" fmla="*/ 1 w 290"/>
                <a:gd name="T1" fmla="*/ 0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167 h 499"/>
                <a:gd name="T8" fmla="*/ 1 w 29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9">
                  <a:moveTo>
                    <a:pt x="1" y="0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16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8" name="Freeform 268">
              <a:extLst>
                <a:ext uri="{FF2B5EF4-FFF2-40B4-BE49-F238E27FC236}">
                  <a16:creationId xmlns:a16="http://schemas.microsoft.com/office/drawing/2014/main" id="{AD9225CE-4E16-4DD2-BC06-C6A3B37BBE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9001" y="2866451"/>
              <a:ext cx="460375" cy="792163"/>
            </a:xfrm>
            <a:custGeom>
              <a:avLst/>
              <a:gdLst>
                <a:gd name="T0" fmla="*/ 1 w 290"/>
                <a:gd name="T1" fmla="*/ 0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167 h 499"/>
                <a:gd name="T8" fmla="*/ 1 w 29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9">
                  <a:moveTo>
                    <a:pt x="1" y="0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16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9" name="Freeform 269">
              <a:extLst>
                <a:ext uri="{FF2B5EF4-FFF2-40B4-BE49-F238E27FC236}">
                  <a16:creationId xmlns:a16="http://schemas.microsoft.com/office/drawing/2014/main" id="{7C41C1A2-DD9E-4653-80B3-9F83DE94EE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69251" y="1666301"/>
              <a:ext cx="1531938" cy="1112838"/>
            </a:xfrm>
            <a:custGeom>
              <a:avLst/>
              <a:gdLst>
                <a:gd name="T0" fmla="*/ 1 w 965"/>
                <a:gd name="T1" fmla="*/ 0 h 701"/>
                <a:gd name="T2" fmla="*/ 0 w 965"/>
                <a:gd name="T3" fmla="*/ 143 h 701"/>
                <a:gd name="T4" fmla="*/ 260 w 965"/>
                <a:gd name="T5" fmla="*/ 293 h 701"/>
                <a:gd name="T6" fmla="*/ 260 w 965"/>
                <a:gd name="T7" fmla="*/ 220 h 701"/>
                <a:gd name="T8" fmla="*/ 549 w 965"/>
                <a:gd name="T9" fmla="*/ 387 h 701"/>
                <a:gd name="T10" fmla="*/ 549 w 965"/>
                <a:gd name="T11" fmla="*/ 460 h 701"/>
                <a:gd name="T12" fmla="*/ 965 w 965"/>
                <a:gd name="T13" fmla="*/ 701 h 701"/>
                <a:gd name="T14" fmla="*/ 965 w 965"/>
                <a:gd name="T15" fmla="*/ 556 h 701"/>
                <a:gd name="T16" fmla="*/ 1 w 965"/>
                <a:gd name="T17" fmla="*/ 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5" h="701">
                  <a:moveTo>
                    <a:pt x="1" y="0"/>
                  </a:moveTo>
                  <a:lnTo>
                    <a:pt x="0" y="143"/>
                  </a:lnTo>
                  <a:lnTo>
                    <a:pt x="260" y="293"/>
                  </a:lnTo>
                  <a:lnTo>
                    <a:pt x="260" y="220"/>
                  </a:lnTo>
                  <a:lnTo>
                    <a:pt x="549" y="387"/>
                  </a:lnTo>
                  <a:lnTo>
                    <a:pt x="549" y="460"/>
                  </a:lnTo>
                  <a:lnTo>
                    <a:pt x="965" y="701"/>
                  </a:lnTo>
                  <a:lnTo>
                    <a:pt x="965" y="55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0" name="Freeform 270">
              <a:extLst>
                <a:ext uri="{FF2B5EF4-FFF2-40B4-BE49-F238E27FC236}">
                  <a16:creationId xmlns:a16="http://schemas.microsoft.com/office/drawing/2014/main" id="{67BDFAB0-E81A-4514-8C2A-2EC87A355E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69251" y="1666301"/>
              <a:ext cx="1531938" cy="1112838"/>
            </a:xfrm>
            <a:custGeom>
              <a:avLst/>
              <a:gdLst>
                <a:gd name="T0" fmla="*/ 1 w 965"/>
                <a:gd name="T1" fmla="*/ 0 h 701"/>
                <a:gd name="T2" fmla="*/ 0 w 965"/>
                <a:gd name="T3" fmla="*/ 143 h 701"/>
                <a:gd name="T4" fmla="*/ 260 w 965"/>
                <a:gd name="T5" fmla="*/ 293 h 701"/>
                <a:gd name="T6" fmla="*/ 260 w 965"/>
                <a:gd name="T7" fmla="*/ 220 h 701"/>
                <a:gd name="T8" fmla="*/ 549 w 965"/>
                <a:gd name="T9" fmla="*/ 387 h 701"/>
                <a:gd name="T10" fmla="*/ 549 w 965"/>
                <a:gd name="T11" fmla="*/ 460 h 701"/>
                <a:gd name="T12" fmla="*/ 965 w 965"/>
                <a:gd name="T13" fmla="*/ 701 h 701"/>
                <a:gd name="T14" fmla="*/ 965 w 965"/>
                <a:gd name="T15" fmla="*/ 556 h 701"/>
                <a:gd name="T16" fmla="*/ 1 w 965"/>
                <a:gd name="T17" fmla="*/ 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5" h="701">
                  <a:moveTo>
                    <a:pt x="1" y="0"/>
                  </a:moveTo>
                  <a:lnTo>
                    <a:pt x="0" y="143"/>
                  </a:lnTo>
                  <a:lnTo>
                    <a:pt x="260" y="293"/>
                  </a:lnTo>
                  <a:lnTo>
                    <a:pt x="260" y="220"/>
                  </a:lnTo>
                  <a:lnTo>
                    <a:pt x="549" y="387"/>
                  </a:lnTo>
                  <a:lnTo>
                    <a:pt x="549" y="460"/>
                  </a:lnTo>
                  <a:lnTo>
                    <a:pt x="965" y="701"/>
                  </a:lnTo>
                  <a:lnTo>
                    <a:pt x="965" y="556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1" name="Freeform 271">
              <a:extLst>
                <a:ext uri="{FF2B5EF4-FFF2-40B4-BE49-F238E27FC236}">
                  <a16:creationId xmlns:a16="http://schemas.microsoft.com/office/drawing/2014/main" id="{897CAD0F-F014-4623-9C2B-39EDD887AA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77188" y="2863276"/>
              <a:ext cx="460375" cy="487363"/>
            </a:xfrm>
            <a:custGeom>
              <a:avLst/>
              <a:gdLst>
                <a:gd name="T0" fmla="*/ 1 w 290"/>
                <a:gd name="T1" fmla="*/ 0 h 307"/>
                <a:gd name="T2" fmla="*/ 0 w 290"/>
                <a:gd name="T3" fmla="*/ 140 h 307"/>
                <a:gd name="T4" fmla="*/ 289 w 290"/>
                <a:gd name="T5" fmla="*/ 307 h 307"/>
                <a:gd name="T6" fmla="*/ 290 w 290"/>
                <a:gd name="T7" fmla="*/ 167 h 307"/>
                <a:gd name="T8" fmla="*/ 1 w 290"/>
                <a:gd name="T9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307">
                  <a:moveTo>
                    <a:pt x="1" y="0"/>
                  </a:moveTo>
                  <a:lnTo>
                    <a:pt x="0" y="140"/>
                  </a:lnTo>
                  <a:lnTo>
                    <a:pt x="289" y="307"/>
                  </a:lnTo>
                  <a:lnTo>
                    <a:pt x="290" y="16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2" name="Freeform 272">
              <a:extLst>
                <a:ext uri="{FF2B5EF4-FFF2-40B4-BE49-F238E27FC236}">
                  <a16:creationId xmlns:a16="http://schemas.microsoft.com/office/drawing/2014/main" id="{A0BDB473-1494-4F9D-81A8-D789757DC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77188" y="2863276"/>
              <a:ext cx="460375" cy="487363"/>
            </a:xfrm>
            <a:custGeom>
              <a:avLst/>
              <a:gdLst>
                <a:gd name="T0" fmla="*/ 1 w 290"/>
                <a:gd name="T1" fmla="*/ 0 h 307"/>
                <a:gd name="T2" fmla="*/ 0 w 290"/>
                <a:gd name="T3" fmla="*/ 140 h 307"/>
                <a:gd name="T4" fmla="*/ 289 w 290"/>
                <a:gd name="T5" fmla="*/ 307 h 307"/>
                <a:gd name="T6" fmla="*/ 290 w 290"/>
                <a:gd name="T7" fmla="*/ 167 h 307"/>
                <a:gd name="T8" fmla="*/ 1 w 290"/>
                <a:gd name="T9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307">
                  <a:moveTo>
                    <a:pt x="1" y="0"/>
                  </a:moveTo>
                  <a:lnTo>
                    <a:pt x="0" y="140"/>
                  </a:lnTo>
                  <a:lnTo>
                    <a:pt x="289" y="307"/>
                  </a:lnTo>
                  <a:lnTo>
                    <a:pt x="290" y="16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3" name="Freeform 273">
              <a:extLst>
                <a:ext uri="{FF2B5EF4-FFF2-40B4-BE49-F238E27FC236}">
                  <a16:creationId xmlns:a16="http://schemas.microsoft.com/office/drawing/2014/main" id="{C4291AA7-81C2-4F71-9A09-03A6FD36C6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1513" y="2602926"/>
              <a:ext cx="271463" cy="1531938"/>
            </a:xfrm>
            <a:custGeom>
              <a:avLst/>
              <a:gdLst>
                <a:gd name="T0" fmla="*/ 0 w 171"/>
                <a:gd name="T1" fmla="*/ 0 h 965"/>
                <a:gd name="T2" fmla="*/ 0 w 171"/>
                <a:gd name="T3" fmla="*/ 869 h 965"/>
                <a:gd name="T4" fmla="*/ 171 w 171"/>
                <a:gd name="T5" fmla="*/ 965 h 965"/>
                <a:gd name="T6" fmla="*/ 171 w 171"/>
                <a:gd name="T7" fmla="*/ 868 h 965"/>
                <a:gd name="T8" fmla="*/ 145 w 171"/>
                <a:gd name="T9" fmla="*/ 853 h 965"/>
                <a:gd name="T10" fmla="*/ 146 w 171"/>
                <a:gd name="T11" fmla="*/ 605 h 965"/>
                <a:gd name="T12" fmla="*/ 171 w 171"/>
                <a:gd name="T13" fmla="*/ 620 h 965"/>
                <a:gd name="T14" fmla="*/ 171 w 171"/>
                <a:gd name="T15" fmla="*/ 99 h 965"/>
                <a:gd name="T16" fmla="*/ 0 w 171"/>
                <a:gd name="T17" fmla="*/ 0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1" h="965">
                  <a:moveTo>
                    <a:pt x="0" y="0"/>
                  </a:moveTo>
                  <a:lnTo>
                    <a:pt x="0" y="869"/>
                  </a:lnTo>
                  <a:lnTo>
                    <a:pt x="171" y="965"/>
                  </a:lnTo>
                  <a:lnTo>
                    <a:pt x="171" y="868"/>
                  </a:lnTo>
                  <a:lnTo>
                    <a:pt x="145" y="853"/>
                  </a:lnTo>
                  <a:lnTo>
                    <a:pt x="146" y="605"/>
                  </a:lnTo>
                  <a:lnTo>
                    <a:pt x="171" y="620"/>
                  </a:lnTo>
                  <a:lnTo>
                    <a:pt x="171" y="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4" name="Freeform 274">
              <a:extLst>
                <a:ext uri="{FF2B5EF4-FFF2-40B4-BE49-F238E27FC236}">
                  <a16:creationId xmlns:a16="http://schemas.microsoft.com/office/drawing/2014/main" id="{541D0EB7-21CF-4310-A89F-5299D7434B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1513" y="2602926"/>
              <a:ext cx="271463" cy="1531938"/>
            </a:xfrm>
            <a:custGeom>
              <a:avLst/>
              <a:gdLst>
                <a:gd name="T0" fmla="*/ 0 w 171"/>
                <a:gd name="T1" fmla="*/ 0 h 965"/>
                <a:gd name="T2" fmla="*/ 0 w 171"/>
                <a:gd name="T3" fmla="*/ 869 h 965"/>
                <a:gd name="T4" fmla="*/ 171 w 171"/>
                <a:gd name="T5" fmla="*/ 965 h 965"/>
                <a:gd name="T6" fmla="*/ 171 w 171"/>
                <a:gd name="T7" fmla="*/ 868 h 965"/>
                <a:gd name="T8" fmla="*/ 145 w 171"/>
                <a:gd name="T9" fmla="*/ 853 h 965"/>
                <a:gd name="T10" fmla="*/ 146 w 171"/>
                <a:gd name="T11" fmla="*/ 605 h 965"/>
                <a:gd name="T12" fmla="*/ 171 w 171"/>
                <a:gd name="T13" fmla="*/ 620 h 965"/>
                <a:gd name="T14" fmla="*/ 171 w 171"/>
                <a:gd name="T15" fmla="*/ 99 h 965"/>
                <a:gd name="T16" fmla="*/ 0 w 171"/>
                <a:gd name="T17" fmla="*/ 0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1" h="965">
                  <a:moveTo>
                    <a:pt x="0" y="0"/>
                  </a:moveTo>
                  <a:lnTo>
                    <a:pt x="0" y="869"/>
                  </a:lnTo>
                  <a:lnTo>
                    <a:pt x="171" y="965"/>
                  </a:lnTo>
                  <a:lnTo>
                    <a:pt x="171" y="868"/>
                  </a:lnTo>
                  <a:lnTo>
                    <a:pt x="145" y="853"/>
                  </a:lnTo>
                  <a:lnTo>
                    <a:pt x="146" y="605"/>
                  </a:lnTo>
                  <a:lnTo>
                    <a:pt x="171" y="620"/>
                  </a:lnTo>
                  <a:lnTo>
                    <a:pt x="171" y="9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5" name="Freeform 275">
              <a:extLst>
                <a:ext uri="{FF2B5EF4-FFF2-40B4-BE49-F238E27FC236}">
                  <a16:creationId xmlns:a16="http://schemas.microsoft.com/office/drawing/2014/main" id="{6E3E8101-4E0B-42CB-A1E8-90BFC8178A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80613" y="2818826"/>
              <a:ext cx="44450" cy="49213"/>
            </a:xfrm>
            <a:custGeom>
              <a:avLst/>
              <a:gdLst>
                <a:gd name="T0" fmla="*/ 28 w 28"/>
                <a:gd name="T1" fmla="*/ 0 h 32"/>
                <a:gd name="T2" fmla="*/ 0 w 28"/>
                <a:gd name="T3" fmla="*/ 32 h 32"/>
                <a:gd name="T4" fmla="*/ 0 w 28"/>
                <a:gd name="T5" fmla="*/ 32 h 32"/>
                <a:gd name="T6" fmla="*/ 0 w 28"/>
                <a:gd name="T7" fmla="*/ 32 h 32"/>
                <a:gd name="T8" fmla="*/ 0 w 28"/>
                <a:gd name="T9" fmla="*/ 32 h 32"/>
                <a:gd name="T10" fmla="*/ 1 w 28"/>
                <a:gd name="T11" fmla="*/ 31 h 32"/>
                <a:gd name="T12" fmla="*/ 1 w 28"/>
                <a:gd name="T13" fmla="*/ 30 h 32"/>
                <a:gd name="T14" fmla="*/ 1 w 28"/>
                <a:gd name="T15" fmla="*/ 29 h 32"/>
                <a:gd name="T16" fmla="*/ 2 w 28"/>
                <a:gd name="T17" fmla="*/ 29 h 32"/>
                <a:gd name="T18" fmla="*/ 2 w 28"/>
                <a:gd name="T19" fmla="*/ 29 h 32"/>
                <a:gd name="T20" fmla="*/ 2 w 28"/>
                <a:gd name="T21" fmla="*/ 29 h 32"/>
                <a:gd name="T22" fmla="*/ 2 w 28"/>
                <a:gd name="T23" fmla="*/ 28 h 32"/>
                <a:gd name="T24" fmla="*/ 2 w 28"/>
                <a:gd name="T25" fmla="*/ 28 h 32"/>
                <a:gd name="T26" fmla="*/ 2 w 28"/>
                <a:gd name="T27" fmla="*/ 28 h 32"/>
                <a:gd name="T28" fmla="*/ 3 w 28"/>
                <a:gd name="T29" fmla="*/ 28 h 32"/>
                <a:gd name="T30" fmla="*/ 3 w 28"/>
                <a:gd name="T31" fmla="*/ 26 h 32"/>
                <a:gd name="T32" fmla="*/ 3 w 28"/>
                <a:gd name="T33" fmla="*/ 26 h 32"/>
                <a:gd name="T34" fmla="*/ 4 w 28"/>
                <a:gd name="T35" fmla="*/ 25 h 32"/>
                <a:gd name="T36" fmla="*/ 4 w 28"/>
                <a:gd name="T37" fmla="*/ 25 h 32"/>
                <a:gd name="T38" fmla="*/ 4 w 28"/>
                <a:gd name="T39" fmla="*/ 25 h 32"/>
                <a:gd name="T40" fmla="*/ 4 w 28"/>
                <a:gd name="T41" fmla="*/ 25 h 32"/>
                <a:gd name="T42" fmla="*/ 5 w 28"/>
                <a:gd name="T43" fmla="*/ 24 h 32"/>
                <a:gd name="T44" fmla="*/ 5 w 28"/>
                <a:gd name="T45" fmla="*/ 24 h 32"/>
                <a:gd name="T46" fmla="*/ 6 w 28"/>
                <a:gd name="T47" fmla="*/ 22 h 32"/>
                <a:gd name="T48" fmla="*/ 6 w 28"/>
                <a:gd name="T49" fmla="*/ 22 h 32"/>
                <a:gd name="T50" fmla="*/ 6 w 28"/>
                <a:gd name="T51" fmla="*/ 22 h 32"/>
                <a:gd name="T52" fmla="*/ 6 w 28"/>
                <a:gd name="T53" fmla="*/ 22 h 32"/>
                <a:gd name="T54" fmla="*/ 7 w 28"/>
                <a:gd name="T55" fmla="*/ 21 h 32"/>
                <a:gd name="T56" fmla="*/ 7 w 28"/>
                <a:gd name="T57" fmla="*/ 21 h 32"/>
                <a:gd name="T58" fmla="*/ 7 w 28"/>
                <a:gd name="T59" fmla="*/ 21 h 32"/>
                <a:gd name="T60" fmla="*/ 7 w 28"/>
                <a:gd name="T61" fmla="*/ 21 h 32"/>
                <a:gd name="T62" fmla="*/ 8 w 28"/>
                <a:gd name="T63" fmla="*/ 20 h 32"/>
                <a:gd name="T64" fmla="*/ 8 w 28"/>
                <a:gd name="T65" fmla="*/ 20 h 32"/>
                <a:gd name="T66" fmla="*/ 9 w 28"/>
                <a:gd name="T67" fmla="*/ 19 h 32"/>
                <a:gd name="T68" fmla="*/ 9 w 28"/>
                <a:gd name="T69" fmla="*/ 19 h 32"/>
                <a:gd name="T70" fmla="*/ 10 w 28"/>
                <a:gd name="T71" fmla="*/ 18 h 32"/>
                <a:gd name="T72" fmla="*/ 10 w 28"/>
                <a:gd name="T73" fmla="*/ 18 h 32"/>
                <a:gd name="T74" fmla="*/ 10 w 28"/>
                <a:gd name="T75" fmla="*/ 17 h 32"/>
                <a:gd name="T76" fmla="*/ 10 w 28"/>
                <a:gd name="T77" fmla="*/ 17 h 32"/>
                <a:gd name="T78" fmla="*/ 11 w 28"/>
                <a:gd name="T79" fmla="*/ 16 h 32"/>
                <a:gd name="T80" fmla="*/ 11 w 28"/>
                <a:gd name="T81" fmla="*/ 16 h 32"/>
                <a:gd name="T82" fmla="*/ 12 w 28"/>
                <a:gd name="T83" fmla="*/ 15 h 32"/>
                <a:gd name="T84" fmla="*/ 12 w 28"/>
                <a:gd name="T85" fmla="*/ 15 h 32"/>
                <a:gd name="T86" fmla="*/ 28 w 28"/>
                <a:gd name="T87" fmla="*/ 0 h 32"/>
                <a:gd name="T88" fmla="*/ 28 w 28"/>
                <a:gd name="T8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8" h="32">
                  <a:moveTo>
                    <a:pt x="28" y="0"/>
                  </a:moveTo>
                  <a:cubicBezTo>
                    <a:pt x="17" y="8"/>
                    <a:pt x="7" y="19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0" y="31"/>
                    <a:pt x="1" y="31"/>
                  </a:cubicBezTo>
                  <a:cubicBezTo>
                    <a:pt x="1" y="31"/>
                    <a:pt x="1" y="30"/>
                    <a:pt x="1" y="30"/>
                  </a:cubicBezTo>
                  <a:cubicBezTo>
                    <a:pt x="1" y="30"/>
                    <a:pt x="1" y="30"/>
                    <a:pt x="1" y="29"/>
                  </a:cubicBezTo>
                  <a:cubicBezTo>
                    <a:pt x="1" y="29"/>
                    <a:pt x="1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7"/>
                    <a:pt x="3" y="27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3"/>
                    <a:pt x="6" y="23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7" y="22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19"/>
                    <a:pt x="8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8"/>
                    <a:pt x="9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7" y="9"/>
                    <a:pt x="22" y="4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6" name="Freeform 276">
              <a:extLst>
                <a:ext uri="{FF2B5EF4-FFF2-40B4-BE49-F238E27FC236}">
                  <a16:creationId xmlns:a16="http://schemas.microsoft.com/office/drawing/2014/main" id="{4DA681EE-5F8B-4DF4-A508-0C6C081C2C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80613" y="2841051"/>
              <a:ext cx="19050" cy="26988"/>
            </a:xfrm>
            <a:custGeom>
              <a:avLst/>
              <a:gdLst>
                <a:gd name="T0" fmla="*/ 0 w 12"/>
                <a:gd name="T1" fmla="*/ 17 h 17"/>
                <a:gd name="T2" fmla="*/ 0 w 12"/>
                <a:gd name="T3" fmla="*/ 17 h 17"/>
                <a:gd name="T4" fmla="*/ 0 w 12"/>
                <a:gd name="T5" fmla="*/ 17 h 17"/>
                <a:gd name="T6" fmla="*/ 1 w 12"/>
                <a:gd name="T7" fmla="*/ 15 h 17"/>
                <a:gd name="T8" fmla="*/ 1 w 12"/>
                <a:gd name="T9" fmla="*/ 16 h 17"/>
                <a:gd name="T10" fmla="*/ 1 w 12"/>
                <a:gd name="T11" fmla="*/ 15 h 17"/>
                <a:gd name="T12" fmla="*/ 2 w 12"/>
                <a:gd name="T13" fmla="*/ 14 h 17"/>
                <a:gd name="T14" fmla="*/ 1 w 12"/>
                <a:gd name="T15" fmla="*/ 14 h 17"/>
                <a:gd name="T16" fmla="*/ 2 w 12"/>
                <a:gd name="T17" fmla="*/ 14 h 17"/>
                <a:gd name="T18" fmla="*/ 2 w 12"/>
                <a:gd name="T19" fmla="*/ 14 h 17"/>
                <a:gd name="T20" fmla="*/ 2 w 12"/>
                <a:gd name="T21" fmla="*/ 14 h 17"/>
                <a:gd name="T22" fmla="*/ 2 w 12"/>
                <a:gd name="T23" fmla="*/ 14 h 17"/>
                <a:gd name="T24" fmla="*/ 2 w 12"/>
                <a:gd name="T25" fmla="*/ 13 h 17"/>
                <a:gd name="T26" fmla="*/ 2 w 12"/>
                <a:gd name="T27" fmla="*/ 13 h 17"/>
                <a:gd name="T28" fmla="*/ 2 w 12"/>
                <a:gd name="T29" fmla="*/ 13 h 17"/>
                <a:gd name="T30" fmla="*/ 3 w 12"/>
                <a:gd name="T31" fmla="*/ 13 h 17"/>
                <a:gd name="T32" fmla="*/ 2 w 12"/>
                <a:gd name="T33" fmla="*/ 13 h 17"/>
                <a:gd name="T34" fmla="*/ 3 w 12"/>
                <a:gd name="T35" fmla="*/ 13 h 17"/>
                <a:gd name="T36" fmla="*/ 3 w 12"/>
                <a:gd name="T37" fmla="*/ 11 h 17"/>
                <a:gd name="T38" fmla="*/ 3 w 12"/>
                <a:gd name="T39" fmla="*/ 11 h 17"/>
                <a:gd name="T40" fmla="*/ 3 w 12"/>
                <a:gd name="T41" fmla="*/ 11 h 17"/>
                <a:gd name="T42" fmla="*/ 4 w 12"/>
                <a:gd name="T43" fmla="*/ 10 h 17"/>
                <a:gd name="T44" fmla="*/ 4 w 12"/>
                <a:gd name="T45" fmla="*/ 10 h 17"/>
                <a:gd name="T46" fmla="*/ 4 w 12"/>
                <a:gd name="T47" fmla="*/ 10 h 17"/>
                <a:gd name="T48" fmla="*/ 4 w 12"/>
                <a:gd name="T49" fmla="*/ 10 h 17"/>
                <a:gd name="T50" fmla="*/ 4 w 12"/>
                <a:gd name="T51" fmla="*/ 10 h 17"/>
                <a:gd name="T52" fmla="*/ 4 w 12"/>
                <a:gd name="T53" fmla="*/ 10 h 17"/>
                <a:gd name="T54" fmla="*/ 5 w 12"/>
                <a:gd name="T55" fmla="*/ 9 h 17"/>
                <a:gd name="T56" fmla="*/ 5 w 12"/>
                <a:gd name="T57" fmla="*/ 9 h 17"/>
                <a:gd name="T58" fmla="*/ 5 w 12"/>
                <a:gd name="T59" fmla="*/ 9 h 17"/>
                <a:gd name="T60" fmla="*/ 6 w 12"/>
                <a:gd name="T61" fmla="*/ 7 h 17"/>
                <a:gd name="T62" fmla="*/ 6 w 12"/>
                <a:gd name="T63" fmla="*/ 7 h 17"/>
                <a:gd name="T64" fmla="*/ 6 w 12"/>
                <a:gd name="T65" fmla="*/ 7 h 17"/>
                <a:gd name="T66" fmla="*/ 6 w 12"/>
                <a:gd name="T67" fmla="*/ 7 h 17"/>
                <a:gd name="T68" fmla="*/ 6 w 12"/>
                <a:gd name="T69" fmla="*/ 7 h 17"/>
                <a:gd name="T70" fmla="*/ 6 w 12"/>
                <a:gd name="T71" fmla="*/ 7 h 17"/>
                <a:gd name="T72" fmla="*/ 7 w 12"/>
                <a:gd name="T73" fmla="*/ 6 h 17"/>
                <a:gd name="T74" fmla="*/ 7 w 12"/>
                <a:gd name="T75" fmla="*/ 6 h 17"/>
                <a:gd name="T76" fmla="*/ 7 w 12"/>
                <a:gd name="T77" fmla="*/ 6 h 17"/>
                <a:gd name="T78" fmla="*/ 7 w 12"/>
                <a:gd name="T79" fmla="*/ 6 h 17"/>
                <a:gd name="T80" fmla="*/ 7 w 12"/>
                <a:gd name="T81" fmla="*/ 6 h 17"/>
                <a:gd name="T82" fmla="*/ 7 w 12"/>
                <a:gd name="T83" fmla="*/ 6 h 17"/>
                <a:gd name="T84" fmla="*/ 8 w 12"/>
                <a:gd name="T85" fmla="*/ 5 h 17"/>
                <a:gd name="T86" fmla="*/ 8 w 12"/>
                <a:gd name="T87" fmla="*/ 5 h 17"/>
                <a:gd name="T88" fmla="*/ 8 w 12"/>
                <a:gd name="T89" fmla="*/ 5 h 17"/>
                <a:gd name="T90" fmla="*/ 9 w 12"/>
                <a:gd name="T91" fmla="*/ 4 h 17"/>
                <a:gd name="T92" fmla="*/ 9 w 12"/>
                <a:gd name="T93" fmla="*/ 4 h 17"/>
                <a:gd name="T94" fmla="*/ 9 w 12"/>
                <a:gd name="T95" fmla="*/ 4 h 17"/>
                <a:gd name="T96" fmla="*/ 10 w 12"/>
                <a:gd name="T97" fmla="*/ 3 h 17"/>
                <a:gd name="T98" fmla="*/ 10 w 12"/>
                <a:gd name="T99" fmla="*/ 3 h 17"/>
                <a:gd name="T100" fmla="*/ 10 w 12"/>
                <a:gd name="T101" fmla="*/ 3 h 17"/>
                <a:gd name="T102" fmla="*/ 10 w 12"/>
                <a:gd name="T103" fmla="*/ 2 h 17"/>
                <a:gd name="T104" fmla="*/ 10 w 12"/>
                <a:gd name="T105" fmla="*/ 2 h 17"/>
                <a:gd name="T106" fmla="*/ 10 w 12"/>
                <a:gd name="T107" fmla="*/ 2 h 17"/>
                <a:gd name="T108" fmla="*/ 11 w 12"/>
                <a:gd name="T109" fmla="*/ 1 h 17"/>
                <a:gd name="T110" fmla="*/ 11 w 12"/>
                <a:gd name="T111" fmla="*/ 1 h 17"/>
                <a:gd name="T112" fmla="*/ 11 w 12"/>
                <a:gd name="T113" fmla="*/ 1 h 17"/>
                <a:gd name="T114" fmla="*/ 12 w 12"/>
                <a:gd name="T115" fmla="*/ 0 h 17"/>
                <a:gd name="T116" fmla="*/ 12 w 12"/>
                <a:gd name="T117" fmla="*/ 0 h 17"/>
                <a:gd name="T118" fmla="*/ 12 w 12"/>
                <a:gd name="T11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" h="17">
                  <a:moveTo>
                    <a:pt x="0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moveTo>
                    <a:pt x="1" y="15"/>
                  </a:moveTo>
                  <a:cubicBezTo>
                    <a:pt x="1" y="15"/>
                    <a:pt x="1" y="16"/>
                    <a:pt x="1" y="16"/>
                  </a:cubicBezTo>
                  <a:cubicBezTo>
                    <a:pt x="1" y="16"/>
                    <a:pt x="1" y="15"/>
                    <a:pt x="1" y="15"/>
                  </a:cubicBezTo>
                  <a:moveTo>
                    <a:pt x="2" y="14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4"/>
                    <a:pt x="2" y="14"/>
                  </a:cubicBezTo>
                  <a:moveTo>
                    <a:pt x="2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moveTo>
                    <a:pt x="2" y="13"/>
                  </a:move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moveTo>
                    <a:pt x="3" y="13"/>
                  </a:moveTo>
                  <a:cubicBezTo>
                    <a:pt x="3" y="13"/>
                    <a:pt x="2" y="13"/>
                    <a:pt x="2" y="13"/>
                  </a:cubicBezTo>
                  <a:cubicBezTo>
                    <a:pt x="2" y="13"/>
                    <a:pt x="3" y="13"/>
                    <a:pt x="3" y="13"/>
                  </a:cubicBezTo>
                  <a:moveTo>
                    <a:pt x="3" y="11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moveTo>
                    <a:pt x="4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moveTo>
                    <a:pt x="4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moveTo>
                    <a:pt x="6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moveTo>
                    <a:pt x="6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moveTo>
                    <a:pt x="7" y="6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moveTo>
                    <a:pt x="7" y="6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moveTo>
                    <a:pt x="8" y="5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moveTo>
                    <a:pt x="9" y="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moveTo>
                    <a:pt x="10" y="2"/>
                  </a:move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moveTo>
                    <a:pt x="11" y="1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7" name="Freeform 277">
              <a:extLst>
                <a:ext uri="{FF2B5EF4-FFF2-40B4-BE49-F238E27FC236}">
                  <a16:creationId xmlns:a16="http://schemas.microsoft.com/office/drawing/2014/main" id="{913CFB0B-258B-4DBA-AA43-DFAA9878AE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9026" y="2793426"/>
              <a:ext cx="46038" cy="400050"/>
            </a:xfrm>
            <a:custGeom>
              <a:avLst/>
              <a:gdLst>
                <a:gd name="T0" fmla="*/ 0 w 29"/>
                <a:gd name="T1" fmla="*/ 229 h 253"/>
                <a:gd name="T2" fmla="*/ 0 w 29"/>
                <a:gd name="T3" fmla="*/ 248 h 253"/>
                <a:gd name="T4" fmla="*/ 9 w 29"/>
                <a:gd name="T5" fmla="*/ 253 h 253"/>
                <a:gd name="T6" fmla="*/ 0 w 29"/>
                <a:gd name="T7" fmla="*/ 229 h 253"/>
                <a:gd name="T8" fmla="*/ 1 w 29"/>
                <a:gd name="T9" fmla="*/ 0 h 253"/>
                <a:gd name="T10" fmla="*/ 1 w 29"/>
                <a:gd name="T11" fmla="*/ 48 h 253"/>
                <a:gd name="T12" fmla="*/ 29 w 29"/>
                <a:gd name="T13" fmla="*/ 16 h 253"/>
                <a:gd name="T14" fmla="*/ 1 w 29"/>
                <a:gd name="T15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53">
                  <a:moveTo>
                    <a:pt x="0" y="229"/>
                  </a:moveTo>
                  <a:cubicBezTo>
                    <a:pt x="0" y="248"/>
                    <a:pt x="0" y="248"/>
                    <a:pt x="0" y="248"/>
                  </a:cubicBezTo>
                  <a:cubicBezTo>
                    <a:pt x="9" y="253"/>
                    <a:pt x="9" y="253"/>
                    <a:pt x="9" y="253"/>
                  </a:cubicBezTo>
                  <a:cubicBezTo>
                    <a:pt x="6" y="245"/>
                    <a:pt x="3" y="237"/>
                    <a:pt x="0" y="229"/>
                  </a:cubicBezTo>
                  <a:moveTo>
                    <a:pt x="1" y="0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8" y="35"/>
                    <a:pt x="18" y="24"/>
                    <a:pt x="29" y="16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A5D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8" name="Freeform 278">
              <a:extLst>
                <a:ext uri="{FF2B5EF4-FFF2-40B4-BE49-F238E27FC236}">
                  <a16:creationId xmlns:a16="http://schemas.microsoft.com/office/drawing/2014/main" id="{A77F1A34-C06F-4546-A649-F167306AB2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9001" y="2267964"/>
              <a:ext cx="460375" cy="790575"/>
            </a:xfrm>
            <a:custGeom>
              <a:avLst/>
              <a:gdLst>
                <a:gd name="T0" fmla="*/ 1 w 290"/>
                <a:gd name="T1" fmla="*/ 0 h 498"/>
                <a:gd name="T2" fmla="*/ 0 w 290"/>
                <a:gd name="T3" fmla="*/ 332 h 498"/>
                <a:gd name="T4" fmla="*/ 289 w 290"/>
                <a:gd name="T5" fmla="*/ 498 h 498"/>
                <a:gd name="T6" fmla="*/ 290 w 290"/>
                <a:gd name="T7" fmla="*/ 167 h 498"/>
                <a:gd name="T8" fmla="*/ 1 w 290"/>
                <a:gd name="T9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8">
                  <a:moveTo>
                    <a:pt x="1" y="0"/>
                  </a:moveTo>
                  <a:lnTo>
                    <a:pt x="0" y="332"/>
                  </a:lnTo>
                  <a:lnTo>
                    <a:pt x="289" y="498"/>
                  </a:lnTo>
                  <a:lnTo>
                    <a:pt x="290" y="16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70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9" name="Freeform 279">
              <a:extLst>
                <a:ext uri="{FF2B5EF4-FFF2-40B4-BE49-F238E27FC236}">
                  <a16:creationId xmlns:a16="http://schemas.microsoft.com/office/drawing/2014/main" id="{455BE762-04AB-464C-8587-206B75F2A0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9001" y="2267964"/>
              <a:ext cx="460375" cy="790575"/>
            </a:xfrm>
            <a:custGeom>
              <a:avLst/>
              <a:gdLst>
                <a:gd name="T0" fmla="*/ 1 w 290"/>
                <a:gd name="T1" fmla="*/ 0 h 498"/>
                <a:gd name="T2" fmla="*/ 0 w 290"/>
                <a:gd name="T3" fmla="*/ 332 h 498"/>
                <a:gd name="T4" fmla="*/ 289 w 290"/>
                <a:gd name="T5" fmla="*/ 498 h 498"/>
                <a:gd name="T6" fmla="*/ 290 w 290"/>
                <a:gd name="T7" fmla="*/ 167 h 498"/>
                <a:gd name="T8" fmla="*/ 1 w 290"/>
                <a:gd name="T9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8">
                  <a:moveTo>
                    <a:pt x="1" y="0"/>
                  </a:moveTo>
                  <a:lnTo>
                    <a:pt x="0" y="332"/>
                  </a:lnTo>
                  <a:lnTo>
                    <a:pt x="289" y="498"/>
                  </a:lnTo>
                  <a:lnTo>
                    <a:pt x="290" y="167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0" name="Freeform 280">
              <a:extLst>
                <a:ext uri="{FF2B5EF4-FFF2-40B4-BE49-F238E27FC236}">
                  <a16:creationId xmlns:a16="http://schemas.microsoft.com/office/drawing/2014/main" id="{0206EAAE-030A-4023-9305-07A16A30D8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29476" y="1767901"/>
              <a:ext cx="1398588" cy="833438"/>
            </a:xfrm>
            <a:custGeom>
              <a:avLst/>
              <a:gdLst>
                <a:gd name="T0" fmla="*/ 18 w 881"/>
                <a:gd name="T1" fmla="*/ 271 h 525"/>
                <a:gd name="T2" fmla="*/ 0 w 881"/>
                <a:gd name="T3" fmla="*/ 260 h 525"/>
                <a:gd name="T4" fmla="*/ 0 w 881"/>
                <a:gd name="T5" fmla="*/ 0 h 525"/>
                <a:gd name="T6" fmla="*/ 881 w 881"/>
                <a:gd name="T7" fmla="*/ 509 h 525"/>
                <a:gd name="T8" fmla="*/ 871 w 881"/>
                <a:gd name="T9" fmla="*/ 525 h 525"/>
                <a:gd name="T10" fmla="*/ 18 w 881"/>
                <a:gd name="T11" fmla="*/ 32 h 525"/>
                <a:gd name="T12" fmla="*/ 18 w 881"/>
                <a:gd name="T13" fmla="*/ 271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1" h="525">
                  <a:moveTo>
                    <a:pt x="18" y="271"/>
                  </a:moveTo>
                  <a:lnTo>
                    <a:pt x="0" y="260"/>
                  </a:lnTo>
                  <a:lnTo>
                    <a:pt x="0" y="0"/>
                  </a:lnTo>
                  <a:lnTo>
                    <a:pt x="881" y="509"/>
                  </a:lnTo>
                  <a:lnTo>
                    <a:pt x="871" y="525"/>
                  </a:lnTo>
                  <a:lnTo>
                    <a:pt x="18" y="32"/>
                  </a:lnTo>
                  <a:lnTo>
                    <a:pt x="18" y="271"/>
                  </a:lnTo>
                  <a:close/>
                </a:path>
              </a:pathLst>
            </a:custGeom>
            <a:solidFill>
              <a:srgbClr val="FF70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1" name="Freeform 281">
              <a:extLst>
                <a:ext uri="{FF2B5EF4-FFF2-40B4-BE49-F238E27FC236}">
                  <a16:creationId xmlns:a16="http://schemas.microsoft.com/office/drawing/2014/main" id="{5F8E73A7-4E07-4593-80C7-16839E2ADA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29476" y="1767901"/>
              <a:ext cx="1398588" cy="833438"/>
            </a:xfrm>
            <a:custGeom>
              <a:avLst/>
              <a:gdLst>
                <a:gd name="T0" fmla="*/ 18 w 881"/>
                <a:gd name="T1" fmla="*/ 271 h 525"/>
                <a:gd name="T2" fmla="*/ 0 w 881"/>
                <a:gd name="T3" fmla="*/ 260 h 525"/>
                <a:gd name="T4" fmla="*/ 0 w 881"/>
                <a:gd name="T5" fmla="*/ 0 h 525"/>
                <a:gd name="T6" fmla="*/ 881 w 881"/>
                <a:gd name="T7" fmla="*/ 509 h 525"/>
                <a:gd name="T8" fmla="*/ 871 w 881"/>
                <a:gd name="T9" fmla="*/ 525 h 525"/>
                <a:gd name="T10" fmla="*/ 18 w 881"/>
                <a:gd name="T11" fmla="*/ 32 h 525"/>
                <a:gd name="T12" fmla="*/ 18 w 881"/>
                <a:gd name="T13" fmla="*/ 271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1" h="525">
                  <a:moveTo>
                    <a:pt x="18" y="271"/>
                  </a:moveTo>
                  <a:lnTo>
                    <a:pt x="0" y="260"/>
                  </a:lnTo>
                  <a:lnTo>
                    <a:pt x="0" y="0"/>
                  </a:lnTo>
                  <a:lnTo>
                    <a:pt x="881" y="509"/>
                  </a:lnTo>
                  <a:lnTo>
                    <a:pt x="871" y="525"/>
                  </a:lnTo>
                  <a:lnTo>
                    <a:pt x="18" y="32"/>
                  </a:lnTo>
                  <a:lnTo>
                    <a:pt x="18" y="2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2" name="Freeform 282">
              <a:extLst>
                <a:ext uri="{FF2B5EF4-FFF2-40B4-BE49-F238E27FC236}">
                  <a16:creationId xmlns:a16="http://schemas.microsoft.com/office/drawing/2014/main" id="{9FB786F4-2659-40EA-B52B-DB59029315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2001" y="2131439"/>
              <a:ext cx="128588" cy="376238"/>
            </a:xfrm>
            <a:custGeom>
              <a:avLst/>
              <a:gdLst>
                <a:gd name="T0" fmla="*/ 0 w 81"/>
                <a:gd name="T1" fmla="*/ 0 h 237"/>
                <a:gd name="T2" fmla="*/ 0 w 81"/>
                <a:gd name="T3" fmla="*/ 40 h 237"/>
                <a:gd name="T4" fmla="*/ 35 w 81"/>
                <a:gd name="T5" fmla="*/ 61 h 237"/>
                <a:gd name="T6" fmla="*/ 35 w 81"/>
                <a:gd name="T7" fmla="*/ 210 h 237"/>
                <a:gd name="T8" fmla="*/ 81 w 81"/>
                <a:gd name="T9" fmla="*/ 237 h 237"/>
                <a:gd name="T10" fmla="*/ 81 w 81"/>
                <a:gd name="T11" fmla="*/ 236 h 237"/>
                <a:gd name="T12" fmla="*/ 63 w 81"/>
                <a:gd name="T13" fmla="*/ 225 h 237"/>
                <a:gd name="T14" fmla="*/ 64 w 81"/>
                <a:gd name="T15" fmla="*/ 37 h 237"/>
                <a:gd name="T16" fmla="*/ 0 w 81"/>
                <a:gd name="T17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237">
                  <a:moveTo>
                    <a:pt x="0" y="0"/>
                  </a:moveTo>
                  <a:lnTo>
                    <a:pt x="0" y="40"/>
                  </a:lnTo>
                  <a:lnTo>
                    <a:pt x="35" y="61"/>
                  </a:lnTo>
                  <a:lnTo>
                    <a:pt x="35" y="210"/>
                  </a:lnTo>
                  <a:lnTo>
                    <a:pt x="81" y="237"/>
                  </a:lnTo>
                  <a:lnTo>
                    <a:pt x="81" y="236"/>
                  </a:lnTo>
                  <a:lnTo>
                    <a:pt x="63" y="225"/>
                  </a:lnTo>
                  <a:lnTo>
                    <a:pt x="64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3" name="Freeform 283">
              <a:extLst>
                <a:ext uri="{FF2B5EF4-FFF2-40B4-BE49-F238E27FC236}">
                  <a16:creationId xmlns:a16="http://schemas.microsoft.com/office/drawing/2014/main" id="{39529C5E-624B-492F-81C1-21206C622B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2001" y="2131439"/>
              <a:ext cx="128588" cy="376238"/>
            </a:xfrm>
            <a:custGeom>
              <a:avLst/>
              <a:gdLst>
                <a:gd name="T0" fmla="*/ 0 w 81"/>
                <a:gd name="T1" fmla="*/ 0 h 237"/>
                <a:gd name="T2" fmla="*/ 0 w 81"/>
                <a:gd name="T3" fmla="*/ 40 h 237"/>
                <a:gd name="T4" fmla="*/ 35 w 81"/>
                <a:gd name="T5" fmla="*/ 61 h 237"/>
                <a:gd name="T6" fmla="*/ 35 w 81"/>
                <a:gd name="T7" fmla="*/ 210 h 237"/>
                <a:gd name="T8" fmla="*/ 81 w 81"/>
                <a:gd name="T9" fmla="*/ 237 h 237"/>
                <a:gd name="T10" fmla="*/ 81 w 81"/>
                <a:gd name="T11" fmla="*/ 236 h 237"/>
                <a:gd name="T12" fmla="*/ 63 w 81"/>
                <a:gd name="T13" fmla="*/ 225 h 237"/>
                <a:gd name="T14" fmla="*/ 64 w 81"/>
                <a:gd name="T15" fmla="*/ 37 h 237"/>
                <a:gd name="T16" fmla="*/ 0 w 81"/>
                <a:gd name="T17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237">
                  <a:moveTo>
                    <a:pt x="0" y="0"/>
                  </a:moveTo>
                  <a:lnTo>
                    <a:pt x="0" y="40"/>
                  </a:lnTo>
                  <a:lnTo>
                    <a:pt x="35" y="61"/>
                  </a:lnTo>
                  <a:lnTo>
                    <a:pt x="35" y="210"/>
                  </a:lnTo>
                  <a:lnTo>
                    <a:pt x="81" y="237"/>
                  </a:lnTo>
                  <a:lnTo>
                    <a:pt x="81" y="236"/>
                  </a:lnTo>
                  <a:lnTo>
                    <a:pt x="63" y="225"/>
                  </a:lnTo>
                  <a:lnTo>
                    <a:pt x="64" y="3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4" name="Freeform 284">
              <a:extLst>
                <a:ext uri="{FF2B5EF4-FFF2-40B4-BE49-F238E27FC236}">
                  <a16:creationId xmlns:a16="http://schemas.microsoft.com/office/drawing/2014/main" id="{1344D674-AAC0-44EF-8647-7D4B7652CD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194939"/>
              <a:ext cx="57150" cy="269875"/>
            </a:xfrm>
            <a:custGeom>
              <a:avLst/>
              <a:gdLst>
                <a:gd name="T0" fmla="*/ 1 w 36"/>
                <a:gd name="T1" fmla="*/ 0 h 170"/>
                <a:gd name="T2" fmla="*/ 0 w 36"/>
                <a:gd name="T3" fmla="*/ 150 h 170"/>
                <a:gd name="T4" fmla="*/ 36 w 36"/>
                <a:gd name="T5" fmla="*/ 170 h 170"/>
                <a:gd name="T6" fmla="*/ 36 w 36"/>
                <a:gd name="T7" fmla="*/ 21 h 170"/>
                <a:gd name="T8" fmla="*/ 1 w 36"/>
                <a:gd name="T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0">
                  <a:moveTo>
                    <a:pt x="1" y="0"/>
                  </a:moveTo>
                  <a:lnTo>
                    <a:pt x="0" y="150"/>
                  </a:lnTo>
                  <a:lnTo>
                    <a:pt x="36" y="170"/>
                  </a:lnTo>
                  <a:lnTo>
                    <a:pt x="36" y="2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5" name="Freeform 285">
              <a:extLst>
                <a:ext uri="{FF2B5EF4-FFF2-40B4-BE49-F238E27FC236}">
                  <a16:creationId xmlns:a16="http://schemas.microsoft.com/office/drawing/2014/main" id="{A39C08B7-2558-422C-AF47-1FDA869B2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194939"/>
              <a:ext cx="57150" cy="269875"/>
            </a:xfrm>
            <a:custGeom>
              <a:avLst/>
              <a:gdLst>
                <a:gd name="T0" fmla="*/ 1 w 36"/>
                <a:gd name="T1" fmla="*/ 0 h 170"/>
                <a:gd name="T2" fmla="*/ 0 w 36"/>
                <a:gd name="T3" fmla="*/ 150 h 170"/>
                <a:gd name="T4" fmla="*/ 36 w 36"/>
                <a:gd name="T5" fmla="*/ 170 h 170"/>
                <a:gd name="T6" fmla="*/ 36 w 36"/>
                <a:gd name="T7" fmla="*/ 21 h 170"/>
                <a:gd name="T8" fmla="*/ 1 w 36"/>
                <a:gd name="T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0">
                  <a:moveTo>
                    <a:pt x="1" y="0"/>
                  </a:moveTo>
                  <a:lnTo>
                    <a:pt x="0" y="150"/>
                  </a:lnTo>
                  <a:lnTo>
                    <a:pt x="36" y="170"/>
                  </a:lnTo>
                  <a:lnTo>
                    <a:pt x="36" y="21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6" name="Freeform 286">
              <a:extLst>
                <a:ext uri="{FF2B5EF4-FFF2-40B4-BE49-F238E27FC236}">
                  <a16:creationId xmlns:a16="http://schemas.microsoft.com/office/drawing/2014/main" id="{67179C27-75B7-4050-AF51-2BBC7693FB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37563" y="2209226"/>
              <a:ext cx="403225" cy="407988"/>
            </a:xfrm>
            <a:custGeom>
              <a:avLst/>
              <a:gdLst>
                <a:gd name="T0" fmla="*/ 0 w 254"/>
                <a:gd name="T1" fmla="*/ 183 h 257"/>
                <a:gd name="T2" fmla="*/ 0 w 254"/>
                <a:gd name="T3" fmla="*/ 230 h 257"/>
                <a:gd name="T4" fmla="*/ 46 w 254"/>
                <a:gd name="T5" fmla="*/ 257 h 257"/>
                <a:gd name="T6" fmla="*/ 46 w 254"/>
                <a:gd name="T7" fmla="*/ 210 h 257"/>
                <a:gd name="T8" fmla="*/ 0 w 254"/>
                <a:gd name="T9" fmla="*/ 183 h 257"/>
                <a:gd name="T10" fmla="*/ 49 w 254"/>
                <a:gd name="T11" fmla="*/ 0 h 257"/>
                <a:gd name="T12" fmla="*/ 49 w 254"/>
                <a:gd name="T13" fmla="*/ 38 h 257"/>
                <a:gd name="T14" fmla="*/ 254 w 254"/>
                <a:gd name="T15" fmla="*/ 157 h 257"/>
                <a:gd name="T16" fmla="*/ 254 w 254"/>
                <a:gd name="T17" fmla="*/ 118 h 257"/>
                <a:gd name="T18" fmla="*/ 49 w 254"/>
                <a:gd name="T19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257">
                  <a:moveTo>
                    <a:pt x="0" y="183"/>
                  </a:moveTo>
                  <a:lnTo>
                    <a:pt x="0" y="230"/>
                  </a:lnTo>
                  <a:lnTo>
                    <a:pt x="46" y="257"/>
                  </a:lnTo>
                  <a:lnTo>
                    <a:pt x="46" y="210"/>
                  </a:lnTo>
                  <a:lnTo>
                    <a:pt x="0" y="183"/>
                  </a:lnTo>
                  <a:close/>
                  <a:moveTo>
                    <a:pt x="49" y="0"/>
                  </a:moveTo>
                  <a:lnTo>
                    <a:pt x="49" y="38"/>
                  </a:lnTo>
                  <a:lnTo>
                    <a:pt x="254" y="157"/>
                  </a:lnTo>
                  <a:lnTo>
                    <a:pt x="254" y="11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0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7" name="Freeform 287">
              <a:extLst>
                <a:ext uri="{FF2B5EF4-FFF2-40B4-BE49-F238E27FC236}">
                  <a16:creationId xmlns:a16="http://schemas.microsoft.com/office/drawing/2014/main" id="{CD4F3307-641B-4735-BCF0-07D7BACB49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37563" y="2209226"/>
              <a:ext cx="403225" cy="407988"/>
            </a:xfrm>
            <a:custGeom>
              <a:avLst/>
              <a:gdLst>
                <a:gd name="T0" fmla="*/ 0 w 254"/>
                <a:gd name="T1" fmla="*/ 183 h 257"/>
                <a:gd name="T2" fmla="*/ 0 w 254"/>
                <a:gd name="T3" fmla="*/ 230 h 257"/>
                <a:gd name="T4" fmla="*/ 46 w 254"/>
                <a:gd name="T5" fmla="*/ 257 h 257"/>
                <a:gd name="T6" fmla="*/ 46 w 254"/>
                <a:gd name="T7" fmla="*/ 210 h 257"/>
                <a:gd name="T8" fmla="*/ 0 w 254"/>
                <a:gd name="T9" fmla="*/ 183 h 257"/>
                <a:gd name="T10" fmla="*/ 49 w 254"/>
                <a:gd name="T11" fmla="*/ 0 h 257"/>
                <a:gd name="T12" fmla="*/ 49 w 254"/>
                <a:gd name="T13" fmla="*/ 38 h 257"/>
                <a:gd name="T14" fmla="*/ 254 w 254"/>
                <a:gd name="T15" fmla="*/ 157 h 257"/>
                <a:gd name="T16" fmla="*/ 254 w 254"/>
                <a:gd name="T17" fmla="*/ 118 h 257"/>
                <a:gd name="T18" fmla="*/ 49 w 254"/>
                <a:gd name="T19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257">
                  <a:moveTo>
                    <a:pt x="0" y="183"/>
                  </a:moveTo>
                  <a:lnTo>
                    <a:pt x="0" y="230"/>
                  </a:lnTo>
                  <a:lnTo>
                    <a:pt x="46" y="257"/>
                  </a:lnTo>
                  <a:lnTo>
                    <a:pt x="46" y="210"/>
                  </a:lnTo>
                  <a:lnTo>
                    <a:pt x="0" y="183"/>
                  </a:lnTo>
                  <a:moveTo>
                    <a:pt x="49" y="0"/>
                  </a:moveTo>
                  <a:lnTo>
                    <a:pt x="49" y="38"/>
                  </a:lnTo>
                  <a:lnTo>
                    <a:pt x="254" y="157"/>
                  </a:lnTo>
                  <a:lnTo>
                    <a:pt x="254" y="118"/>
                  </a:lnTo>
                  <a:lnTo>
                    <a:pt x="4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8" name="Freeform 288">
              <a:extLst>
                <a:ext uri="{FF2B5EF4-FFF2-40B4-BE49-F238E27FC236}">
                  <a16:creationId xmlns:a16="http://schemas.microsoft.com/office/drawing/2014/main" id="{6466F1D2-5A96-4BE2-A35F-80A9E6E05B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467989"/>
              <a:ext cx="57150" cy="106363"/>
            </a:xfrm>
            <a:custGeom>
              <a:avLst/>
              <a:gdLst>
                <a:gd name="T0" fmla="*/ 0 w 36"/>
                <a:gd name="T1" fmla="*/ 0 h 67"/>
                <a:gd name="T2" fmla="*/ 0 w 36"/>
                <a:gd name="T3" fmla="*/ 47 h 67"/>
                <a:gd name="T4" fmla="*/ 36 w 36"/>
                <a:gd name="T5" fmla="*/ 67 h 67"/>
                <a:gd name="T6" fmla="*/ 36 w 36"/>
                <a:gd name="T7" fmla="*/ 20 h 67"/>
                <a:gd name="T8" fmla="*/ 0 w 36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67">
                  <a:moveTo>
                    <a:pt x="0" y="0"/>
                  </a:moveTo>
                  <a:lnTo>
                    <a:pt x="0" y="47"/>
                  </a:lnTo>
                  <a:lnTo>
                    <a:pt x="36" y="67"/>
                  </a:lnTo>
                  <a:lnTo>
                    <a:pt x="36" y="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9" name="Freeform 289">
              <a:extLst>
                <a:ext uri="{FF2B5EF4-FFF2-40B4-BE49-F238E27FC236}">
                  <a16:creationId xmlns:a16="http://schemas.microsoft.com/office/drawing/2014/main" id="{0CFCF4C2-0F3A-4087-998E-D294BD082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467989"/>
              <a:ext cx="57150" cy="106363"/>
            </a:xfrm>
            <a:custGeom>
              <a:avLst/>
              <a:gdLst>
                <a:gd name="T0" fmla="*/ 0 w 36"/>
                <a:gd name="T1" fmla="*/ 0 h 67"/>
                <a:gd name="T2" fmla="*/ 0 w 36"/>
                <a:gd name="T3" fmla="*/ 47 h 67"/>
                <a:gd name="T4" fmla="*/ 36 w 36"/>
                <a:gd name="T5" fmla="*/ 67 h 67"/>
                <a:gd name="T6" fmla="*/ 36 w 36"/>
                <a:gd name="T7" fmla="*/ 20 h 67"/>
                <a:gd name="T8" fmla="*/ 0 w 36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67">
                  <a:moveTo>
                    <a:pt x="0" y="0"/>
                  </a:moveTo>
                  <a:lnTo>
                    <a:pt x="0" y="47"/>
                  </a:lnTo>
                  <a:lnTo>
                    <a:pt x="36" y="67"/>
                  </a:lnTo>
                  <a:lnTo>
                    <a:pt x="36" y="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0" name="Freeform 290">
              <a:extLst>
                <a:ext uri="{FF2B5EF4-FFF2-40B4-BE49-F238E27FC236}">
                  <a16:creationId xmlns:a16="http://schemas.microsoft.com/office/drawing/2014/main" id="{F41C55D8-D6E7-45B1-A076-DF7E2093D3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2001" y="2015551"/>
              <a:ext cx="458788" cy="381000"/>
            </a:xfrm>
            <a:custGeom>
              <a:avLst/>
              <a:gdLst>
                <a:gd name="T0" fmla="*/ 0 w 289"/>
                <a:gd name="T1" fmla="*/ 0 h 240"/>
                <a:gd name="T2" fmla="*/ 0 w 289"/>
                <a:gd name="T3" fmla="*/ 73 h 240"/>
                <a:gd name="T4" fmla="*/ 64 w 289"/>
                <a:gd name="T5" fmla="*/ 110 h 240"/>
                <a:gd name="T6" fmla="*/ 64 w 289"/>
                <a:gd name="T7" fmla="*/ 102 h 240"/>
                <a:gd name="T8" fmla="*/ 84 w 289"/>
                <a:gd name="T9" fmla="*/ 114 h 240"/>
                <a:gd name="T10" fmla="*/ 84 w 289"/>
                <a:gd name="T11" fmla="*/ 122 h 240"/>
                <a:gd name="T12" fmla="*/ 289 w 289"/>
                <a:gd name="T13" fmla="*/ 240 h 240"/>
                <a:gd name="T14" fmla="*/ 289 w 289"/>
                <a:gd name="T15" fmla="*/ 167 h 240"/>
                <a:gd name="T16" fmla="*/ 0 w 289"/>
                <a:gd name="T17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9" h="240">
                  <a:moveTo>
                    <a:pt x="0" y="0"/>
                  </a:moveTo>
                  <a:lnTo>
                    <a:pt x="0" y="73"/>
                  </a:lnTo>
                  <a:lnTo>
                    <a:pt x="64" y="110"/>
                  </a:lnTo>
                  <a:lnTo>
                    <a:pt x="64" y="102"/>
                  </a:lnTo>
                  <a:lnTo>
                    <a:pt x="84" y="114"/>
                  </a:lnTo>
                  <a:lnTo>
                    <a:pt x="84" y="122"/>
                  </a:lnTo>
                  <a:lnTo>
                    <a:pt x="289" y="240"/>
                  </a:lnTo>
                  <a:lnTo>
                    <a:pt x="289" y="1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1" name="Freeform 291">
              <a:extLst>
                <a:ext uri="{FF2B5EF4-FFF2-40B4-BE49-F238E27FC236}">
                  <a16:creationId xmlns:a16="http://schemas.microsoft.com/office/drawing/2014/main" id="{505D63CA-7FA3-43E9-B1C9-4E4F6BB302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2001" y="2015551"/>
              <a:ext cx="458788" cy="381000"/>
            </a:xfrm>
            <a:custGeom>
              <a:avLst/>
              <a:gdLst>
                <a:gd name="T0" fmla="*/ 0 w 289"/>
                <a:gd name="T1" fmla="*/ 0 h 240"/>
                <a:gd name="T2" fmla="*/ 0 w 289"/>
                <a:gd name="T3" fmla="*/ 73 h 240"/>
                <a:gd name="T4" fmla="*/ 64 w 289"/>
                <a:gd name="T5" fmla="*/ 110 h 240"/>
                <a:gd name="T6" fmla="*/ 64 w 289"/>
                <a:gd name="T7" fmla="*/ 102 h 240"/>
                <a:gd name="T8" fmla="*/ 84 w 289"/>
                <a:gd name="T9" fmla="*/ 114 h 240"/>
                <a:gd name="T10" fmla="*/ 84 w 289"/>
                <a:gd name="T11" fmla="*/ 122 h 240"/>
                <a:gd name="T12" fmla="*/ 289 w 289"/>
                <a:gd name="T13" fmla="*/ 240 h 240"/>
                <a:gd name="T14" fmla="*/ 289 w 289"/>
                <a:gd name="T15" fmla="*/ 167 h 240"/>
                <a:gd name="T16" fmla="*/ 0 w 289"/>
                <a:gd name="T17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9" h="240">
                  <a:moveTo>
                    <a:pt x="0" y="0"/>
                  </a:moveTo>
                  <a:lnTo>
                    <a:pt x="0" y="73"/>
                  </a:lnTo>
                  <a:lnTo>
                    <a:pt x="64" y="110"/>
                  </a:lnTo>
                  <a:lnTo>
                    <a:pt x="64" y="102"/>
                  </a:lnTo>
                  <a:lnTo>
                    <a:pt x="84" y="114"/>
                  </a:lnTo>
                  <a:lnTo>
                    <a:pt x="84" y="122"/>
                  </a:lnTo>
                  <a:lnTo>
                    <a:pt x="289" y="240"/>
                  </a:lnTo>
                  <a:lnTo>
                    <a:pt x="289" y="16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2" name="Freeform 292">
              <a:extLst>
                <a:ext uri="{FF2B5EF4-FFF2-40B4-BE49-F238E27FC236}">
                  <a16:creationId xmlns:a16="http://schemas.microsoft.com/office/drawing/2014/main" id="{047E8396-F047-43E7-8A66-0616EB0E3A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10588" y="2269551"/>
              <a:ext cx="330200" cy="538163"/>
            </a:xfrm>
            <a:custGeom>
              <a:avLst/>
              <a:gdLst>
                <a:gd name="T0" fmla="*/ 136 w 208"/>
                <a:gd name="T1" fmla="*/ 227 h 339"/>
                <a:gd name="T2" fmla="*/ 116 w 208"/>
                <a:gd name="T3" fmla="*/ 216 h 339"/>
                <a:gd name="T4" fmla="*/ 116 w 208"/>
                <a:gd name="T5" fmla="*/ 175 h 339"/>
                <a:gd name="T6" fmla="*/ 136 w 208"/>
                <a:gd name="T7" fmla="*/ 187 h 339"/>
                <a:gd name="T8" fmla="*/ 136 w 208"/>
                <a:gd name="T9" fmla="*/ 227 h 339"/>
                <a:gd name="T10" fmla="*/ 103 w 208"/>
                <a:gd name="T11" fmla="*/ 208 h 339"/>
                <a:gd name="T12" fmla="*/ 83 w 208"/>
                <a:gd name="T13" fmla="*/ 196 h 339"/>
                <a:gd name="T14" fmla="*/ 83 w 208"/>
                <a:gd name="T15" fmla="*/ 122 h 339"/>
                <a:gd name="T16" fmla="*/ 103 w 208"/>
                <a:gd name="T17" fmla="*/ 133 h 339"/>
                <a:gd name="T18" fmla="*/ 103 w 208"/>
                <a:gd name="T19" fmla="*/ 208 h 339"/>
                <a:gd name="T20" fmla="*/ 69 w 208"/>
                <a:gd name="T21" fmla="*/ 189 h 339"/>
                <a:gd name="T22" fmla="*/ 49 w 208"/>
                <a:gd name="T23" fmla="*/ 177 h 339"/>
                <a:gd name="T24" fmla="*/ 49 w 208"/>
                <a:gd name="T25" fmla="*/ 69 h 339"/>
                <a:gd name="T26" fmla="*/ 69 w 208"/>
                <a:gd name="T27" fmla="*/ 80 h 339"/>
                <a:gd name="T28" fmla="*/ 69 w 208"/>
                <a:gd name="T29" fmla="*/ 189 h 339"/>
                <a:gd name="T30" fmla="*/ 36 w 208"/>
                <a:gd name="T31" fmla="*/ 169 h 339"/>
                <a:gd name="T32" fmla="*/ 16 w 208"/>
                <a:gd name="T33" fmla="*/ 158 h 339"/>
                <a:gd name="T34" fmla="*/ 16 w 208"/>
                <a:gd name="T35" fmla="*/ 15 h 339"/>
                <a:gd name="T36" fmla="*/ 36 w 208"/>
                <a:gd name="T37" fmla="*/ 27 h 339"/>
                <a:gd name="T38" fmla="*/ 36 w 208"/>
                <a:gd name="T39" fmla="*/ 169 h 339"/>
                <a:gd name="T40" fmla="*/ 3 w 208"/>
                <a:gd name="T41" fmla="*/ 0 h 339"/>
                <a:gd name="T42" fmla="*/ 2 w 208"/>
                <a:gd name="T43" fmla="*/ 150 h 339"/>
                <a:gd name="T44" fmla="*/ 0 w 208"/>
                <a:gd name="T45" fmla="*/ 149 h 339"/>
                <a:gd name="T46" fmla="*/ 0 w 208"/>
                <a:gd name="T47" fmla="*/ 150 h 339"/>
                <a:gd name="T48" fmla="*/ 74 w 208"/>
                <a:gd name="T49" fmla="*/ 193 h 339"/>
                <a:gd name="T50" fmla="*/ 64 w 208"/>
                <a:gd name="T51" fmla="*/ 209 h 339"/>
                <a:gd name="T52" fmla="*/ 0 w 208"/>
                <a:gd name="T53" fmla="*/ 172 h 339"/>
                <a:gd name="T54" fmla="*/ 0 w 208"/>
                <a:gd name="T55" fmla="*/ 219 h 339"/>
                <a:gd name="T56" fmla="*/ 207 w 208"/>
                <a:gd name="T57" fmla="*/ 339 h 339"/>
                <a:gd name="T58" fmla="*/ 208 w 208"/>
                <a:gd name="T59" fmla="*/ 119 h 339"/>
                <a:gd name="T60" fmla="*/ 3 w 208"/>
                <a:gd name="T61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8" h="339">
                  <a:moveTo>
                    <a:pt x="136" y="227"/>
                  </a:moveTo>
                  <a:lnTo>
                    <a:pt x="116" y="216"/>
                  </a:lnTo>
                  <a:lnTo>
                    <a:pt x="116" y="175"/>
                  </a:lnTo>
                  <a:lnTo>
                    <a:pt x="136" y="187"/>
                  </a:lnTo>
                  <a:lnTo>
                    <a:pt x="136" y="227"/>
                  </a:lnTo>
                  <a:close/>
                  <a:moveTo>
                    <a:pt x="103" y="208"/>
                  </a:moveTo>
                  <a:lnTo>
                    <a:pt x="83" y="196"/>
                  </a:lnTo>
                  <a:lnTo>
                    <a:pt x="83" y="122"/>
                  </a:lnTo>
                  <a:lnTo>
                    <a:pt x="103" y="133"/>
                  </a:lnTo>
                  <a:lnTo>
                    <a:pt x="103" y="208"/>
                  </a:lnTo>
                  <a:close/>
                  <a:moveTo>
                    <a:pt x="69" y="189"/>
                  </a:moveTo>
                  <a:lnTo>
                    <a:pt x="49" y="177"/>
                  </a:lnTo>
                  <a:lnTo>
                    <a:pt x="49" y="69"/>
                  </a:lnTo>
                  <a:lnTo>
                    <a:pt x="69" y="80"/>
                  </a:lnTo>
                  <a:lnTo>
                    <a:pt x="69" y="189"/>
                  </a:lnTo>
                  <a:close/>
                  <a:moveTo>
                    <a:pt x="36" y="169"/>
                  </a:moveTo>
                  <a:lnTo>
                    <a:pt x="16" y="158"/>
                  </a:lnTo>
                  <a:lnTo>
                    <a:pt x="16" y="15"/>
                  </a:lnTo>
                  <a:lnTo>
                    <a:pt x="36" y="27"/>
                  </a:lnTo>
                  <a:lnTo>
                    <a:pt x="36" y="169"/>
                  </a:lnTo>
                  <a:close/>
                  <a:moveTo>
                    <a:pt x="3" y="0"/>
                  </a:moveTo>
                  <a:lnTo>
                    <a:pt x="2" y="150"/>
                  </a:lnTo>
                  <a:lnTo>
                    <a:pt x="0" y="149"/>
                  </a:lnTo>
                  <a:lnTo>
                    <a:pt x="0" y="150"/>
                  </a:lnTo>
                  <a:lnTo>
                    <a:pt x="74" y="193"/>
                  </a:lnTo>
                  <a:lnTo>
                    <a:pt x="64" y="209"/>
                  </a:lnTo>
                  <a:lnTo>
                    <a:pt x="0" y="172"/>
                  </a:lnTo>
                  <a:lnTo>
                    <a:pt x="0" y="219"/>
                  </a:lnTo>
                  <a:lnTo>
                    <a:pt x="207" y="339"/>
                  </a:lnTo>
                  <a:lnTo>
                    <a:pt x="208" y="11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4DD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3" name="Freeform 293">
              <a:extLst>
                <a:ext uri="{FF2B5EF4-FFF2-40B4-BE49-F238E27FC236}">
                  <a16:creationId xmlns:a16="http://schemas.microsoft.com/office/drawing/2014/main" id="{1BED064C-7AB8-4DDA-AEEE-9603DCC8554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10588" y="2269551"/>
              <a:ext cx="330200" cy="538163"/>
            </a:xfrm>
            <a:custGeom>
              <a:avLst/>
              <a:gdLst>
                <a:gd name="T0" fmla="*/ 136 w 208"/>
                <a:gd name="T1" fmla="*/ 227 h 339"/>
                <a:gd name="T2" fmla="*/ 116 w 208"/>
                <a:gd name="T3" fmla="*/ 216 h 339"/>
                <a:gd name="T4" fmla="*/ 116 w 208"/>
                <a:gd name="T5" fmla="*/ 175 h 339"/>
                <a:gd name="T6" fmla="*/ 136 w 208"/>
                <a:gd name="T7" fmla="*/ 187 h 339"/>
                <a:gd name="T8" fmla="*/ 136 w 208"/>
                <a:gd name="T9" fmla="*/ 227 h 339"/>
                <a:gd name="T10" fmla="*/ 103 w 208"/>
                <a:gd name="T11" fmla="*/ 208 h 339"/>
                <a:gd name="T12" fmla="*/ 83 w 208"/>
                <a:gd name="T13" fmla="*/ 196 h 339"/>
                <a:gd name="T14" fmla="*/ 83 w 208"/>
                <a:gd name="T15" fmla="*/ 122 h 339"/>
                <a:gd name="T16" fmla="*/ 103 w 208"/>
                <a:gd name="T17" fmla="*/ 133 h 339"/>
                <a:gd name="T18" fmla="*/ 103 w 208"/>
                <a:gd name="T19" fmla="*/ 208 h 339"/>
                <a:gd name="T20" fmla="*/ 69 w 208"/>
                <a:gd name="T21" fmla="*/ 189 h 339"/>
                <a:gd name="T22" fmla="*/ 49 w 208"/>
                <a:gd name="T23" fmla="*/ 177 h 339"/>
                <a:gd name="T24" fmla="*/ 49 w 208"/>
                <a:gd name="T25" fmla="*/ 69 h 339"/>
                <a:gd name="T26" fmla="*/ 69 w 208"/>
                <a:gd name="T27" fmla="*/ 80 h 339"/>
                <a:gd name="T28" fmla="*/ 69 w 208"/>
                <a:gd name="T29" fmla="*/ 189 h 339"/>
                <a:gd name="T30" fmla="*/ 36 w 208"/>
                <a:gd name="T31" fmla="*/ 169 h 339"/>
                <a:gd name="T32" fmla="*/ 16 w 208"/>
                <a:gd name="T33" fmla="*/ 158 h 339"/>
                <a:gd name="T34" fmla="*/ 16 w 208"/>
                <a:gd name="T35" fmla="*/ 15 h 339"/>
                <a:gd name="T36" fmla="*/ 36 w 208"/>
                <a:gd name="T37" fmla="*/ 27 h 339"/>
                <a:gd name="T38" fmla="*/ 36 w 208"/>
                <a:gd name="T39" fmla="*/ 169 h 339"/>
                <a:gd name="T40" fmla="*/ 3 w 208"/>
                <a:gd name="T41" fmla="*/ 0 h 339"/>
                <a:gd name="T42" fmla="*/ 2 w 208"/>
                <a:gd name="T43" fmla="*/ 150 h 339"/>
                <a:gd name="T44" fmla="*/ 0 w 208"/>
                <a:gd name="T45" fmla="*/ 149 h 339"/>
                <a:gd name="T46" fmla="*/ 0 w 208"/>
                <a:gd name="T47" fmla="*/ 150 h 339"/>
                <a:gd name="T48" fmla="*/ 74 w 208"/>
                <a:gd name="T49" fmla="*/ 193 h 339"/>
                <a:gd name="T50" fmla="*/ 64 w 208"/>
                <a:gd name="T51" fmla="*/ 209 h 339"/>
                <a:gd name="T52" fmla="*/ 0 w 208"/>
                <a:gd name="T53" fmla="*/ 172 h 339"/>
                <a:gd name="T54" fmla="*/ 0 w 208"/>
                <a:gd name="T55" fmla="*/ 219 h 339"/>
                <a:gd name="T56" fmla="*/ 207 w 208"/>
                <a:gd name="T57" fmla="*/ 339 h 339"/>
                <a:gd name="T58" fmla="*/ 208 w 208"/>
                <a:gd name="T59" fmla="*/ 119 h 339"/>
                <a:gd name="T60" fmla="*/ 3 w 208"/>
                <a:gd name="T61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8" h="339">
                  <a:moveTo>
                    <a:pt x="136" y="227"/>
                  </a:moveTo>
                  <a:lnTo>
                    <a:pt x="116" y="216"/>
                  </a:lnTo>
                  <a:lnTo>
                    <a:pt x="116" y="175"/>
                  </a:lnTo>
                  <a:lnTo>
                    <a:pt x="136" y="187"/>
                  </a:lnTo>
                  <a:lnTo>
                    <a:pt x="136" y="227"/>
                  </a:lnTo>
                  <a:moveTo>
                    <a:pt x="103" y="208"/>
                  </a:moveTo>
                  <a:lnTo>
                    <a:pt x="83" y="196"/>
                  </a:lnTo>
                  <a:lnTo>
                    <a:pt x="83" y="122"/>
                  </a:lnTo>
                  <a:lnTo>
                    <a:pt x="103" y="133"/>
                  </a:lnTo>
                  <a:lnTo>
                    <a:pt x="103" y="208"/>
                  </a:lnTo>
                  <a:moveTo>
                    <a:pt x="69" y="189"/>
                  </a:moveTo>
                  <a:lnTo>
                    <a:pt x="49" y="177"/>
                  </a:lnTo>
                  <a:lnTo>
                    <a:pt x="49" y="69"/>
                  </a:lnTo>
                  <a:lnTo>
                    <a:pt x="69" y="80"/>
                  </a:lnTo>
                  <a:lnTo>
                    <a:pt x="69" y="189"/>
                  </a:lnTo>
                  <a:moveTo>
                    <a:pt x="36" y="169"/>
                  </a:moveTo>
                  <a:lnTo>
                    <a:pt x="16" y="158"/>
                  </a:lnTo>
                  <a:lnTo>
                    <a:pt x="16" y="15"/>
                  </a:lnTo>
                  <a:lnTo>
                    <a:pt x="36" y="27"/>
                  </a:lnTo>
                  <a:lnTo>
                    <a:pt x="36" y="169"/>
                  </a:lnTo>
                  <a:moveTo>
                    <a:pt x="3" y="0"/>
                  </a:moveTo>
                  <a:lnTo>
                    <a:pt x="2" y="150"/>
                  </a:lnTo>
                  <a:lnTo>
                    <a:pt x="0" y="149"/>
                  </a:lnTo>
                  <a:lnTo>
                    <a:pt x="0" y="150"/>
                  </a:lnTo>
                  <a:lnTo>
                    <a:pt x="74" y="193"/>
                  </a:lnTo>
                  <a:lnTo>
                    <a:pt x="64" y="209"/>
                  </a:lnTo>
                  <a:lnTo>
                    <a:pt x="0" y="172"/>
                  </a:lnTo>
                  <a:lnTo>
                    <a:pt x="0" y="219"/>
                  </a:lnTo>
                  <a:lnTo>
                    <a:pt x="207" y="339"/>
                  </a:lnTo>
                  <a:lnTo>
                    <a:pt x="208" y="119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4" name="Freeform 294">
              <a:extLst>
                <a:ext uri="{FF2B5EF4-FFF2-40B4-BE49-F238E27FC236}">
                  <a16:creationId xmlns:a16="http://schemas.microsoft.com/office/drawing/2014/main" id="{CB0EB774-35BA-4E88-A3CA-AD62BF315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433064"/>
              <a:ext cx="247650" cy="168275"/>
            </a:xfrm>
            <a:custGeom>
              <a:avLst/>
              <a:gdLst>
                <a:gd name="T0" fmla="*/ 0 w 156"/>
                <a:gd name="T1" fmla="*/ 0 h 106"/>
                <a:gd name="T2" fmla="*/ 0 w 156"/>
                <a:gd name="T3" fmla="*/ 22 h 106"/>
                <a:gd name="T4" fmla="*/ 36 w 156"/>
                <a:gd name="T5" fmla="*/ 42 h 106"/>
                <a:gd name="T6" fmla="*/ 82 w 156"/>
                <a:gd name="T7" fmla="*/ 69 h 106"/>
                <a:gd name="T8" fmla="*/ 146 w 156"/>
                <a:gd name="T9" fmla="*/ 106 h 106"/>
                <a:gd name="T10" fmla="*/ 156 w 156"/>
                <a:gd name="T11" fmla="*/ 90 h 106"/>
                <a:gd name="T12" fmla="*/ 82 w 156"/>
                <a:gd name="T13" fmla="*/ 47 h 106"/>
                <a:gd name="T14" fmla="*/ 36 w 156"/>
                <a:gd name="T15" fmla="*/ 20 h 106"/>
                <a:gd name="T16" fmla="*/ 0 w 156"/>
                <a:gd name="T1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106">
                  <a:moveTo>
                    <a:pt x="0" y="0"/>
                  </a:moveTo>
                  <a:lnTo>
                    <a:pt x="0" y="22"/>
                  </a:lnTo>
                  <a:lnTo>
                    <a:pt x="36" y="42"/>
                  </a:lnTo>
                  <a:lnTo>
                    <a:pt x="82" y="69"/>
                  </a:lnTo>
                  <a:lnTo>
                    <a:pt x="146" y="106"/>
                  </a:lnTo>
                  <a:lnTo>
                    <a:pt x="156" y="90"/>
                  </a:lnTo>
                  <a:lnTo>
                    <a:pt x="82" y="47"/>
                  </a:lnTo>
                  <a:lnTo>
                    <a:pt x="36" y="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DD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5" name="Freeform 295">
              <a:extLst>
                <a:ext uri="{FF2B5EF4-FFF2-40B4-BE49-F238E27FC236}">
                  <a16:creationId xmlns:a16="http://schemas.microsoft.com/office/drawing/2014/main" id="{FD3201C6-7F54-4AC5-B8B8-64DD0D0E50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0413" y="2433064"/>
              <a:ext cx="247650" cy="168275"/>
            </a:xfrm>
            <a:custGeom>
              <a:avLst/>
              <a:gdLst>
                <a:gd name="T0" fmla="*/ 0 w 156"/>
                <a:gd name="T1" fmla="*/ 0 h 106"/>
                <a:gd name="T2" fmla="*/ 0 w 156"/>
                <a:gd name="T3" fmla="*/ 22 h 106"/>
                <a:gd name="T4" fmla="*/ 36 w 156"/>
                <a:gd name="T5" fmla="*/ 42 h 106"/>
                <a:gd name="T6" fmla="*/ 82 w 156"/>
                <a:gd name="T7" fmla="*/ 69 h 106"/>
                <a:gd name="T8" fmla="*/ 146 w 156"/>
                <a:gd name="T9" fmla="*/ 106 h 106"/>
                <a:gd name="T10" fmla="*/ 156 w 156"/>
                <a:gd name="T11" fmla="*/ 90 h 106"/>
                <a:gd name="T12" fmla="*/ 82 w 156"/>
                <a:gd name="T13" fmla="*/ 47 h 106"/>
                <a:gd name="T14" fmla="*/ 36 w 156"/>
                <a:gd name="T15" fmla="*/ 20 h 106"/>
                <a:gd name="T16" fmla="*/ 0 w 156"/>
                <a:gd name="T1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106">
                  <a:moveTo>
                    <a:pt x="0" y="0"/>
                  </a:moveTo>
                  <a:lnTo>
                    <a:pt x="0" y="22"/>
                  </a:lnTo>
                  <a:lnTo>
                    <a:pt x="36" y="42"/>
                  </a:lnTo>
                  <a:lnTo>
                    <a:pt x="82" y="69"/>
                  </a:lnTo>
                  <a:lnTo>
                    <a:pt x="146" y="106"/>
                  </a:lnTo>
                  <a:lnTo>
                    <a:pt x="156" y="90"/>
                  </a:lnTo>
                  <a:lnTo>
                    <a:pt x="82" y="47"/>
                  </a:lnTo>
                  <a:lnTo>
                    <a:pt x="36" y="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6" name="Freeform 296">
              <a:extLst>
                <a:ext uri="{FF2B5EF4-FFF2-40B4-BE49-F238E27FC236}">
                  <a16:creationId xmlns:a16="http://schemas.microsoft.com/office/drawing/2014/main" id="{82CE0D17-3D72-4984-A5DE-EA38B780EE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2547364"/>
              <a:ext cx="31750" cy="82550"/>
            </a:xfrm>
            <a:custGeom>
              <a:avLst/>
              <a:gdLst>
                <a:gd name="T0" fmla="*/ 0 w 20"/>
                <a:gd name="T1" fmla="*/ 0 h 52"/>
                <a:gd name="T2" fmla="*/ 0 w 20"/>
                <a:gd name="T3" fmla="*/ 41 h 52"/>
                <a:gd name="T4" fmla="*/ 20 w 20"/>
                <a:gd name="T5" fmla="*/ 52 h 52"/>
                <a:gd name="T6" fmla="*/ 20 w 20"/>
                <a:gd name="T7" fmla="*/ 12 h 52"/>
                <a:gd name="T8" fmla="*/ 0 w 20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2">
                  <a:moveTo>
                    <a:pt x="0" y="0"/>
                  </a:moveTo>
                  <a:lnTo>
                    <a:pt x="0" y="41"/>
                  </a:lnTo>
                  <a:lnTo>
                    <a:pt x="20" y="52"/>
                  </a:lnTo>
                  <a:lnTo>
                    <a:pt x="2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98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7" name="Freeform 297">
              <a:extLst>
                <a:ext uri="{FF2B5EF4-FFF2-40B4-BE49-F238E27FC236}">
                  <a16:creationId xmlns:a16="http://schemas.microsoft.com/office/drawing/2014/main" id="{50608524-06EB-4E76-8BEE-A916945414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2547364"/>
              <a:ext cx="31750" cy="82550"/>
            </a:xfrm>
            <a:custGeom>
              <a:avLst/>
              <a:gdLst>
                <a:gd name="T0" fmla="*/ 0 w 20"/>
                <a:gd name="T1" fmla="*/ 0 h 52"/>
                <a:gd name="T2" fmla="*/ 0 w 20"/>
                <a:gd name="T3" fmla="*/ 41 h 52"/>
                <a:gd name="T4" fmla="*/ 20 w 20"/>
                <a:gd name="T5" fmla="*/ 52 h 52"/>
                <a:gd name="T6" fmla="*/ 20 w 20"/>
                <a:gd name="T7" fmla="*/ 12 h 52"/>
                <a:gd name="T8" fmla="*/ 0 w 20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2">
                  <a:moveTo>
                    <a:pt x="0" y="0"/>
                  </a:moveTo>
                  <a:lnTo>
                    <a:pt x="0" y="41"/>
                  </a:lnTo>
                  <a:lnTo>
                    <a:pt x="20" y="52"/>
                  </a:lnTo>
                  <a:lnTo>
                    <a:pt x="20" y="1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8" name="Freeform 298">
              <a:extLst>
                <a:ext uri="{FF2B5EF4-FFF2-40B4-BE49-F238E27FC236}">
                  <a16:creationId xmlns:a16="http://schemas.microsoft.com/office/drawing/2014/main" id="{AB87D9D3-F45E-4271-A25D-42310A8BB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42351" y="2463226"/>
              <a:ext cx="31750" cy="136525"/>
            </a:xfrm>
            <a:custGeom>
              <a:avLst/>
              <a:gdLst>
                <a:gd name="T0" fmla="*/ 0 w 20"/>
                <a:gd name="T1" fmla="*/ 0 h 86"/>
                <a:gd name="T2" fmla="*/ 0 w 20"/>
                <a:gd name="T3" fmla="*/ 74 h 86"/>
                <a:gd name="T4" fmla="*/ 20 w 20"/>
                <a:gd name="T5" fmla="*/ 86 h 86"/>
                <a:gd name="T6" fmla="*/ 20 w 20"/>
                <a:gd name="T7" fmla="*/ 11 h 86"/>
                <a:gd name="T8" fmla="*/ 0 w 20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6">
                  <a:moveTo>
                    <a:pt x="0" y="0"/>
                  </a:moveTo>
                  <a:lnTo>
                    <a:pt x="0" y="74"/>
                  </a:lnTo>
                  <a:lnTo>
                    <a:pt x="20" y="86"/>
                  </a:lnTo>
                  <a:lnTo>
                    <a:pt x="2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98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9" name="Freeform 299">
              <a:extLst>
                <a:ext uri="{FF2B5EF4-FFF2-40B4-BE49-F238E27FC236}">
                  <a16:creationId xmlns:a16="http://schemas.microsoft.com/office/drawing/2014/main" id="{504D905A-ED25-401D-9C25-1673C43038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42351" y="2463226"/>
              <a:ext cx="31750" cy="136525"/>
            </a:xfrm>
            <a:custGeom>
              <a:avLst/>
              <a:gdLst>
                <a:gd name="T0" fmla="*/ 0 w 20"/>
                <a:gd name="T1" fmla="*/ 0 h 86"/>
                <a:gd name="T2" fmla="*/ 0 w 20"/>
                <a:gd name="T3" fmla="*/ 74 h 86"/>
                <a:gd name="T4" fmla="*/ 20 w 20"/>
                <a:gd name="T5" fmla="*/ 86 h 86"/>
                <a:gd name="T6" fmla="*/ 20 w 20"/>
                <a:gd name="T7" fmla="*/ 11 h 86"/>
                <a:gd name="T8" fmla="*/ 0 w 20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6">
                  <a:moveTo>
                    <a:pt x="0" y="0"/>
                  </a:moveTo>
                  <a:lnTo>
                    <a:pt x="0" y="74"/>
                  </a:lnTo>
                  <a:lnTo>
                    <a:pt x="20" y="86"/>
                  </a:lnTo>
                  <a:lnTo>
                    <a:pt x="20" y="1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0" name="Freeform 300">
              <a:extLst>
                <a:ext uri="{FF2B5EF4-FFF2-40B4-BE49-F238E27FC236}">
                  <a16:creationId xmlns:a16="http://schemas.microsoft.com/office/drawing/2014/main" id="{3118A7CA-C8E3-4F93-80A7-B41B6AD1A0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88376" y="2379089"/>
              <a:ext cx="31750" cy="190500"/>
            </a:xfrm>
            <a:custGeom>
              <a:avLst/>
              <a:gdLst>
                <a:gd name="T0" fmla="*/ 0 w 20"/>
                <a:gd name="T1" fmla="*/ 0 h 120"/>
                <a:gd name="T2" fmla="*/ 0 w 20"/>
                <a:gd name="T3" fmla="*/ 108 h 120"/>
                <a:gd name="T4" fmla="*/ 20 w 20"/>
                <a:gd name="T5" fmla="*/ 120 h 120"/>
                <a:gd name="T6" fmla="*/ 20 w 20"/>
                <a:gd name="T7" fmla="*/ 11 h 120"/>
                <a:gd name="T8" fmla="*/ 0 w 20"/>
                <a:gd name="T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20">
                  <a:moveTo>
                    <a:pt x="0" y="0"/>
                  </a:moveTo>
                  <a:lnTo>
                    <a:pt x="0" y="108"/>
                  </a:lnTo>
                  <a:lnTo>
                    <a:pt x="20" y="120"/>
                  </a:lnTo>
                  <a:lnTo>
                    <a:pt x="2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98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1" name="Freeform 301">
              <a:extLst>
                <a:ext uri="{FF2B5EF4-FFF2-40B4-BE49-F238E27FC236}">
                  <a16:creationId xmlns:a16="http://schemas.microsoft.com/office/drawing/2014/main" id="{6D601624-5D3D-4687-A824-AB6FC46BFF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88376" y="2379089"/>
              <a:ext cx="31750" cy="190500"/>
            </a:xfrm>
            <a:custGeom>
              <a:avLst/>
              <a:gdLst>
                <a:gd name="T0" fmla="*/ 0 w 20"/>
                <a:gd name="T1" fmla="*/ 0 h 120"/>
                <a:gd name="T2" fmla="*/ 0 w 20"/>
                <a:gd name="T3" fmla="*/ 108 h 120"/>
                <a:gd name="T4" fmla="*/ 20 w 20"/>
                <a:gd name="T5" fmla="*/ 120 h 120"/>
                <a:gd name="T6" fmla="*/ 20 w 20"/>
                <a:gd name="T7" fmla="*/ 11 h 120"/>
                <a:gd name="T8" fmla="*/ 0 w 20"/>
                <a:gd name="T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20">
                  <a:moveTo>
                    <a:pt x="0" y="0"/>
                  </a:moveTo>
                  <a:lnTo>
                    <a:pt x="0" y="108"/>
                  </a:lnTo>
                  <a:lnTo>
                    <a:pt x="20" y="120"/>
                  </a:lnTo>
                  <a:lnTo>
                    <a:pt x="20" y="1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2" name="Freeform 302">
              <a:extLst>
                <a:ext uri="{FF2B5EF4-FFF2-40B4-BE49-F238E27FC236}">
                  <a16:creationId xmlns:a16="http://schemas.microsoft.com/office/drawing/2014/main" id="{CC16303C-32BC-46A7-991D-B8A153DDDB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5988" y="2293364"/>
              <a:ext cx="31750" cy="244475"/>
            </a:xfrm>
            <a:custGeom>
              <a:avLst/>
              <a:gdLst>
                <a:gd name="T0" fmla="*/ 0 w 20"/>
                <a:gd name="T1" fmla="*/ 0 h 154"/>
                <a:gd name="T2" fmla="*/ 0 w 20"/>
                <a:gd name="T3" fmla="*/ 143 h 154"/>
                <a:gd name="T4" fmla="*/ 20 w 20"/>
                <a:gd name="T5" fmla="*/ 154 h 154"/>
                <a:gd name="T6" fmla="*/ 20 w 20"/>
                <a:gd name="T7" fmla="*/ 12 h 154"/>
                <a:gd name="T8" fmla="*/ 0 w 20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54">
                  <a:moveTo>
                    <a:pt x="0" y="0"/>
                  </a:moveTo>
                  <a:lnTo>
                    <a:pt x="0" y="143"/>
                  </a:lnTo>
                  <a:lnTo>
                    <a:pt x="20" y="154"/>
                  </a:lnTo>
                  <a:lnTo>
                    <a:pt x="2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98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3" name="Freeform 303">
              <a:extLst>
                <a:ext uri="{FF2B5EF4-FFF2-40B4-BE49-F238E27FC236}">
                  <a16:creationId xmlns:a16="http://schemas.microsoft.com/office/drawing/2014/main" id="{8650E8A1-9F5A-4A8F-B260-E6178F804C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5988" y="2293364"/>
              <a:ext cx="31750" cy="244475"/>
            </a:xfrm>
            <a:custGeom>
              <a:avLst/>
              <a:gdLst>
                <a:gd name="T0" fmla="*/ 0 w 20"/>
                <a:gd name="T1" fmla="*/ 0 h 154"/>
                <a:gd name="T2" fmla="*/ 0 w 20"/>
                <a:gd name="T3" fmla="*/ 143 h 154"/>
                <a:gd name="T4" fmla="*/ 20 w 20"/>
                <a:gd name="T5" fmla="*/ 154 h 154"/>
                <a:gd name="T6" fmla="*/ 20 w 20"/>
                <a:gd name="T7" fmla="*/ 12 h 154"/>
                <a:gd name="T8" fmla="*/ 0 w 20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54">
                  <a:moveTo>
                    <a:pt x="0" y="0"/>
                  </a:moveTo>
                  <a:lnTo>
                    <a:pt x="0" y="143"/>
                  </a:lnTo>
                  <a:lnTo>
                    <a:pt x="20" y="154"/>
                  </a:lnTo>
                  <a:lnTo>
                    <a:pt x="20" y="1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4" name="Freeform 304">
              <a:extLst>
                <a:ext uri="{FF2B5EF4-FFF2-40B4-BE49-F238E27FC236}">
                  <a16:creationId xmlns:a16="http://schemas.microsoft.com/office/drawing/2014/main" id="{E68B5BD3-2B1F-4291-957E-E84161E15A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2013" y="2190176"/>
              <a:ext cx="33338" cy="315913"/>
            </a:xfrm>
            <a:custGeom>
              <a:avLst/>
              <a:gdLst>
                <a:gd name="T0" fmla="*/ 1 w 21"/>
                <a:gd name="T1" fmla="*/ 0 h 199"/>
                <a:gd name="T2" fmla="*/ 0 w 21"/>
                <a:gd name="T3" fmla="*/ 188 h 199"/>
                <a:gd name="T4" fmla="*/ 18 w 21"/>
                <a:gd name="T5" fmla="*/ 199 h 199"/>
                <a:gd name="T6" fmla="*/ 18 w 21"/>
                <a:gd name="T7" fmla="*/ 49 h 199"/>
                <a:gd name="T8" fmla="*/ 21 w 21"/>
                <a:gd name="T9" fmla="*/ 50 h 199"/>
                <a:gd name="T10" fmla="*/ 21 w 21"/>
                <a:gd name="T11" fmla="*/ 12 h 199"/>
                <a:gd name="T12" fmla="*/ 1 w 21"/>
                <a:gd name="T13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99">
                  <a:moveTo>
                    <a:pt x="1" y="0"/>
                  </a:moveTo>
                  <a:lnTo>
                    <a:pt x="0" y="188"/>
                  </a:lnTo>
                  <a:lnTo>
                    <a:pt x="18" y="199"/>
                  </a:lnTo>
                  <a:lnTo>
                    <a:pt x="18" y="49"/>
                  </a:lnTo>
                  <a:lnTo>
                    <a:pt x="21" y="50"/>
                  </a:lnTo>
                  <a:lnTo>
                    <a:pt x="21" y="1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9A1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5" name="Freeform 305">
              <a:extLst>
                <a:ext uri="{FF2B5EF4-FFF2-40B4-BE49-F238E27FC236}">
                  <a16:creationId xmlns:a16="http://schemas.microsoft.com/office/drawing/2014/main" id="{956E7616-896D-48E3-A484-607B65C725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2013" y="2190176"/>
              <a:ext cx="33338" cy="315913"/>
            </a:xfrm>
            <a:custGeom>
              <a:avLst/>
              <a:gdLst>
                <a:gd name="T0" fmla="*/ 1 w 21"/>
                <a:gd name="T1" fmla="*/ 0 h 199"/>
                <a:gd name="T2" fmla="*/ 0 w 21"/>
                <a:gd name="T3" fmla="*/ 188 h 199"/>
                <a:gd name="T4" fmla="*/ 18 w 21"/>
                <a:gd name="T5" fmla="*/ 199 h 199"/>
                <a:gd name="T6" fmla="*/ 18 w 21"/>
                <a:gd name="T7" fmla="*/ 49 h 199"/>
                <a:gd name="T8" fmla="*/ 21 w 21"/>
                <a:gd name="T9" fmla="*/ 50 h 199"/>
                <a:gd name="T10" fmla="*/ 21 w 21"/>
                <a:gd name="T11" fmla="*/ 12 h 199"/>
                <a:gd name="T12" fmla="*/ 1 w 21"/>
                <a:gd name="T13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99">
                  <a:moveTo>
                    <a:pt x="1" y="0"/>
                  </a:moveTo>
                  <a:lnTo>
                    <a:pt x="0" y="188"/>
                  </a:lnTo>
                  <a:lnTo>
                    <a:pt x="18" y="199"/>
                  </a:lnTo>
                  <a:lnTo>
                    <a:pt x="18" y="49"/>
                  </a:lnTo>
                  <a:lnTo>
                    <a:pt x="21" y="50"/>
                  </a:lnTo>
                  <a:lnTo>
                    <a:pt x="21" y="12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6" name="Freeform 306">
              <a:extLst>
                <a:ext uri="{FF2B5EF4-FFF2-40B4-BE49-F238E27FC236}">
                  <a16:creationId xmlns:a16="http://schemas.microsoft.com/office/drawing/2014/main" id="{485C4684-F31B-4526-9B08-BCBB0FD9EA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3601" y="2177476"/>
              <a:ext cx="31750" cy="31750"/>
            </a:xfrm>
            <a:custGeom>
              <a:avLst/>
              <a:gdLst>
                <a:gd name="T0" fmla="*/ 0 w 20"/>
                <a:gd name="T1" fmla="*/ 0 h 20"/>
                <a:gd name="T2" fmla="*/ 0 w 20"/>
                <a:gd name="T3" fmla="*/ 8 h 20"/>
                <a:gd name="T4" fmla="*/ 20 w 20"/>
                <a:gd name="T5" fmla="*/ 20 h 20"/>
                <a:gd name="T6" fmla="*/ 20 w 20"/>
                <a:gd name="T7" fmla="*/ 12 h 20"/>
                <a:gd name="T8" fmla="*/ 0 w 20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0" y="0"/>
                  </a:moveTo>
                  <a:lnTo>
                    <a:pt x="0" y="8"/>
                  </a:lnTo>
                  <a:lnTo>
                    <a:pt x="20" y="20"/>
                  </a:lnTo>
                  <a:lnTo>
                    <a:pt x="2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A0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7" name="Freeform 307">
              <a:extLst>
                <a:ext uri="{FF2B5EF4-FFF2-40B4-BE49-F238E27FC236}">
                  <a16:creationId xmlns:a16="http://schemas.microsoft.com/office/drawing/2014/main" id="{8FC179C5-6FB2-408D-A8CE-D054711D84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3601" y="2177476"/>
              <a:ext cx="31750" cy="31750"/>
            </a:xfrm>
            <a:custGeom>
              <a:avLst/>
              <a:gdLst>
                <a:gd name="T0" fmla="*/ 0 w 20"/>
                <a:gd name="T1" fmla="*/ 0 h 20"/>
                <a:gd name="T2" fmla="*/ 0 w 20"/>
                <a:gd name="T3" fmla="*/ 8 h 20"/>
                <a:gd name="T4" fmla="*/ 20 w 20"/>
                <a:gd name="T5" fmla="*/ 20 h 20"/>
                <a:gd name="T6" fmla="*/ 20 w 20"/>
                <a:gd name="T7" fmla="*/ 12 h 20"/>
                <a:gd name="T8" fmla="*/ 0 w 20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0" y="0"/>
                  </a:moveTo>
                  <a:lnTo>
                    <a:pt x="0" y="8"/>
                  </a:lnTo>
                  <a:lnTo>
                    <a:pt x="20" y="20"/>
                  </a:lnTo>
                  <a:lnTo>
                    <a:pt x="20" y="1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8" name="Freeform 308">
              <a:extLst>
                <a:ext uri="{FF2B5EF4-FFF2-40B4-BE49-F238E27FC236}">
                  <a16:creationId xmlns:a16="http://schemas.microsoft.com/office/drawing/2014/main" id="{7CB8A8F6-B476-47AF-842C-D49013B4C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10588" y="2267964"/>
              <a:ext cx="4763" cy="239713"/>
            </a:xfrm>
            <a:custGeom>
              <a:avLst/>
              <a:gdLst>
                <a:gd name="T0" fmla="*/ 0 w 3"/>
                <a:gd name="T1" fmla="*/ 0 h 151"/>
                <a:gd name="T2" fmla="*/ 0 w 3"/>
                <a:gd name="T3" fmla="*/ 150 h 151"/>
                <a:gd name="T4" fmla="*/ 2 w 3"/>
                <a:gd name="T5" fmla="*/ 151 h 151"/>
                <a:gd name="T6" fmla="*/ 3 w 3"/>
                <a:gd name="T7" fmla="*/ 1 h 151"/>
                <a:gd name="T8" fmla="*/ 0 w 3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51">
                  <a:moveTo>
                    <a:pt x="0" y="0"/>
                  </a:moveTo>
                  <a:lnTo>
                    <a:pt x="0" y="150"/>
                  </a:lnTo>
                  <a:lnTo>
                    <a:pt x="2" y="151"/>
                  </a:lnTo>
                  <a:lnTo>
                    <a:pt x="3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98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9" name="Freeform 309">
              <a:extLst>
                <a:ext uri="{FF2B5EF4-FFF2-40B4-BE49-F238E27FC236}">
                  <a16:creationId xmlns:a16="http://schemas.microsoft.com/office/drawing/2014/main" id="{DBF6D2D0-5267-421F-B9AE-BCA6347D24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10588" y="2267964"/>
              <a:ext cx="4763" cy="239713"/>
            </a:xfrm>
            <a:custGeom>
              <a:avLst/>
              <a:gdLst>
                <a:gd name="T0" fmla="*/ 0 w 3"/>
                <a:gd name="T1" fmla="*/ 0 h 151"/>
                <a:gd name="T2" fmla="*/ 0 w 3"/>
                <a:gd name="T3" fmla="*/ 150 h 151"/>
                <a:gd name="T4" fmla="*/ 2 w 3"/>
                <a:gd name="T5" fmla="*/ 151 h 151"/>
                <a:gd name="T6" fmla="*/ 3 w 3"/>
                <a:gd name="T7" fmla="*/ 1 h 151"/>
                <a:gd name="T8" fmla="*/ 0 w 3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51">
                  <a:moveTo>
                    <a:pt x="0" y="0"/>
                  </a:moveTo>
                  <a:lnTo>
                    <a:pt x="0" y="150"/>
                  </a:lnTo>
                  <a:lnTo>
                    <a:pt x="2" y="151"/>
                  </a:lnTo>
                  <a:lnTo>
                    <a:pt x="3" y="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0" name="Freeform 310">
              <a:extLst>
                <a:ext uri="{FF2B5EF4-FFF2-40B4-BE49-F238E27FC236}">
                  <a16:creationId xmlns:a16="http://schemas.microsoft.com/office/drawing/2014/main" id="{B8DF2917-020E-47F6-BA39-A388E6BD96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67488" y="2656901"/>
              <a:ext cx="1474788" cy="874713"/>
            </a:xfrm>
            <a:custGeom>
              <a:avLst/>
              <a:gdLst>
                <a:gd name="T0" fmla="*/ 19 w 929"/>
                <a:gd name="T1" fmla="*/ 320 h 551"/>
                <a:gd name="T2" fmla="*/ 19 w 929"/>
                <a:gd name="T3" fmla="*/ 518 h 551"/>
                <a:gd name="T4" fmla="*/ 919 w 929"/>
                <a:gd name="T5" fmla="*/ 0 h 551"/>
                <a:gd name="T6" fmla="*/ 929 w 929"/>
                <a:gd name="T7" fmla="*/ 16 h 551"/>
                <a:gd name="T8" fmla="*/ 0 w 929"/>
                <a:gd name="T9" fmla="*/ 551 h 551"/>
                <a:gd name="T10" fmla="*/ 0 w 929"/>
                <a:gd name="T11" fmla="*/ 309 h 551"/>
                <a:gd name="T12" fmla="*/ 19 w 929"/>
                <a:gd name="T13" fmla="*/ 32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9" h="551">
                  <a:moveTo>
                    <a:pt x="19" y="320"/>
                  </a:moveTo>
                  <a:lnTo>
                    <a:pt x="19" y="518"/>
                  </a:lnTo>
                  <a:lnTo>
                    <a:pt x="919" y="0"/>
                  </a:lnTo>
                  <a:lnTo>
                    <a:pt x="929" y="16"/>
                  </a:lnTo>
                  <a:lnTo>
                    <a:pt x="0" y="551"/>
                  </a:lnTo>
                  <a:lnTo>
                    <a:pt x="0" y="309"/>
                  </a:lnTo>
                  <a:lnTo>
                    <a:pt x="19" y="320"/>
                  </a:lnTo>
                  <a:close/>
                </a:path>
              </a:pathLst>
            </a:custGeom>
            <a:solidFill>
              <a:srgbClr val="C0CA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1" name="Freeform 311">
              <a:extLst>
                <a:ext uri="{FF2B5EF4-FFF2-40B4-BE49-F238E27FC236}">
                  <a16:creationId xmlns:a16="http://schemas.microsoft.com/office/drawing/2014/main" id="{0AC40E11-4B26-4408-8235-3172C736C7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78776" y="2566414"/>
              <a:ext cx="458788" cy="493713"/>
            </a:xfrm>
            <a:custGeom>
              <a:avLst/>
              <a:gdLst>
                <a:gd name="T0" fmla="*/ 289 w 289"/>
                <a:gd name="T1" fmla="*/ 311 h 311"/>
                <a:gd name="T2" fmla="*/ 0 w 289"/>
                <a:gd name="T3" fmla="*/ 145 h 311"/>
                <a:gd name="T4" fmla="*/ 0 w 289"/>
                <a:gd name="T5" fmla="*/ 0 h 311"/>
                <a:gd name="T6" fmla="*/ 289 w 289"/>
                <a:gd name="T7" fmla="*/ 167 h 311"/>
                <a:gd name="T8" fmla="*/ 289 w 289"/>
                <a:gd name="T9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" h="311">
                  <a:moveTo>
                    <a:pt x="289" y="311"/>
                  </a:moveTo>
                  <a:lnTo>
                    <a:pt x="0" y="145"/>
                  </a:lnTo>
                  <a:lnTo>
                    <a:pt x="0" y="0"/>
                  </a:lnTo>
                  <a:lnTo>
                    <a:pt x="289" y="167"/>
                  </a:lnTo>
                  <a:lnTo>
                    <a:pt x="289" y="311"/>
                  </a:lnTo>
                  <a:close/>
                </a:path>
              </a:pathLst>
            </a:custGeom>
            <a:solidFill>
              <a:srgbClr val="C0CA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2" name="Freeform 312">
              <a:extLst>
                <a:ext uri="{FF2B5EF4-FFF2-40B4-BE49-F238E27FC236}">
                  <a16:creationId xmlns:a16="http://schemas.microsoft.com/office/drawing/2014/main" id="{8DE97527-676D-4DE4-A31A-F260C40B0E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787201"/>
              <a:ext cx="342900" cy="590550"/>
            </a:xfrm>
            <a:custGeom>
              <a:avLst/>
              <a:gdLst>
                <a:gd name="T0" fmla="*/ 0 w 216"/>
                <a:gd name="T1" fmla="*/ 0 h 372"/>
                <a:gd name="T2" fmla="*/ 0 w 216"/>
                <a:gd name="T3" fmla="*/ 247 h 372"/>
                <a:gd name="T4" fmla="*/ 216 w 216"/>
                <a:gd name="T5" fmla="*/ 372 h 372"/>
                <a:gd name="T6" fmla="*/ 216 w 216"/>
                <a:gd name="T7" fmla="*/ 124 h 372"/>
                <a:gd name="T8" fmla="*/ 0 w 216"/>
                <a:gd name="T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372">
                  <a:moveTo>
                    <a:pt x="0" y="0"/>
                  </a:moveTo>
                  <a:lnTo>
                    <a:pt x="0" y="247"/>
                  </a:lnTo>
                  <a:lnTo>
                    <a:pt x="216" y="372"/>
                  </a:lnTo>
                  <a:lnTo>
                    <a:pt x="216" y="1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3" name="Freeform 313">
              <a:extLst>
                <a:ext uri="{FF2B5EF4-FFF2-40B4-BE49-F238E27FC236}">
                  <a16:creationId xmlns:a16="http://schemas.microsoft.com/office/drawing/2014/main" id="{E9D1C77D-74CC-45F9-9837-0FA188635B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787201"/>
              <a:ext cx="342900" cy="590550"/>
            </a:xfrm>
            <a:custGeom>
              <a:avLst/>
              <a:gdLst>
                <a:gd name="T0" fmla="*/ 0 w 216"/>
                <a:gd name="T1" fmla="*/ 0 h 372"/>
                <a:gd name="T2" fmla="*/ 0 w 216"/>
                <a:gd name="T3" fmla="*/ 247 h 372"/>
                <a:gd name="T4" fmla="*/ 216 w 216"/>
                <a:gd name="T5" fmla="*/ 372 h 372"/>
                <a:gd name="T6" fmla="*/ 216 w 216"/>
                <a:gd name="T7" fmla="*/ 124 h 372"/>
                <a:gd name="T8" fmla="*/ 0 w 216"/>
                <a:gd name="T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372">
                  <a:moveTo>
                    <a:pt x="0" y="0"/>
                  </a:moveTo>
                  <a:lnTo>
                    <a:pt x="0" y="247"/>
                  </a:lnTo>
                  <a:lnTo>
                    <a:pt x="216" y="372"/>
                  </a:lnTo>
                  <a:lnTo>
                    <a:pt x="216" y="124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4" name="Freeform 314">
              <a:extLst>
                <a:ext uri="{FF2B5EF4-FFF2-40B4-BE49-F238E27FC236}">
                  <a16:creationId xmlns:a16="http://schemas.microsoft.com/office/drawing/2014/main" id="{54BAF9E7-1857-4F3B-8DBB-64CFAE8C34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832976" y="3587176"/>
              <a:ext cx="301625" cy="431800"/>
            </a:xfrm>
            <a:custGeom>
              <a:avLst/>
              <a:gdLst>
                <a:gd name="T0" fmla="*/ 92 w 190"/>
                <a:gd name="T1" fmla="*/ 89 h 273"/>
                <a:gd name="T2" fmla="*/ 92 w 190"/>
                <a:gd name="T3" fmla="*/ 154 h 273"/>
                <a:gd name="T4" fmla="*/ 116 w 190"/>
                <a:gd name="T5" fmla="*/ 168 h 273"/>
                <a:gd name="T6" fmla="*/ 101 w 190"/>
                <a:gd name="T7" fmla="*/ 141 h 273"/>
                <a:gd name="T8" fmla="*/ 99 w 190"/>
                <a:gd name="T9" fmla="*/ 139 h 273"/>
                <a:gd name="T10" fmla="*/ 100 w 190"/>
                <a:gd name="T11" fmla="*/ 115 h 273"/>
                <a:gd name="T12" fmla="*/ 104 w 190"/>
                <a:gd name="T13" fmla="*/ 120 h 273"/>
                <a:gd name="T14" fmla="*/ 137 w 190"/>
                <a:gd name="T15" fmla="*/ 180 h 273"/>
                <a:gd name="T16" fmla="*/ 190 w 190"/>
                <a:gd name="T17" fmla="*/ 211 h 273"/>
                <a:gd name="T18" fmla="*/ 190 w 190"/>
                <a:gd name="T19" fmla="*/ 146 h 273"/>
                <a:gd name="T20" fmla="*/ 92 w 190"/>
                <a:gd name="T21" fmla="*/ 89 h 273"/>
                <a:gd name="T22" fmla="*/ 0 w 190"/>
                <a:gd name="T23" fmla="*/ 0 h 273"/>
                <a:gd name="T24" fmla="*/ 0 w 190"/>
                <a:gd name="T25" fmla="*/ 248 h 273"/>
                <a:gd name="T26" fmla="*/ 43 w 190"/>
                <a:gd name="T27" fmla="*/ 273 h 273"/>
                <a:gd name="T28" fmla="*/ 43 w 190"/>
                <a:gd name="T29" fmla="*/ 193 h 273"/>
                <a:gd name="T30" fmla="*/ 25 w 190"/>
                <a:gd name="T31" fmla="*/ 135 h 273"/>
                <a:gd name="T32" fmla="*/ 57 w 190"/>
                <a:gd name="T33" fmla="*/ 95 h 273"/>
                <a:gd name="T34" fmla="*/ 60 w 190"/>
                <a:gd name="T35" fmla="*/ 95 h 273"/>
                <a:gd name="T36" fmla="*/ 65 w 190"/>
                <a:gd name="T37" fmla="*/ 95 h 273"/>
                <a:gd name="T38" fmla="*/ 65 w 190"/>
                <a:gd name="T39" fmla="*/ 119 h 273"/>
                <a:gd name="T40" fmla="*/ 63 w 190"/>
                <a:gd name="T41" fmla="*/ 119 h 273"/>
                <a:gd name="T42" fmla="*/ 48 w 190"/>
                <a:gd name="T43" fmla="*/ 129 h 273"/>
                <a:gd name="T44" fmla="*/ 73 w 190"/>
                <a:gd name="T45" fmla="*/ 143 h 273"/>
                <a:gd name="T46" fmla="*/ 73 w 190"/>
                <a:gd name="T47" fmla="*/ 78 h 273"/>
                <a:gd name="T48" fmla="*/ 43 w 190"/>
                <a:gd name="T49" fmla="*/ 60 h 273"/>
                <a:gd name="T50" fmla="*/ 43 w 190"/>
                <a:gd name="T51" fmla="*/ 25 h 273"/>
                <a:gd name="T52" fmla="*/ 0 w 190"/>
                <a:gd name="T53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0" h="273">
                  <a:moveTo>
                    <a:pt x="92" y="89"/>
                  </a:moveTo>
                  <a:cubicBezTo>
                    <a:pt x="92" y="154"/>
                    <a:pt x="92" y="154"/>
                    <a:pt x="92" y="154"/>
                  </a:cubicBezTo>
                  <a:cubicBezTo>
                    <a:pt x="116" y="168"/>
                    <a:pt x="116" y="168"/>
                    <a:pt x="116" y="168"/>
                  </a:cubicBezTo>
                  <a:cubicBezTo>
                    <a:pt x="113" y="159"/>
                    <a:pt x="108" y="149"/>
                    <a:pt x="101" y="141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4" y="120"/>
                    <a:pt x="104" y="120"/>
                    <a:pt x="104" y="120"/>
                  </a:cubicBezTo>
                  <a:cubicBezTo>
                    <a:pt x="120" y="137"/>
                    <a:pt x="132" y="159"/>
                    <a:pt x="137" y="180"/>
                  </a:cubicBezTo>
                  <a:cubicBezTo>
                    <a:pt x="190" y="211"/>
                    <a:pt x="190" y="211"/>
                    <a:pt x="190" y="211"/>
                  </a:cubicBezTo>
                  <a:cubicBezTo>
                    <a:pt x="190" y="146"/>
                    <a:pt x="190" y="146"/>
                    <a:pt x="190" y="146"/>
                  </a:cubicBezTo>
                  <a:cubicBezTo>
                    <a:pt x="92" y="89"/>
                    <a:pt x="92" y="89"/>
                    <a:pt x="92" y="89"/>
                  </a:cubicBezTo>
                  <a:moveTo>
                    <a:pt x="0" y="0"/>
                  </a:moveTo>
                  <a:cubicBezTo>
                    <a:pt x="0" y="248"/>
                    <a:pt x="0" y="248"/>
                    <a:pt x="0" y="248"/>
                  </a:cubicBezTo>
                  <a:cubicBezTo>
                    <a:pt x="43" y="273"/>
                    <a:pt x="43" y="273"/>
                    <a:pt x="43" y="273"/>
                  </a:cubicBezTo>
                  <a:cubicBezTo>
                    <a:pt x="43" y="193"/>
                    <a:pt x="43" y="193"/>
                    <a:pt x="43" y="193"/>
                  </a:cubicBezTo>
                  <a:cubicBezTo>
                    <a:pt x="32" y="175"/>
                    <a:pt x="25" y="154"/>
                    <a:pt x="25" y="135"/>
                  </a:cubicBezTo>
                  <a:cubicBezTo>
                    <a:pt x="25" y="110"/>
                    <a:pt x="38" y="95"/>
                    <a:pt x="57" y="95"/>
                  </a:cubicBezTo>
                  <a:cubicBezTo>
                    <a:pt x="58" y="95"/>
                    <a:pt x="59" y="95"/>
                    <a:pt x="60" y="95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119"/>
                    <a:pt x="65" y="119"/>
                    <a:pt x="65" y="119"/>
                  </a:cubicBezTo>
                  <a:cubicBezTo>
                    <a:pt x="63" y="119"/>
                    <a:pt x="63" y="119"/>
                    <a:pt x="63" y="119"/>
                  </a:cubicBezTo>
                  <a:cubicBezTo>
                    <a:pt x="57" y="120"/>
                    <a:pt x="52" y="123"/>
                    <a:pt x="48" y="129"/>
                  </a:cubicBezTo>
                  <a:cubicBezTo>
                    <a:pt x="73" y="143"/>
                    <a:pt x="73" y="143"/>
                    <a:pt x="73" y="143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0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5" name="Freeform 315">
              <a:extLst>
                <a:ext uri="{FF2B5EF4-FFF2-40B4-BE49-F238E27FC236}">
                  <a16:creationId xmlns:a16="http://schemas.microsoft.com/office/drawing/2014/main" id="{BE834FDF-7D0B-407B-BBB9-D29E68F892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626864"/>
              <a:ext cx="233363" cy="192088"/>
            </a:xfrm>
            <a:custGeom>
              <a:avLst/>
              <a:gdLst>
                <a:gd name="T0" fmla="*/ 0 w 147"/>
                <a:gd name="T1" fmla="*/ 0 h 121"/>
                <a:gd name="T2" fmla="*/ 0 w 147"/>
                <a:gd name="T3" fmla="*/ 35 h 121"/>
                <a:gd name="T4" fmla="*/ 30 w 147"/>
                <a:gd name="T5" fmla="*/ 53 h 121"/>
                <a:gd name="T6" fmla="*/ 30 w 147"/>
                <a:gd name="T7" fmla="*/ 51 h 121"/>
                <a:gd name="T8" fmla="*/ 49 w 147"/>
                <a:gd name="T9" fmla="*/ 62 h 121"/>
                <a:gd name="T10" fmla="*/ 49 w 147"/>
                <a:gd name="T11" fmla="*/ 64 h 121"/>
                <a:gd name="T12" fmla="*/ 147 w 147"/>
                <a:gd name="T13" fmla="*/ 121 h 121"/>
                <a:gd name="T14" fmla="*/ 147 w 147"/>
                <a:gd name="T15" fmla="*/ 85 h 121"/>
                <a:gd name="T16" fmla="*/ 0 w 147"/>
                <a:gd name="T1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121">
                  <a:moveTo>
                    <a:pt x="0" y="0"/>
                  </a:moveTo>
                  <a:lnTo>
                    <a:pt x="0" y="35"/>
                  </a:lnTo>
                  <a:lnTo>
                    <a:pt x="30" y="53"/>
                  </a:lnTo>
                  <a:lnTo>
                    <a:pt x="30" y="51"/>
                  </a:lnTo>
                  <a:lnTo>
                    <a:pt x="49" y="62"/>
                  </a:lnTo>
                  <a:lnTo>
                    <a:pt x="49" y="64"/>
                  </a:lnTo>
                  <a:lnTo>
                    <a:pt x="147" y="121"/>
                  </a:lnTo>
                  <a:lnTo>
                    <a:pt x="147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6" name="Freeform 316">
              <a:extLst>
                <a:ext uri="{FF2B5EF4-FFF2-40B4-BE49-F238E27FC236}">
                  <a16:creationId xmlns:a16="http://schemas.microsoft.com/office/drawing/2014/main" id="{785D32C0-0DD6-4A86-A580-8D1FF7031E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626864"/>
              <a:ext cx="233363" cy="192088"/>
            </a:xfrm>
            <a:custGeom>
              <a:avLst/>
              <a:gdLst>
                <a:gd name="T0" fmla="*/ 0 w 147"/>
                <a:gd name="T1" fmla="*/ 0 h 121"/>
                <a:gd name="T2" fmla="*/ 0 w 147"/>
                <a:gd name="T3" fmla="*/ 35 h 121"/>
                <a:gd name="T4" fmla="*/ 30 w 147"/>
                <a:gd name="T5" fmla="*/ 53 h 121"/>
                <a:gd name="T6" fmla="*/ 30 w 147"/>
                <a:gd name="T7" fmla="*/ 51 h 121"/>
                <a:gd name="T8" fmla="*/ 49 w 147"/>
                <a:gd name="T9" fmla="*/ 62 h 121"/>
                <a:gd name="T10" fmla="*/ 49 w 147"/>
                <a:gd name="T11" fmla="*/ 64 h 121"/>
                <a:gd name="T12" fmla="*/ 147 w 147"/>
                <a:gd name="T13" fmla="*/ 121 h 121"/>
                <a:gd name="T14" fmla="*/ 147 w 147"/>
                <a:gd name="T15" fmla="*/ 85 h 121"/>
                <a:gd name="T16" fmla="*/ 0 w 147"/>
                <a:gd name="T1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121">
                  <a:moveTo>
                    <a:pt x="0" y="0"/>
                  </a:moveTo>
                  <a:lnTo>
                    <a:pt x="0" y="35"/>
                  </a:lnTo>
                  <a:lnTo>
                    <a:pt x="30" y="53"/>
                  </a:lnTo>
                  <a:lnTo>
                    <a:pt x="30" y="51"/>
                  </a:lnTo>
                  <a:lnTo>
                    <a:pt x="49" y="62"/>
                  </a:lnTo>
                  <a:lnTo>
                    <a:pt x="49" y="64"/>
                  </a:lnTo>
                  <a:lnTo>
                    <a:pt x="147" y="121"/>
                  </a:lnTo>
                  <a:lnTo>
                    <a:pt x="147" y="8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7" name="Freeform 317">
              <a:extLst>
                <a:ext uri="{FF2B5EF4-FFF2-40B4-BE49-F238E27FC236}">
                  <a16:creationId xmlns:a16="http://schemas.microsoft.com/office/drawing/2014/main" id="{97CB4D4B-15E0-4F74-9C4B-AE91DCF58A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91701" y="3563364"/>
              <a:ext cx="41275" cy="417513"/>
            </a:xfrm>
            <a:custGeom>
              <a:avLst/>
              <a:gdLst>
                <a:gd name="T0" fmla="*/ 1 w 26"/>
                <a:gd name="T1" fmla="*/ 0 h 263"/>
                <a:gd name="T2" fmla="*/ 0 w 26"/>
                <a:gd name="T3" fmla="*/ 248 h 263"/>
                <a:gd name="T4" fmla="*/ 26 w 26"/>
                <a:gd name="T5" fmla="*/ 263 h 263"/>
                <a:gd name="T6" fmla="*/ 26 w 26"/>
                <a:gd name="T7" fmla="*/ 15 h 263"/>
                <a:gd name="T8" fmla="*/ 1 w 26"/>
                <a:gd name="T9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3">
                  <a:moveTo>
                    <a:pt x="1" y="0"/>
                  </a:moveTo>
                  <a:lnTo>
                    <a:pt x="0" y="248"/>
                  </a:lnTo>
                  <a:lnTo>
                    <a:pt x="26" y="263"/>
                  </a:lnTo>
                  <a:lnTo>
                    <a:pt x="26" y="1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8" name="Freeform 318">
              <a:extLst>
                <a:ext uri="{FF2B5EF4-FFF2-40B4-BE49-F238E27FC236}">
                  <a16:creationId xmlns:a16="http://schemas.microsoft.com/office/drawing/2014/main" id="{1C3E1B26-DDB3-4D53-90F2-C94997A144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91701" y="3563364"/>
              <a:ext cx="41275" cy="417513"/>
            </a:xfrm>
            <a:custGeom>
              <a:avLst/>
              <a:gdLst>
                <a:gd name="T0" fmla="*/ 1 w 26"/>
                <a:gd name="T1" fmla="*/ 0 h 263"/>
                <a:gd name="T2" fmla="*/ 0 w 26"/>
                <a:gd name="T3" fmla="*/ 248 h 263"/>
                <a:gd name="T4" fmla="*/ 26 w 26"/>
                <a:gd name="T5" fmla="*/ 263 h 263"/>
                <a:gd name="T6" fmla="*/ 26 w 26"/>
                <a:gd name="T7" fmla="*/ 15 h 263"/>
                <a:gd name="T8" fmla="*/ 1 w 26"/>
                <a:gd name="T9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3">
                  <a:moveTo>
                    <a:pt x="1" y="0"/>
                  </a:moveTo>
                  <a:lnTo>
                    <a:pt x="0" y="248"/>
                  </a:lnTo>
                  <a:lnTo>
                    <a:pt x="26" y="263"/>
                  </a:lnTo>
                  <a:lnTo>
                    <a:pt x="26" y="15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9" name="Freeform 319">
              <a:extLst>
                <a:ext uri="{FF2B5EF4-FFF2-40B4-BE49-F238E27FC236}">
                  <a16:creationId xmlns:a16="http://schemas.microsoft.com/office/drawing/2014/main" id="{021CFF8F-D740-4D31-A020-D776C697D8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01238" y="3791964"/>
              <a:ext cx="233363" cy="361950"/>
            </a:xfrm>
            <a:custGeom>
              <a:avLst/>
              <a:gdLst>
                <a:gd name="T0" fmla="*/ 94 w 147"/>
                <a:gd name="T1" fmla="*/ 51 h 229"/>
                <a:gd name="T2" fmla="*/ 96 w 147"/>
                <a:gd name="T3" fmla="*/ 72 h 229"/>
                <a:gd name="T4" fmla="*/ 64 w 147"/>
                <a:gd name="T5" fmla="*/ 112 h 229"/>
                <a:gd name="T6" fmla="*/ 39 w 147"/>
                <a:gd name="T7" fmla="*/ 104 h 229"/>
                <a:gd name="T8" fmla="*/ 0 w 147"/>
                <a:gd name="T9" fmla="*/ 64 h 229"/>
                <a:gd name="T10" fmla="*/ 0 w 147"/>
                <a:gd name="T11" fmla="*/ 144 h 229"/>
                <a:gd name="T12" fmla="*/ 147 w 147"/>
                <a:gd name="T13" fmla="*/ 229 h 229"/>
                <a:gd name="T14" fmla="*/ 147 w 147"/>
                <a:gd name="T15" fmla="*/ 82 h 229"/>
                <a:gd name="T16" fmla="*/ 94 w 147"/>
                <a:gd name="T17" fmla="*/ 51 h 229"/>
                <a:gd name="T18" fmla="*/ 5 w 147"/>
                <a:gd name="T19" fmla="*/ 0 h 229"/>
                <a:gd name="T20" fmla="*/ 1 w 147"/>
                <a:gd name="T21" fmla="*/ 17 h 229"/>
                <a:gd name="T22" fmla="*/ 39 w 147"/>
                <a:gd name="T23" fmla="*/ 82 h 229"/>
                <a:gd name="T24" fmla="*/ 56 w 147"/>
                <a:gd name="T25" fmla="*/ 88 h 229"/>
                <a:gd name="T26" fmla="*/ 77 w 147"/>
                <a:gd name="T27" fmla="*/ 61 h 229"/>
                <a:gd name="T28" fmla="*/ 73 w 147"/>
                <a:gd name="T29" fmla="*/ 39 h 229"/>
                <a:gd name="T30" fmla="*/ 49 w 147"/>
                <a:gd name="T31" fmla="*/ 25 h 229"/>
                <a:gd name="T32" fmla="*/ 49 w 147"/>
                <a:gd name="T33" fmla="*/ 45 h 229"/>
                <a:gd name="T34" fmla="*/ 30 w 147"/>
                <a:gd name="T35" fmla="*/ 34 h 229"/>
                <a:gd name="T36" fmla="*/ 30 w 147"/>
                <a:gd name="T37" fmla="*/ 14 h 229"/>
                <a:gd name="T38" fmla="*/ 5 w 147"/>
                <a:gd name="T39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7" h="229">
                  <a:moveTo>
                    <a:pt x="94" y="51"/>
                  </a:moveTo>
                  <a:cubicBezTo>
                    <a:pt x="95" y="58"/>
                    <a:pt x="96" y="65"/>
                    <a:pt x="96" y="72"/>
                  </a:cubicBezTo>
                  <a:cubicBezTo>
                    <a:pt x="96" y="97"/>
                    <a:pt x="83" y="112"/>
                    <a:pt x="64" y="112"/>
                  </a:cubicBezTo>
                  <a:cubicBezTo>
                    <a:pt x="57" y="112"/>
                    <a:pt x="48" y="110"/>
                    <a:pt x="39" y="104"/>
                  </a:cubicBezTo>
                  <a:cubicBezTo>
                    <a:pt x="24" y="96"/>
                    <a:pt x="10" y="81"/>
                    <a:pt x="0" y="6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147" y="229"/>
                    <a:pt x="147" y="229"/>
                    <a:pt x="147" y="229"/>
                  </a:cubicBezTo>
                  <a:cubicBezTo>
                    <a:pt x="147" y="82"/>
                    <a:pt x="147" y="82"/>
                    <a:pt x="147" y="82"/>
                  </a:cubicBezTo>
                  <a:cubicBezTo>
                    <a:pt x="94" y="51"/>
                    <a:pt x="94" y="51"/>
                    <a:pt x="94" y="51"/>
                  </a:cubicBezTo>
                  <a:moveTo>
                    <a:pt x="5" y="0"/>
                  </a:moveTo>
                  <a:cubicBezTo>
                    <a:pt x="3" y="4"/>
                    <a:pt x="1" y="10"/>
                    <a:pt x="1" y="17"/>
                  </a:cubicBezTo>
                  <a:cubicBezTo>
                    <a:pt x="1" y="41"/>
                    <a:pt x="18" y="70"/>
                    <a:pt x="39" y="82"/>
                  </a:cubicBezTo>
                  <a:cubicBezTo>
                    <a:pt x="45" y="86"/>
                    <a:pt x="51" y="88"/>
                    <a:pt x="56" y="88"/>
                  </a:cubicBezTo>
                  <a:cubicBezTo>
                    <a:pt x="68" y="88"/>
                    <a:pt x="77" y="78"/>
                    <a:pt x="77" y="61"/>
                  </a:cubicBezTo>
                  <a:cubicBezTo>
                    <a:pt x="77" y="54"/>
                    <a:pt x="76" y="46"/>
                    <a:pt x="73" y="39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F4EA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0" name="Freeform 320">
              <a:extLst>
                <a:ext uri="{FF2B5EF4-FFF2-40B4-BE49-F238E27FC236}">
                  <a16:creationId xmlns:a16="http://schemas.microsoft.com/office/drawing/2014/main" id="{7EB754C7-D829-46ED-8701-2FD2639F8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711001"/>
              <a:ext cx="30163" cy="120650"/>
            </a:xfrm>
            <a:custGeom>
              <a:avLst/>
              <a:gdLst>
                <a:gd name="T0" fmla="*/ 0 w 19"/>
                <a:gd name="T1" fmla="*/ 0 h 76"/>
                <a:gd name="T2" fmla="*/ 0 w 19"/>
                <a:gd name="T3" fmla="*/ 65 h 76"/>
                <a:gd name="T4" fmla="*/ 19 w 19"/>
                <a:gd name="T5" fmla="*/ 76 h 76"/>
                <a:gd name="T6" fmla="*/ 19 w 19"/>
                <a:gd name="T7" fmla="*/ 11 h 76"/>
                <a:gd name="T8" fmla="*/ 0 w 1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76">
                  <a:moveTo>
                    <a:pt x="0" y="0"/>
                  </a:moveTo>
                  <a:lnTo>
                    <a:pt x="0" y="65"/>
                  </a:lnTo>
                  <a:lnTo>
                    <a:pt x="19" y="76"/>
                  </a:lnTo>
                  <a:lnTo>
                    <a:pt x="19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C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1" name="Freeform 321">
              <a:extLst>
                <a:ext uri="{FF2B5EF4-FFF2-40B4-BE49-F238E27FC236}">
                  <a16:creationId xmlns:a16="http://schemas.microsoft.com/office/drawing/2014/main" id="{FA273752-CE51-4E7C-BF69-FDB62F1A03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711001"/>
              <a:ext cx="30163" cy="120650"/>
            </a:xfrm>
            <a:custGeom>
              <a:avLst/>
              <a:gdLst>
                <a:gd name="T0" fmla="*/ 0 w 19"/>
                <a:gd name="T1" fmla="*/ 0 h 76"/>
                <a:gd name="T2" fmla="*/ 0 w 19"/>
                <a:gd name="T3" fmla="*/ 65 h 76"/>
                <a:gd name="T4" fmla="*/ 19 w 19"/>
                <a:gd name="T5" fmla="*/ 76 h 76"/>
                <a:gd name="T6" fmla="*/ 19 w 19"/>
                <a:gd name="T7" fmla="*/ 11 h 76"/>
                <a:gd name="T8" fmla="*/ 0 w 1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76">
                  <a:moveTo>
                    <a:pt x="0" y="0"/>
                  </a:moveTo>
                  <a:lnTo>
                    <a:pt x="0" y="65"/>
                  </a:lnTo>
                  <a:lnTo>
                    <a:pt x="19" y="76"/>
                  </a:lnTo>
                  <a:lnTo>
                    <a:pt x="19" y="1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2" name="Freeform 322">
              <a:extLst>
                <a:ext uri="{FF2B5EF4-FFF2-40B4-BE49-F238E27FC236}">
                  <a16:creationId xmlns:a16="http://schemas.microsoft.com/office/drawing/2014/main" id="{A8E391B4-7C6E-44A8-9527-ED28EA3993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707826"/>
              <a:ext cx="30163" cy="20638"/>
            </a:xfrm>
            <a:custGeom>
              <a:avLst/>
              <a:gdLst>
                <a:gd name="T0" fmla="*/ 0 w 19"/>
                <a:gd name="T1" fmla="*/ 0 h 13"/>
                <a:gd name="T2" fmla="*/ 0 w 19"/>
                <a:gd name="T3" fmla="*/ 2 h 13"/>
                <a:gd name="T4" fmla="*/ 19 w 19"/>
                <a:gd name="T5" fmla="*/ 13 h 13"/>
                <a:gd name="T6" fmla="*/ 19 w 19"/>
                <a:gd name="T7" fmla="*/ 11 h 13"/>
                <a:gd name="T8" fmla="*/ 0 w 1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3">
                  <a:moveTo>
                    <a:pt x="0" y="0"/>
                  </a:moveTo>
                  <a:lnTo>
                    <a:pt x="0" y="2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C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3" name="Freeform 323">
              <a:extLst>
                <a:ext uri="{FF2B5EF4-FFF2-40B4-BE49-F238E27FC236}">
                  <a16:creationId xmlns:a16="http://schemas.microsoft.com/office/drawing/2014/main" id="{33B3F6D2-1D61-4529-83E0-FA8A95A2F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707826"/>
              <a:ext cx="30163" cy="20638"/>
            </a:xfrm>
            <a:custGeom>
              <a:avLst/>
              <a:gdLst>
                <a:gd name="T0" fmla="*/ 0 w 19"/>
                <a:gd name="T1" fmla="*/ 0 h 13"/>
                <a:gd name="T2" fmla="*/ 0 w 19"/>
                <a:gd name="T3" fmla="*/ 2 h 13"/>
                <a:gd name="T4" fmla="*/ 19 w 19"/>
                <a:gd name="T5" fmla="*/ 13 h 13"/>
                <a:gd name="T6" fmla="*/ 19 w 19"/>
                <a:gd name="T7" fmla="*/ 11 h 13"/>
                <a:gd name="T8" fmla="*/ 0 w 1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3">
                  <a:moveTo>
                    <a:pt x="0" y="0"/>
                  </a:moveTo>
                  <a:lnTo>
                    <a:pt x="0" y="2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4" name="Freeform 324">
              <a:extLst>
                <a:ext uri="{FF2B5EF4-FFF2-40B4-BE49-F238E27FC236}">
                  <a16:creationId xmlns:a16="http://schemas.microsoft.com/office/drawing/2014/main" id="{3DF15270-B12B-4665-A4B4-B1FAF08B80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814189"/>
              <a:ext cx="30163" cy="49213"/>
            </a:xfrm>
            <a:custGeom>
              <a:avLst/>
              <a:gdLst>
                <a:gd name="T0" fmla="*/ 0 w 19"/>
                <a:gd name="T1" fmla="*/ 0 h 31"/>
                <a:gd name="T2" fmla="*/ 0 w 19"/>
                <a:gd name="T3" fmla="*/ 20 h 31"/>
                <a:gd name="T4" fmla="*/ 19 w 19"/>
                <a:gd name="T5" fmla="*/ 31 h 31"/>
                <a:gd name="T6" fmla="*/ 19 w 19"/>
                <a:gd name="T7" fmla="*/ 11 h 31"/>
                <a:gd name="T8" fmla="*/ 0 w 19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1">
                  <a:moveTo>
                    <a:pt x="0" y="0"/>
                  </a:moveTo>
                  <a:lnTo>
                    <a:pt x="0" y="20"/>
                  </a:lnTo>
                  <a:lnTo>
                    <a:pt x="19" y="31"/>
                  </a:lnTo>
                  <a:lnTo>
                    <a:pt x="19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C7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5" name="Freeform 325">
              <a:extLst>
                <a:ext uri="{FF2B5EF4-FFF2-40B4-BE49-F238E27FC236}">
                  <a16:creationId xmlns:a16="http://schemas.microsoft.com/office/drawing/2014/main" id="{8EE3819C-E3E6-483F-AD6E-0A89DD1761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8863" y="3814189"/>
              <a:ext cx="30163" cy="49213"/>
            </a:xfrm>
            <a:custGeom>
              <a:avLst/>
              <a:gdLst>
                <a:gd name="T0" fmla="*/ 0 w 19"/>
                <a:gd name="T1" fmla="*/ 0 h 31"/>
                <a:gd name="T2" fmla="*/ 0 w 19"/>
                <a:gd name="T3" fmla="*/ 20 h 31"/>
                <a:gd name="T4" fmla="*/ 19 w 19"/>
                <a:gd name="T5" fmla="*/ 31 h 31"/>
                <a:gd name="T6" fmla="*/ 19 w 19"/>
                <a:gd name="T7" fmla="*/ 11 h 31"/>
                <a:gd name="T8" fmla="*/ 0 w 19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1">
                  <a:moveTo>
                    <a:pt x="0" y="0"/>
                  </a:moveTo>
                  <a:lnTo>
                    <a:pt x="0" y="20"/>
                  </a:lnTo>
                  <a:lnTo>
                    <a:pt x="19" y="31"/>
                  </a:lnTo>
                  <a:lnTo>
                    <a:pt x="19" y="1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6" name="Freeform 326">
              <a:extLst>
                <a:ext uri="{FF2B5EF4-FFF2-40B4-BE49-F238E27FC236}">
                  <a16:creationId xmlns:a16="http://schemas.microsoft.com/office/drawing/2014/main" id="{CC8258E7-94AC-4880-B081-BD2173AC2A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872663" y="3737989"/>
              <a:ext cx="177800" cy="155575"/>
            </a:xfrm>
            <a:custGeom>
              <a:avLst/>
              <a:gdLst>
                <a:gd name="T0" fmla="*/ 75 w 112"/>
                <a:gd name="T1" fmla="*/ 20 h 98"/>
                <a:gd name="T2" fmla="*/ 74 w 112"/>
                <a:gd name="T3" fmla="*/ 44 h 98"/>
                <a:gd name="T4" fmla="*/ 76 w 112"/>
                <a:gd name="T5" fmla="*/ 46 h 98"/>
                <a:gd name="T6" fmla="*/ 91 w 112"/>
                <a:gd name="T7" fmla="*/ 73 h 98"/>
                <a:gd name="T8" fmla="*/ 112 w 112"/>
                <a:gd name="T9" fmla="*/ 85 h 98"/>
                <a:gd name="T10" fmla="*/ 79 w 112"/>
                <a:gd name="T11" fmla="*/ 25 h 98"/>
                <a:gd name="T12" fmla="*/ 75 w 112"/>
                <a:gd name="T13" fmla="*/ 20 h 98"/>
                <a:gd name="T14" fmla="*/ 32 w 112"/>
                <a:gd name="T15" fmla="*/ 0 h 98"/>
                <a:gd name="T16" fmla="*/ 0 w 112"/>
                <a:gd name="T17" fmla="*/ 40 h 98"/>
                <a:gd name="T18" fmla="*/ 18 w 112"/>
                <a:gd name="T19" fmla="*/ 98 h 98"/>
                <a:gd name="T20" fmla="*/ 18 w 112"/>
                <a:gd name="T21" fmla="*/ 31 h 98"/>
                <a:gd name="T22" fmla="*/ 23 w 112"/>
                <a:gd name="T23" fmla="*/ 34 h 98"/>
                <a:gd name="T24" fmla="*/ 38 w 112"/>
                <a:gd name="T25" fmla="*/ 24 h 98"/>
                <a:gd name="T26" fmla="*/ 40 w 112"/>
                <a:gd name="T27" fmla="*/ 24 h 98"/>
                <a:gd name="T28" fmla="*/ 40 w 112"/>
                <a:gd name="T29" fmla="*/ 0 h 98"/>
                <a:gd name="T30" fmla="*/ 35 w 112"/>
                <a:gd name="T31" fmla="*/ 0 h 98"/>
                <a:gd name="T32" fmla="*/ 32 w 112"/>
                <a:gd name="T3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98">
                  <a:moveTo>
                    <a:pt x="75" y="20"/>
                  </a:moveTo>
                  <a:cubicBezTo>
                    <a:pt x="74" y="44"/>
                    <a:pt x="74" y="44"/>
                    <a:pt x="74" y="44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83" y="54"/>
                    <a:pt x="88" y="64"/>
                    <a:pt x="91" y="73"/>
                  </a:cubicBezTo>
                  <a:cubicBezTo>
                    <a:pt x="112" y="85"/>
                    <a:pt x="112" y="85"/>
                    <a:pt x="112" y="85"/>
                  </a:cubicBezTo>
                  <a:cubicBezTo>
                    <a:pt x="107" y="64"/>
                    <a:pt x="95" y="42"/>
                    <a:pt x="79" y="25"/>
                  </a:cubicBezTo>
                  <a:cubicBezTo>
                    <a:pt x="75" y="20"/>
                    <a:pt x="75" y="20"/>
                    <a:pt x="75" y="20"/>
                  </a:cubicBezTo>
                  <a:moveTo>
                    <a:pt x="32" y="0"/>
                  </a:moveTo>
                  <a:cubicBezTo>
                    <a:pt x="13" y="0"/>
                    <a:pt x="0" y="15"/>
                    <a:pt x="0" y="40"/>
                  </a:cubicBezTo>
                  <a:cubicBezTo>
                    <a:pt x="0" y="59"/>
                    <a:pt x="7" y="80"/>
                    <a:pt x="18" y="98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7" y="28"/>
                    <a:pt x="32" y="25"/>
                    <a:pt x="38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3" y="0"/>
                    <a:pt x="32" y="0"/>
                  </a:cubicBezTo>
                </a:path>
              </a:pathLst>
            </a:custGeom>
            <a:solidFill>
              <a:srgbClr val="F9C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7" name="Freeform 327">
              <a:extLst>
                <a:ext uri="{FF2B5EF4-FFF2-40B4-BE49-F238E27FC236}">
                  <a16:creationId xmlns:a16="http://schemas.microsoft.com/office/drawing/2014/main" id="{E0E37E1A-04CC-43EE-919A-67BE361073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1238" y="3787201"/>
              <a:ext cx="152400" cy="182563"/>
            </a:xfrm>
            <a:custGeom>
              <a:avLst/>
              <a:gdLst>
                <a:gd name="T0" fmla="*/ 0 w 96"/>
                <a:gd name="T1" fmla="*/ 0 h 115"/>
                <a:gd name="T2" fmla="*/ 0 w 96"/>
                <a:gd name="T3" fmla="*/ 67 h 115"/>
                <a:gd name="T4" fmla="*/ 39 w 96"/>
                <a:gd name="T5" fmla="*/ 107 h 115"/>
                <a:gd name="T6" fmla="*/ 64 w 96"/>
                <a:gd name="T7" fmla="*/ 115 h 115"/>
                <a:gd name="T8" fmla="*/ 96 w 96"/>
                <a:gd name="T9" fmla="*/ 75 h 115"/>
                <a:gd name="T10" fmla="*/ 94 w 96"/>
                <a:gd name="T11" fmla="*/ 54 h 115"/>
                <a:gd name="T12" fmla="*/ 73 w 96"/>
                <a:gd name="T13" fmla="*/ 42 h 115"/>
                <a:gd name="T14" fmla="*/ 77 w 96"/>
                <a:gd name="T15" fmla="*/ 64 h 115"/>
                <a:gd name="T16" fmla="*/ 56 w 96"/>
                <a:gd name="T17" fmla="*/ 91 h 115"/>
                <a:gd name="T18" fmla="*/ 39 w 96"/>
                <a:gd name="T19" fmla="*/ 85 h 115"/>
                <a:gd name="T20" fmla="*/ 1 w 96"/>
                <a:gd name="T21" fmla="*/ 20 h 115"/>
                <a:gd name="T22" fmla="*/ 5 w 96"/>
                <a:gd name="T23" fmla="*/ 3 h 115"/>
                <a:gd name="T24" fmla="*/ 0 w 96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15">
                  <a:moveTo>
                    <a:pt x="0" y="0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10" y="84"/>
                    <a:pt x="24" y="99"/>
                    <a:pt x="39" y="107"/>
                  </a:cubicBezTo>
                  <a:cubicBezTo>
                    <a:pt x="48" y="113"/>
                    <a:pt x="57" y="115"/>
                    <a:pt x="64" y="115"/>
                  </a:cubicBezTo>
                  <a:cubicBezTo>
                    <a:pt x="83" y="115"/>
                    <a:pt x="96" y="100"/>
                    <a:pt x="96" y="75"/>
                  </a:cubicBezTo>
                  <a:cubicBezTo>
                    <a:pt x="96" y="68"/>
                    <a:pt x="95" y="61"/>
                    <a:pt x="94" y="54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6" y="49"/>
                    <a:pt x="77" y="57"/>
                    <a:pt x="77" y="64"/>
                  </a:cubicBezTo>
                  <a:cubicBezTo>
                    <a:pt x="77" y="81"/>
                    <a:pt x="68" y="91"/>
                    <a:pt x="56" y="91"/>
                  </a:cubicBezTo>
                  <a:cubicBezTo>
                    <a:pt x="51" y="91"/>
                    <a:pt x="45" y="89"/>
                    <a:pt x="39" y="85"/>
                  </a:cubicBezTo>
                  <a:cubicBezTo>
                    <a:pt x="18" y="73"/>
                    <a:pt x="1" y="44"/>
                    <a:pt x="1" y="20"/>
                  </a:cubicBezTo>
                  <a:cubicBezTo>
                    <a:pt x="1" y="13"/>
                    <a:pt x="3" y="7"/>
                    <a:pt x="5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BC7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8" name="Freeform 328">
              <a:extLst>
                <a:ext uri="{FF2B5EF4-FFF2-40B4-BE49-F238E27FC236}">
                  <a16:creationId xmlns:a16="http://schemas.microsoft.com/office/drawing/2014/main" id="{B9F59730-6155-4885-9075-4DB6D3420A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9763" y="2034601"/>
              <a:ext cx="460375" cy="792163"/>
            </a:xfrm>
            <a:custGeom>
              <a:avLst/>
              <a:gdLst>
                <a:gd name="T0" fmla="*/ 1 w 290"/>
                <a:gd name="T1" fmla="*/ 0 h 499"/>
                <a:gd name="T2" fmla="*/ 0 w 290"/>
                <a:gd name="T3" fmla="*/ 332 h 499"/>
                <a:gd name="T4" fmla="*/ 289 w 290"/>
                <a:gd name="T5" fmla="*/ 499 h 499"/>
                <a:gd name="T6" fmla="*/ 290 w 290"/>
                <a:gd name="T7" fmla="*/ 166 h 499"/>
                <a:gd name="T8" fmla="*/ 1 w 29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499">
                  <a:moveTo>
                    <a:pt x="1" y="0"/>
                  </a:moveTo>
                  <a:lnTo>
                    <a:pt x="0" y="332"/>
                  </a:lnTo>
                  <a:lnTo>
                    <a:pt x="289" y="499"/>
                  </a:lnTo>
                  <a:lnTo>
                    <a:pt x="290" y="16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9" name="Freeform 329">
              <a:extLst>
                <a:ext uri="{FF2B5EF4-FFF2-40B4-BE49-F238E27FC236}">
                  <a16:creationId xmlns:a16="http://schemas.microsoft.com/office/drawing/2014/main" id="{0EDD4D0D-EC67-47F9-84CE-239F97D831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4088" y="2566414"/>
              <a:ext cx="31750" cy="82550"/>
            </a:xfrm>
            <a:custGeom>
              <a:avLst/>
              <a:gdLst>
                <a:gd name="T0" fmla="*/ 0 w 20"/>
                <a:gd name="T1" fmla="*/ 0 h 52"/>
                <a:gd name="T2" fmla="*/ 0 w 20"/>
                <a:gd name="T3" fmla="*/ 41 h 52"/>
                <a:gd name="T4" fmla="*/ 20 w 20"/>
                <a:gd name="T5" fmla="*/ 52 h 52"/>
                <a:gd name="T6" fmla="*/ 20 w 20"/>
                <a:gd name="T7" fmla="*/ 11 h 52"/>
                <a:gd name="T8" fmla="*/ 0 w 20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2">
                  <a:moveTo>
                    <a:pt x="0" y="0"/>
                  </a:moveTo>
                  <a:lnTo>
                    <a:pt x="0" y="41"/>
                  </a:lnTo>
                  <a:lnTo>
                    <a:pt x="20" y="52"/>
                  </a:lnTo>
                  <a:lnTo>
                    <a:pt x="2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0" name="Freeform 330">
              <a:extLst>
                <a:ext uri="{FF2B5EF4-FFF2-40B4-BE49-F238E27FC236}">
                  <a16:creationId xmlns:a16="http://schemas.microsoft.com/office/drawing/2014/main" id="{AAE7CC7D-4729-49B0-A8A8-67160FF653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0113" y="2480689"/>
              <a:ext cx="31750" cy="138113"/>
            </a:xfrm>
            <a:custGeom>
              <a:avLst/>
              <a:gdLst>
                <a:gd name="T0" fmla="*/ 0 w 20"/>
                <a:gd name="T1" fmla="*/ 0 h 87"/>
                <a:gd name="T2" fmla="*/ 0 w 20"/>
                <a:gd name="T3" fmla="*/ 75 h 87"/>
                <a:gd name="T4" fmla="*/ 20 w 20"/>
                <a:gd name="T5" fmla="*/ 87 h 87"/>
                <a:gd name="T6" fmla="*/ 20 w 20"/>
                <a:gd name="T7" fmla="*/ 12 h 87"/>
                <a:gd name="T8" fmla="*/ 0 w 20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7">
                  <a:moveTo>
                    <a:pt x="0" y="0"/>
                  </a:moveTo>
                  <a:lnTo>
                    <a:pt x="0" y="75"/>
                  </a:lnTo>
                  <a:lnTo>
                    <a:pt x="20" y="87"/>
                  </a:lnTo>
                  <a:lnTo>
                    <a:pt x="2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1" name="Freeform 331">
              <a:extLst>
                <a:ext uri="{FF2B5EF4-FFF2-40B4-BE49-F238E27FC236}">
                  <a16:creationId xmlns:a16="http://schemas.microsoft.com/office/drawing/2014/main" id="{108F96BB-ED21-4A99-9F17-F39D9EC21A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6138" y="2398139"/>
              <a:ext cx="33338" cy="188913"/>
            </a:xfrm>
            <a:custGeom>
              <a:avLst/>
              <a:gdLst>
                <a:gd name="T0" fmla="*/ 1 w 21"/>
                <a:gd name="T1" fmla="*/ 0 h 119"/>
                <a:gd name="T2" fmla="*/ 0 w 21"/>
                <a:gd name="T3" fmla="*/ 108 h 119"/>
                <a:gd name="T4" fmla="*/ 21 w 21"/>
                <a:gd name="T5" fmla="*/ 119 h 119"/>
                <a:gd name="T6" fmla="*/ 21 w 21"/>
                <a:gd name="T7" fmla="*/ 11 h 119"/>
                <a:gd name="T8" fmla="*/ 1 w 21"/>
                <a:gd name="T9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19">
                  <a:moveTo>
                    <a:pt x="1" y="0"/>
                  </a:moveTo>
                  <a:lnTo>
                    <a:pt x="0" y="108"/>
                  </a:lnTo>
                  <a:lnTo>
                    <a:pt x="21" y="119"/>
                  </a:lnTo>
                  <a:lnTo>
                    <a:pt x="21" y="1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2" name="Freeform 332">
              <a:extLst>
                <a:ext uri="{FF2B5EF4-FFF2-40B4-BE49-F238E27FC236}">
                  <a16:creationId xmlns:a16="http://schemas.microsoft.com/office/drawing/2014/main" id="{E2C2486F-F894-4288-BC35-66E2FBEAAF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751" y="2312414"/>
              <a:ext cx="31750" cy="244475"/>
            </a:xfrm>
            <a:custGeom>
              <a:avLst/>
              <a:gdLst>
                <a:gd name="T0" fmla="*/ 0 w 20"/>
                <a:gd name="T1" fmla="*/ 0 h 154"/>
                <a:gd name="T2" fmla="*/ 0 w 20"/>
                <a:gd name="T3" fmla="*/ 142 h 154"/>
                <a:gd name="T4" fmla="*/ 20 w 20"/>
                <a:gd name="T5" fmla="*/ 154 h 154"/>
                <a:gd name="T6" fmla="*/ 20 w 20"/>
                <a:gd name="T7" fmla="*/ 12 h 154"/>
                <a:gd name="T8" fmla="*/ 0 w 20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54">
                  <a:moveTo>
                    <a:pt x="0" y="0"/>
                  </a:moveTo>
                  <a:lnTo>
                    <a:pt x="0" y="142"/>
                  </a:lnTo>
                  <a:lnTo>
                    <a:pt x="20" y="154"/>
                  </a:lnTo>
                  <a:lnTo>
                    <a:pt x="2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3" name="Freeform 333">
              <a:extLst>
                <a:ext uri="{FF2B5EF4-FFF2-40B4-BE49-F238E27FC236}">
                  <a16:creationId xmlns:a16="http://schemas.microsoft.com/office/drawing/2014/main" id="{DCBD70D1-8548-470C-92B7-A9649FDB31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6" y="2196526"/>
              <a:ext cx="33338" cy="330200"/>
            </a:xfrm>
            <a:custGeom>
              <a:avLst/>
              <a:gdLst>
                <a:gd name="T0" fmla="*/ 1 w 21"/>
                <a:gd name="T1" fmla="*/ 0 h 208"/>
                <a:gd name="T2" fmla="*/ 0 w 21"/>
                <a:gd name="T3" fmla="*/ 196 h 208"/>
                <a:gd name="T4" fmla="*/ 21 w 21"/>
                <a:gd name="T5" fmla="*/ 208 h 208"/>
                <a:gd name="T6" fmla="*/ 21 w 21"/>
                <a:gd name="T7" fmla="*/ 12 h 208"/>
                <a:gd name="T8" fmla="*/ 1 w 21"/>
                <a:gd name="T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08">
                  <a:moveTo>
                    <a:pt x="1" y="0"/>
                  </a:moveTo>
                  <a:lnTo>
                    <a:pt x="0" y="196"/>
                  </a:lnTo>
                  <a:lnTo>
                    <a:pt x="21" y="208"/>
                  </a:lnTo>
                  <a:lnTo>
                    <a:pt x="21" y="1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4" name="Freeform 334">
              <a:extLst>
                <a:ext uri="{FF2B5EF4-FFF2-40B4-BE49-F238E27FC236}">
                  <a16:creationId xmlns:a16="http://schemas.microsoft.com/office/drawing/2014/main" id="{3DC7CEF9-1668-41AC-BF33-0BB5254737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20213" y="2869626"/>
              <a:ext cx="112713" cy="568325"/>
            </a:xfrm>
            <a:custGeom>
              <a:avLst/>
              <a:gdLst>
                <a:gd name="T0" fmla="*/ 0 w 71"/>
                <a:gd name="T1" fmla="*/ 358 h 358"/>
                <a:gd name="T2" fmla="*/ 70 w 71"/>
                <a:gd name="T3" fmla="*/ 318 h 358"/>
                <a:gd name="T4" fmla="*/ 71 w 71"/>
                <a:gd name="T5" fmla="*/ 0 h 358"/>
                <a:gd name="T6" fmla="*/ 1 w 71"/>
                <a:gd name="T7" fmla="*/ 41 h 358"/>
                <a:gd name="T8" fmla="*/ 0 w 71"/>
                <a:gd name="T9" fmla="*/ 358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358">
                  <a:moveTo>
                    <a:pt x="0" y="358"/>
                  </a:moveTo>
                  <a:lnTo>
                    <a:pt x="70" y="318"/>
                  </a:lnTo>
                  <a:lnTo>
                    <a:pt x="71" y="0"/>
                  </a:lnTo>
                  <a:lnTo>
                    <a:pt x="1" y="41"/>
                  </a:lnTo>
                  <a:lnTo>
                    <a:pt x="0" y="358"/>
                  </a:lnTo>
                  <a:close/>
                </a:path>
              </a:pathLst>
            </a:custGeom>
            <a:solidFill>
              <a:srgbClr val="00AC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5" name="Freeform 335">
              <a:extLst>
                <a:ext uri="{FF2B5EF4-FFF2-40B4-BE49-F238E27FC236}">
                  <a16:creationId xmlns:a16="http://schemas.microsoft.com/office/drawing/2014/main" id="{699AF84E-1646-4589-9748-44D4FA9AC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83651" y="2618801"/>
              <a:ext cx="549275" cy="315913"/>
            </a:xfrm>
            <a:custGeom>
              <a:avLst/>
              <a:gdLst>
                <a:gd name="T0" fmla="*/ 276 w 346"/>
                <a:gd name="T1" fmla="*/ 199 h 199"/>
                <a:gd name="T2" fmla="*/ 346 w 346"/>
                <a:gd name="T3" fmla="*/ 158 h 199"/>
                <a:gd name="T4" fmla="*/ 70 w 346"/>
                <a:gd name="T5" fmla="*/ 0 h 199"/>
                <a:gd name="T6" fmla="*/ 0 w 346"/>
                <a:gd name="T7" fmla="*/ 41 h 199"/>
                <a:gd name="T8" fmla="*/ 276 w 346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6" h="199">
                  <a:moveTo>
                    <a:pt x="276" y="199"/>
                  </a:moveTo>
                  <a:lnTo>
                    <a:pt x="346" y="158"/>
                  </a:lnTo>
                  <a:lnTo>
                    <a:pt x="70" y="0"/>
                  </a:lnTo>
                  <a:lnTo>
                    <a:pt x="0" y="41"/>
                  </a:lnTo>
                  <a:lnTo>
                    <a:pt x="276" y="199"/>
                  </a:lnTo>
                  <a:close/>
                </a:path>
              </a:pathLst>
            </a:custGeom>
            <a:solidFill>
              <a:srgbClr val="008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6" name="Freeform 336">
              <a:extLst>
                <a:ext uri="{FF2B5EF4-FFF2-40B4-BE49-F238E27FC236}">
                  <a16:creationId xmlns:a16="http://schemas.microsoft.com/office/drawing/2014/main" id="{90ABDCF5-8EF9-490D-8A3B-957FBA6507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82063" y="2683889"/>
              <a:ext cx="439738" cy="754063"/>
            </a:xfrm>
            <a:custGeom>
              <a:avLst/>
              <a:gdLst>
                <a:gd name="T0" fmla="*/ 1 w 277"/>
                <a:gd name="T1" fmla="*/ 0 h 475"/>
                <a:gd name="T2" fmla="*/ 0 w 277"/>
                <a:gd name="T3" fmla="*/ 316 h 475"/>
                <a:gd name="T4" fmla="*/ 276 w 277"/>
                <a:gd name="T5" fmla="*/ 475 h 475"/>
                <a:gd name="T6" fmla="*/ 277 w 277"/>
                <a:gd name="T7" fmla="*/ 158 h 475"/>
                <a:gd name="T8" fmla="*/ 1 w 277"/>
                <a:gd name="T9" fmla="*/ 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7" h="475">
                  <a:moveTo>
                    <a:pt x="1" y="0"/>
                  </a:moveTo>
                  <a:lnTo>
                    <a:pt x="0" y="316"/>
                  </a:lnTo>
                  <a:lnTo>
                    <a:pt x="276" y="475"/>
                  </a:lnTo>
                  <a:lnTo>
                    <a:pt x="277" y="15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7" name="Freeform 337">
              <a:extLst>
                <a:ext uri="{FF2B5EF4-FFF2-40B4-BE49-F238E27FC236}">
                  <a16:creationId xmlns:a16="http://schemas.microsoft.com/office/drawing/2014/main" id="{B159497A-EA99-4106-A1C1-098D650D56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99538" y="2869626"/>
              <a:ext cx="180975" cy="376238"/>
            </a:xfrm>
            <a:custGeom>
              <a:avLst/>
              <a:gdLst>
                <a:gd name="T0" fmla="*/ 114 w 114"/>
                <a:gd name="T1" fmla="*/ 124 h 237"/>
                <a:gd name="T2" fmla="*/ 57 w 114"/>
                <a:gd name="T3" fmla="*/ 237 h 237"/>
                <a:gd name="T4" fmla="*/ 0 w 114"/>
                <a:gd name="T5" fmla="*/ 59 h 237"/>
                <a:gd name="T6" fmla="*/ 57 w 114"/>
                <a:gd name="T7" fmla="*/ 18 h 237"/>
                <a:gd name="T8" fmla="*/ 114 w 114"/>
                <a:gd name="T9" fmla="*/ 124 h 237"/>
                <a:gd name="T10" fmla="*/ 57 w 114"/>
                <a:gd name="T11" fmla="*/ 122 h 237"/>
                <a:gd name="T12" fmla="*/ 86 w 114"/>
                <a:gd name="T13" fmla="*/ 105 h 237"/>
                <a:gd name="T14" fmla="*/ 57 w 114"/>
                <a:gd name="T15" fmla="*/ 55 h 237"/>
                <a:gd name="T16" fmla="*/ 28 w 114"/>
                <a:gd name="T17" fmla="*/ 72 h 237"/>
                <a:gd name="T18" fmla="*/ 57 w 114"/>
                <a:gd name="T19" fmla="*/ 12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237">
                  <a:moveTo>
                    <a:pt x="114" y="124"/>
                  </a:moveTo>
                  <a:cubicBezTo>
                    <a:pt x="114" y="169"/>
                    <a:pt x="60" y="234"/>
                    <a:pt x="57" y="237"/>
                  </a:cubicBezTo>
                  <a:cubicBezTo>
                    <a:pt x="54" y="230"/>
                    <a:pt x="0" y="103"/>
                    <a:pt x="0" y="59"/>
                  </a:cubicBezTo>
                  <a:cubicBezTo>
                    <a:pt x="0" y="14"/>
                    <a:pt x="26" y="0"/>
                    <a:pt x="57" y="18"/>
                  </a:cubicBezTo>
                  <a:cubicBezTo>
                    <a:pt x="89" y="36"/>
                    <a:pt x="114" y="80"/>
                    <a:pt x="114" y="124"/>
                  </a:cubicBezTo>
                  <a:close/>
                  <a:moveTo>
                    <a:pt x="57" y="122"/>
                  </a:moveTo>
                  <a:cubicBezTo>
                    <a:pt x="73" y="131"/>
                    <a:pt x="86" y="123"/>
                    <a:pt x="86" y="105"/>
                  </a:cubicBezTo>
                  <a:cubicBezTo>
                    <a:pt x="86" y="87"/>
                    <a:pt x="73" y="64"/>
                    <a:pt x="57" y="55"/>
                  </a:cubicBezTo>
                  <a:cubicBezTo>
                    <a:pt x="41" y="46"/>
                    <a:pt x="28" y="53"/>
                    <a:pt x="28" y="72"/>
                  </a:cubicBezTo>
                  <a:cubicBezTo>
                    <a:pt x="28" y="90"/>
                    <a:pt x="41" y="112"/>
                    <a:pt x="57" y="122"/>
                  </a:cubicBezTo>
                </a:path>
              </a:pathLst>
            </a:custGeom>
            <a:solidFill>
              <a:srgbClr val="F1F8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8" name="Freeform 338">
              <a:extLst>
                <a:ext uri="{FF2B5EF4-FFF2-40B4-BE49-F238E27FC236}">
                  <a16:creationId xmlns:a16="http://schemas.microsoft.com/office/drawing/2014/main" id="{2ADCB0C8-D440-4D21-B320-E6B16A96C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94388" y="1731389"/>
              <a:ext cx="855663" cy="1793875"/>
            </a:xfrm>
            <a:custGeom>
              <a:avLst/>
              <a:gdLst>
                <a:gd name="T0" fmla="*/ 539 w 539"/>
                <a:gd name="T1" fmla="*/ 821 h 1130"/>
                <a:gd name="T2" fmla="*/ 538 w 539"/>
                <a:gd name="T3" fmla="*/ 0 h 1130"/>
                <a:gd name="T4" fmla="*/ 0 w 539"/>
                <a:gd name="T5" fmla="*/ 310 h 1130"/>
                <a:gd name="T6" fmla="*/ 1 w 539"/>
                <a:gd name="T7" fmla="*/ 1130 h 1130"/>
                <a:gd name="T8" fmla="*/ 539 w 539"/>
                <a:gd name="T9" fmla="*/ 821 h 1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9" h="1130">
                  <a:moveTo>
                    <a:pt x="539" y="821"/>
                  </a:moveTo>
                  <a:lnTo>
                    <a:pt x="538" y="0"/>
                  </a:lnTo>
                  <a:lnTo>
                    <a:pt x="0" y="310"/>
                  </a:lnTo>
                  <a:lnTo>
                    <a:pt x="1" y="1130"/>
                  </a:lnTo>
                  <a:lnTo>
                    <a:pt x="539" y="821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9" name="Freeform 339">
              <a:extLst>
                <a:ext uri="{FF2B5EF4-FFF2-40B4-BE49-F238E27FC236}">
                  <a16:creationId xmlns:a16="http://schemas.microsoft.com/office/drawing/2014/main" id="{719357D0-78A7-4105-B653-0A8F42E478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37251" y="1766314"/>
              <a:ext cx="855663" cy="1793875"/>
            </a:xfrm>
            <a:custGeom>
              <a:avLst/>
              <a:gdLst>
                <a:gd name="T0" fmla="*/ 539 w 539"/>
                <a:gd name="T1" fmla="*/ 820 h 1130"/>
                <a:gd name="T2" fmla="*/ 539 w 539"/>
                <a:gd name="T3" fmla="*/ 0 h 1130"/>
                <a:gd name="T4" fmla="*/ 0 w 539"/>
                <a:gd name="T5" fmla="*/ 309 h 1130"/>
                <a:gd name="T6" fmla="*/ 1 w 539"/>
                <a:gd name="T7" fmla="*/ 1130 h 1130"/>
                <a:gd name="T8" fmla="*/ 539 w 539"/>
                <a:gd name="T9" fmla="*/ 820 h 1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9" h="1130">
                  <a:moveTo>
                    <a:pt x="539" y="820"/>
                  </a:moveTo>
                  <a:lnTo>
                    <a:pt x="539" y="0"/>
                  </a:lnTo>
                  <a:lnTo>
                    <a:pt x="0" y="309"/>
                  </a:lnTo>
                  <a:lnTo>
                    <a:pt x="1" y="1130"/>
                  </a:lnTo>
                  <a:lnTo>
                    <a:pt x="539" y="82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0" name="Freeform 340">
              <a:extLst>
                <a:ext uri="{FF2B5EF4-FFF2-40B4-BE49-F238E27FC236}">
                  <a16:creationId xmlns:a16="http://schemas.microsoft.com/office/drawing/2014/main" id="{48287678-3C7C-47CA-959C-CC66C00A79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1701" y="1799651"/>
              <a:ext cx="855663" cy="1793875"/>
            </a:xfrm>
            <a:custGeom>
              <a:avLst/>
              <a:gdLst>
                <a:gd name="T0" fmla="*/ 539 w 539"/>
                <a:gd name="T1" fmla="*/ 821 h 1130"/>
                <a:gd name="T2" fmla="*/ 538 w 539"/>
                <a:gd name="T3" fmla="*/ 0 h 1130"/>
                <a:gd name="T4" fmla="*/ 0 w 539"/>
                <a:gd name="T5" fmla="*/ 310 h 1130"/>
                <a:gd name="T6" fmla="*/ 0 w 539"/>
                <a:gd name="T7" fmla="*/ 1130 h 1130"/>
                <a:gd name="T8" fmla="*/ 539 w 539"/>
                <a:gd name="T9" fmla="*/ 821 h 1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9" h="1130">
                  <a:moveTo>
                    <a:pt x="539" y="821"/>
                  </a:moveTo>
                  <a:lnTo>
                    <a:pt x="538" y="0"/>
                  </a:lnTo>
                  <a:lnTo>
                    <a:pt x="0" y="310"/>
                  </a:lnTo>
                  <a:lnTo>
                    <a:pt x="0" y="1130"/>
                  </a:lnTo>
                  <a:lnTo>
                    <a:pt x="539" y="821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1" name="Freeform 341">
              <a:extLst>
                <a:ext uri="{FF2B5EF4-FFF2-40B4-BE49-F238E27FC236}">
                  <a16:creationId xmlns:a16="http://schemas.microsoft.com/office/drawing/2014/main" id="{E7293026-E3A7-4030-8905-D9365044DF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838" y="1979039"/>
              <a:ext cx="684213" cy="517525"/>
            </a:xfrm>
            <a:custGeom>
              <a:avLst/>
              <a:gdLst>
                <a:gd name="T0" fmla="*/ 431 w 431"/>
                <a:gd name="T1" fmla="*/ 78 h 326"/>
                <a:gd name="T2" fmla="*/ 431 w 431"/>
                <a:gd name="T3" fmla="*/ 0 h 326"/>
                <a:gd name="T4" fmla="*/ 0 w 431"/>
                <a:gd name="T5" fmla="*/ 248 h 326"/>
                <a:gd name="T6" fmla="*/ 0 w 431"/>
                <a:gd name="T7" fmla="*/ 326 h 326"/>
                <a:gd name="T8" fmla="*/ 431 w 431"/>
                <a:gd name="T9" fmla="*/ 7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326">
                  <a:moveTo>
                    <a:pt x="431" y="78"/>
                  </a:moveTo>
                  <a:lnTo>
                    <a:pt x="431" y="0"/>
                  </a:lnTo>
                  <a:lnTo>
                    <a:pt x="0" y="248"/>
                  </a:lnTo>
                  <a:lnTo>
                    <a:pt x="0" y="326"/>
                  </a:lnTo>
                  <a:lnTo>
                    <a:pt x="431" y="78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2" name="Freeform 342">
              <a:extLst>
                <a:ext uri="{FF2B5EF4-FFF2-40B4-BE49-F238E27FC236}">
                  <a16:creationId xmlns:a16="http://schemas.microsoft.com/office/drawing/2014/main" id="{EF7B93B3-78E8-40A1-9EF8-88E173EBA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838" y="2171126"/>
              <a:ext cx="684213" cy="517525"/>
            </a:xfrm>
            <a:custGeom>
              <a:avLst/>
              <a:gdLst>
                <a:gd name="T0" fmla="*/ 431 w 431"/>
                <a:gd name="T1" fmla="*/ 78 h 326"/>
                <a:gd name="T2" fmla="*/ 431 w 431"/>
                <a:gd name="T3" fmla="*/ 0 h 326"/>
                <a:gd name="T4" fmla="*/ 0 w 431"/>
                <a:gd name="T5" fmla="*/ 248 h 326"/>
                <a:gd name="T6" fmla="*/ 0 w 431"/>
                <a:gd name="T7" fmla="*/ 326 h 326"/>
                <a:gd name="T8" fmla="*/ 431 w 431"/>
                <a:gd name="T9" fmla="*/ 7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326">
                  <a:moveTo>
                    <a:pt x="431" y="78"/>
                  </a:moveTo>
                  <a:lnTo>
                    <a:pt x="431" y="0"/>
                  </a:lnTo>
                  <a:lnTo>
                    <a:pt x="0" y="248"/>
                  </a:lnTo>
                  <a:lnTo>
                    <a:pt x="0" y="326"/>
                  </a:lnTo>
                  <a:lnTo>
                    <a:pt x="431" y="78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3" name="Freeform 343">
              <a:extLst>
                <a:ext uri="{FF2B5EF4-FFF2-40B4-BE49-F238E27FC236}">
                  <a16:creationId xmlns:a16="http://schemas.microsoft.com/office/drawing/2014/main" id="{EE66A47D-64B8-4D3F-B8C5-38B90C8249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838" y="2715639"/>
              <a:ext cx="684213" cy="514350"/>
            </a:xfrm>
            <a:custGeom>
              <a:avLst/>
              <a:gdLst>
                <a:gd name="T0" fmla="*/ 431 w 431"/>
                <a:gd name="T1" fmla="*/ 78 h 324"/>
                <a:gd name="T2" fmla="*/ 431 w 431"/>
                <a:gd name="T3" fmla="*/ 0 h 324"/>
                <a:gd name="T4" fmla="*/ 0 w 431"/>
                <a:gd name="T5" fmla="*/ 246 h 324"/>
                <a:gd name="T6" fmla="*/ 0 w 431"/>
                <a:gd name="T7" fmla="*/ 324 h 324"/>
                <a:gd name="T8" fmla="*/ 431 w 431"/>
                <a:gd name="T9" fmla="*/ 7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324">
                  <a:moveTo>
                    <a:pt x="431" y="78"/>
                  </a:moveTo>
                  <a:lnTo>
                    <a:pt x="431" y="0"/>
                  </a:lnTo>
                  <a:lnTo>
                    <a:pt x="0" y="246"/>
                  </a:lnTo>
                  <a:lnTo>
                    <a:pt x="0" y="324"/>
                  </a:lnTo>
                  <a:lnTo>
                    <a:pt x="431" y="78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4" name="Freeform 344">
              <a:extLst>
                <a:ext uri="{FF2B5EF4-FFF2-40B4-BE49-F238E27FC236}">
                  <a16:creationId xmlns:a16="http://schemas.microsoft.com/office/drawing/2014/main" id="{A651D421-19BC-48A3-BCD9-AD88FAE702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838" y="2906139"/>
              <a:ext cx="684213" cy="517525"/>
            </a:xfrm>
            <a:custGeom>
              <a:avLst/>
              <a:gdLst>
                <a:gd name="T0" fmla="*/ 431 w 431"/>
                <a:gd name="T1" fmla="*/ 78 h 326"/>
                <a:gd name="T2" fmla="*/ 431 w 431"/>
                <a:gd name="T3" fmla="*/ 0 h 326"/>
                <a:gd name="T4" fmla="*/ 0 w 431"/>
                <a:gd name="T5" fmla="*/ 248 h 326"/>
                <a:gd name="T6" fmla="*/ 0 w 431"/>
                <a:gd name="T7" fmla="*/ 326 h 326"/>
                <a:gd name="T8" fmla="*/ 431 w 431"/>
                <a:gd name="T9" fmla="*/ 7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326">
                  <a:moveTo>
                    <a:pt x="431" y="78"/>
                  </a:moveTo>
                  <a:lnTo>
                    <a:pt x="431" y="0"/>
                  </a:lnTo>
                  <a:lnTo>
                    <a:pt x="0" y="248"/>
                  </a:lnTo>
                  <a:lnTo>
                    <a:pt x="0" y="326"/>
                  </a:lnTo>
                  <a:lnTo>
                    <a:pt x="431" y="78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5" name="Freeform 345">
              <a:extLst>
                <a:ext uri="{FF2B5EF4-FFF2-40B4-BE49-F238E27FC236}">
                  <a16:creationId xmlns:a16="http://schemas.microsoft.com/office/drawing/2014/main" id="{37BC7794-D506-420B-BF6E-D3B91D2BA8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838" y="2588639"/>
              <a:ext cx="266700" cy="439738"/>
            </a:xfrm>
            <a:custGeom>
              <a:avLst/>
              <a:gdLst>
                <a:gd name="T0" fmla="*/ 168 w 168"/>
                <a:gd name="T1" fmla="*/ 180 h 277"/>
                <a:gd name="T2" fmla="*/ 168 w 168"/>
                <a:gd name="T3" fmla="*/ 0 h 277"/>
                <a:gd name="T4" fmla="*/ 0 w 168"/>
                <a:gd name="T5" fmla="*/ 97 h 277"/>
                <a:gd name="T6" fmla="*/ 0 w 168"/>
                <a:gd name="T7" fmla="*/ 277 h 277"/>
                <a:gd name="T8" fmla="*/ 168 w 168"/>
                <a:gd name="T9" fmla="*/ 18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277">
                  <a:moveTo>
                    <a:pt x="168" y="180"/>
                  </a:moveTo>
                  <a:lnTo>
                    <a:pt x="168" y="0"/>
                  </a:lnTo>
                  <a:lnTo>
                    <a:pt x="0" y="97"/>
                  </a:lnTo>
                  <a:lnTo>
                    <a:pt x="0" y="277"/>
                  </a:lnTo>
                  <a:lnTo>
                    <a:pt x="168" y="180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6" name="Freeform 346">
              <a:extLst>
                <a:ext uri="{FF2B5EF4-FFF2-40B4-BE49-F238E27FC236}">
                  <a16:creationId xmlns:a16="http://schemas.microsoft.com/office/drawing/2014/main" id="{2AFE8BFB-F5F1-4B8E-8D8C-3EB730C2EC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18263" y="2426714"/>
              <a:ext cx="300038" cy="409575"/>
            </a:xfrm>
            <a:custGeom>
              <a:avLst/>
              <a:gdLst>
                <a:gd name="T0" fmla="*/ 93 w 189"/>
                <a:gd name="T1" fmla="*/ 156 h 258"/>
                <a:gd name="T2" fmla="*/ 94 w 189"/>
                <a:gd name="T3" fmla="*/ 155 h 258"/>
                <a:gd name="T4" fmla="*/ 187 w 189"/>
                <a:gd name="T5" fmla="*/ 1 h 258"/>
                <a:gd name="T6" fmla="*/ 188 w 189"/>
                <a:gd name="T7" fmla="*/ 0 h 258"/>
                <a:gd name="T8" fmla="*/ 189 w 189"/>
                <a:gd name="T9" fmla="*/ 1 h 258"/>
                <a:gd name="T10" fmla="*/ 189 w 189"/>
                <a:gd name="T11" fmla="*/ 143 h 258"/>
                <a:gd name="T12" fmla="*/ 184 w 189"/>
                <a:gd name="T13" fmla="*/ 151 h 258"/>
                <a:gd name="T14" fmla="*/ 2 w 189"/>
                <a:gd name="T15" fmla="*/ 257 h 258"/>
                <a:gd name="T16" fmla="*/ 0 w 189"/>
                <a:gd name="T17" fmla="*/ 252 h 258"/>
                <a:gd name="T18" fmla="*/ 0 w 189"/>
                <a:gd name="T19" fmla="*/ 110 h 258"/>
                <a:gd name="T20" fmla="*/ 0 w 189"/>
                <a:gd name="T21" fmla="*/ 109 h 258"/>
                <a:gd name="T22" fmla="*/ 1 w 189"/>
                <a:gd name="T23" fmla="*/ 108 h 258"/>
                <a:gd name="T24" fmla="*/ 93 w 189"/>
                <a:gd name="T25" fmla="*/ 156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9" h="258">
                  <a:moveTo>
                    <a:pt x="93" y="156"/>
                  </a:moveTo>
                  <a:cubicBezTo>
                    <a:pt x="93" y="156"/>
                    <a:pt x="93" y="156"/>
                    <a:pt x="94" y="155"/>
                  </a:cubicBezTo>
                  <a:cubicBezTo>
                    <a:pt x="187" y="1"/>
                    <a:pt x="187" y="1"/>
                    <a:pt x="187" y="1"/>
                  </a:cubicBezTo>
                  <a:cubicBezTo>
                    <a:pt x="187" y="1"/>
                    <a:pt x="188" y="0"/>
                    <a:pt x="188" y="0"/>
                  </a:cubicBezTo>
                  <a:cubicBezTo>
                    <a:pt x="188" y="0"/>
                    <a:pt x="189" y="0"/>
                    <a:pt x="189" y="1"/>
                  </a:cubicBezTo>
                  <a:cubicBezTo>
                    <a:pt x="189" y="143"/>
                    <a:pt x="189" y="143"/>
                    <a:pt x="189" y="143"/>
                  </a:cubicBezTo>
                  <a:cubicBezTo>
                    <a:pt x="189" y="146"/>
                    <a:pt x="186" y="150"/>
                    <a:pt x="184" y="151"/>
                  </a:cubicBezTo>
                  <a:cubicBezTo>
                    <a:pt x="2" y="257"/>
                    <a:pt x="2" y="257"/>
                    <a:pt x="2" y="257"/>
                  </a:cubicBezTo>
                  <a:cubicBezTo>
                    <a:pt x="0" y="258"/>
                    <a:pt x="0" y="255"/>
                    <a:pt x="0" y="25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8"/>
                    <a:pt x="0" y="108"/>
                    <a:pt x="1" y="108"/>
                  </a:cubicBezTo>
                  <a:lnTo>
                    <a:pt x="93" y="156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7" name="Freeform 347">
              <a:extLst>
                <a:ext uri="{FF2B5EF4-FFF2-40B4-BE49-F238E27FC236}">
                  <a16:creationId xmlns:a16="http://schemas.microsoft.com/office/drawing/2014/main" id="{6F2A82A0-F81C-4A7D-A10B-8CBF21984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18263" y="2379089"/>
              <a:ext cx="300038" cy="238125"/>
            </a:xfrm>
            <a:custGeom>
              <a:avLst/>
              <a:gdLst>
                <a:gd name="T0" fmla="*/ 0 w 189"/>
                <a:gd name="T1" fmla="*/ 115 h 150"/>
                <a:gd name="T2" fmla="*/ 0 w 189"/>
                <a:gd name="T3" fmla="*/ 113 h 150"/>
                <a:gd name="T4" fmla="*/ 2 w 189"/>
                <a:gd name="T5" fmla="*/ 107 h 150"/>
                <a:gd name="T6" fmla="*/ 184 w 189"/>
                <a:gd name="T7" fmla="*/ 2 h 150"/>
                <a:gd name="T8" fmla="*/ 189 w 189"/>
                <a:gd name="T9" fmla="*/ 3 h 150"/>
                <a:gd name="T10" fmla="*/ 189 w 189"/>
                <a:gd name="T11" fmla="*/ 6 h 150"/>
                <a:gd name="T12" fmla="*/ 94 w 189"/>
                <a:gd name="T13" fmla="*/ 150 h 150"/>
                <a:gd name="T14" fmla="*/ 93 w 189"/>
                <a:gd name="T15" fmla="*/ 150 h 150"/>
                <a:gd name="T16" fmla="*/ 0 w 189"/>
                <a:gd name="T17" fmla="*/ 11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9" h="150">
                  <a:moveTo>
                    <a:pt x="0" y="115"/>
                  </a:moveTo>
                  <a:cubicBezTo>
                    <a:pt x="0" y="113"/>
                    <a:pt x="0" y="113"/>
                    <a:pt x="0" y="113"/>
                  </a:cubicBezTo>
                  <a:cubicBezTo>
                    <a:pt x="0" y="110"/>
                    <a:pt x="0" y="108"/>
                    <a:pt x="2" y="107"/>
                  </a:cubicBezTo>
                  <a:cubicBezTo>
                    <a:pt x="184" y="2"/>
                    <a:pt x="184" y="2"/>
                    <a:pt x="184" y="2"/>
                  </a:cubicBezTo>
                  <a:cubicBezTo>
                    <a:pt x="186" y="1"/>
                    <a:pt x="189" y="0"/>
                    <a:pt x="189" y="3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94" y="150"/>
                    <a:pt x="94" y="150"/>
                    <a:pt x="94" y="150"/>
                  </a:cubicBezTo>
                  <a:cubicBezTo>
                    <a:pt x="94" y="150"/>
                    <a:pt x="94" y="150"/>
                    <a:pt x="93" y="150"/>
                  </a:cubicBezTo>
                  <a:lnTo>
                    <a:pt x="0" y="115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8" name="Freeform 348">
              <a:extLst>
                <a:ext uri="{FF2B5EF4-FFF2-40B4-BE49-F238E27FC236}">
                  <a16:creationId xmlns:a16="http://schemas.microsoft.com/office/drawing/2014/main" id="{EB81E03B-D15C-4822-9CC4-AF2C68C80B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1401" y="2917251"/>
              <a:ext cx="82550" cy="987425"/>
            </a:xfrm>
            <a:custGeom>
              <a:avLst/>
              <a:gdLst>
                <a:gd name="T0" fmla="*/ 0 w 52"/>
                <a:gd name="T1" fmla="*/ 30 h 622"/>
                <a:gd name="T2" fmla="*/ 0 w 52"/>
                <a:gd name="T3" fmla="*/ 622 h 622"/>
                <a:gd name="T4" fmla="*/ 52 w 52"/>
                <a:gd name="T5" fmla="*/ 592 h 622"/>
                <a:gd name="T6" fmla="*/ 52 w 52"/>
                <a:gd name="T7" fmla="*/ 0 h 622"/>
                <a:gd name="T8" fmla="*/ 0 w 52"/>
                <a:gd name="T9" fmla="*/ 3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622">
                  <a:moveTo>
                    <a:pt x="0" y="30"/>
                  </a:moveTo>
                  <a:lnTo>
                    <a:pt x="0" y="622"/>
                  </a:lnTo>
                  <a:lnTo>
                    <a:pt x="52" y="592"/>
                  </a:lnTo>
                  <a:lnTo>
                    <a:pt x="52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AFB4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9" name="Freeform 349">
              <a:extLst>
                <a:ext uri="{FF2B5EF4-FFF2-40B4-BE49-F238E27FC236}">
                  <a16:creationId xmlns:a16="http://schemas.microsoft.com/office/drawing/2014/main" id="{0C9C5C79-AE45-44A8-9EA5-4535800C75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1401" y="2866451"/>
              <a:ext cx="169863" cy="1038225"/>
            </a:xfrm>
            <a:custGeom>
              <a:avLst/>
              <a:gdLst>
                <a:gd name="T0" fmla="*/ 0 w 107"/>
                <a:gd name="T1" fmla="*/ 62 h 654"/>
                <a:gd name="T2" fmla="*/ 52 w 107"/>
                <a:gd name="T3" fmla="*/ 32 h 654"/>
                <a:gd name="T4" fmla="*/ 52 w 107"/>
                <a:gd name="T5" fmla="*/ 624 h 654"/>
                <a:gd name="T6" fmla="*/ 0 w 107"/>
                <a:gd name="T7" fmla="*/ 654 h 654"/>
                <a:gd name="T8" fmla="*/ 107 w 107"/>
                <a:gd name="T9" fmla="*/ 592 h 654"/>
                <a:gd name="T10" fmla="*/ 107 w 107"/>
                <a:gd name="T11" fmla="*/ 0 h 654"/>
                <a:gd name="T12" fmla="*/ 0 w 107"/>
                <a:gd name="T13" fmla="*/ 62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654">
                  <a:moveTo>
                    <a:pt x="0" y="62"/>
                  </a:moveTo>
                  <a:lnTo>
                    <a:pt x="52" y="32"/>
                  </a:lnTo>
                  <a:lnTo>
                    <a:pt x="52" y="624"/>
                  </a:lnTo>
                  <a:lnTo>
                    <a:pt x="0" y="654"/>
                  </a:lnTo>
                  <a:lnTo>
                    <a:pt x="107" y="592"/>
                  </a:lnTo>
                  <a:lnTo>
                    <a:pt x="107" y="0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C0CA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0" name="Freeform 350">
              <a:extLst>
                <a:ext uri="{FF2B5EF4-FFF2-40B4-BE49-F238E27FC236}">
                  <a16:creationId xmlns:a16="http://schemas.microsoft.com/office/drawing/2014/main" id="{6F158C8E-DAC7-43D3-9B26-8FAC3228A8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1401" y="2695001"/>
              <a:ext cx="169863" cy="269875"/>
            </a:xfrm>
            <a:custGeom>
              <a:avLst/>
              <a:gdLst>
                <a:gd name="T0" fmla="*/ 0 w 107"/>
                <a:gd name="T1" fmla="*/ 170 h 170"/>
                <a:gd name="T2" fmla="*/ 107 w 107"/>
                <a:gd name="T3" fmla="*/ 108 h 170"/>
                <a:gd name="T4" fmla="*/ 52 w 107"/>
                <a:gd name="T5" fmla="*/ 0 h 170"/>
                <a:gd name="T6" fmla="*/ 0 w 107"/>
                <a:gd name="T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70">
                  <a:moveTo>
                    <a:pt x="0" y="170"/>
                  </a:moveTo>
                  <a:lnTo>
                    <a:pt x="107" y="108"/>
                  </a:lnTo>
                  <a:lnTo>
                    <a:pt x="52" y="0"/>
                  </a:lnTo>
                  <a:lnTo>
                    <a:pt x="0" y="170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1" name="Freeform 351">
              <a:extLst>
                <a:ext uri="{FF2B5EF4-FFF2-40B4-BE49-F238E27FC236}">
                  <a16:creationId xmlns:a16="http://schemas.microsoft.com/office/drawing/2014/main" id="{4ABF4711-71C7-45F2-8656-6111534920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56326" y="2695001"/>
              <a:ext cx="100013" cy="158750"/>
            </a:xfrm>
            <a:custGeom>
              <a:avLst/>
              <a:gdLst>
                <a:gd name="T0" fmla="*/ 30 w 63"/>
                <a:gd name="T1" fmla="*/ 0 h 100"/>
                <a:gd name="T2" fmla="*/ 63 w 63"/>
                <a:gd name="T3" fmla="*/ 64 h 100"/>
                <a:gd name="T4" fmla="*/ 0 w 63"/>
                <a:gd name="T5" fmla="*/ 100 h 100"/>
                <a:gd name="T6" fmla="*/ 30 w 63"/>
                <a:gd name="T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100">
                  <a:moveTo>
                    <a:pt x="30" y="0"/>
                  </a:moveTo>
                  <a:lnTo>
                    <a:pt x="63" y="64"/>
                  </a:lnTo>
                  <a:lnTo>
                    <a:pt x="0" y="10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AFB4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2" name="Freeform 352">
              <a:extLst>
                <a:ext uri="{FF2B5EF4-FFF2-40B4-BE49-F238E27FC236}">
                  <a16:creationId xmlns:a16="http://schemas.microsoft.com/office/drawing/2014/main" id="{B6B8DFE8-3CB9-453D-899F-0DC55EB4E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26551" y="1588514"/>
              <a:ext cx="122238" cy="1289050"/>
            </a:xfrm>
            <a:custGeom>
              <a:avLst/>
              <a:gdLst>
                <a:gd name="T0" fmla="*/ 77 w 77"/>
                <a:gd name="T1" fmla="*/ 812 h 812"/>
                <a:gd name="T2" fmla="*/ 20 w 77"/>
                <a:gd name="T3" fmla="*/ 0 h 812"/>
                <a:gd name="T4" fmla="*/ 0 w 77"/>
                <a:gd name="T5" fmla="*/ 1 h 812"/>
                <a:gd name="T6" fmla="*/ 56 w 77"/>
                <a:gd name="T7" fmla="*/ 800 h 812"/>
                <a:gd name="T8" fmla="*/ 77 w 77"/>
                <a:gd name="T9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812">
                  <a:moveTo>
                    <a:pt x="77" y="812"/>
                  </a:moveTo>
                  <a:lnTo>
                    <a:pt x="20" y="0"/>
                  </a:lnTo>
                  <a:lnTo>
                    <a:pt x="0" y="1"/>
                  </a:lnTo>
                  <a:lnTo>
                    <a:pt x="56" y="800"/>
                  </a:lnTo>
                  <a:lnTo>
                    <a:pt x="77" y="812"/>
                  </a:ln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3" name="Freeform 353">
              <a:extLst>
                <a:ext uri="{FF2B5EF4-FFF2-40B4-BE49-F238E27FC236}">
                  <a16:creationId xmlns:a16="http://schemas.microsoft.com/office/drawing/2014/main" id="{550819E3-E215-410E-914A-BC1C905774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83688" y="1409126"/>
              <a:ext cx="185738" cy="234950"/>
            </a:xfrm>
            <a:custGeom>
              <a:avLst/>
              <a:gdLst>
                <a:gd name="T0" fmla="*/ 110 w 117"/>
                <a:gd name="T1" fmla="*/ 132 h 148"/>
                <a:gd name="T2" fmla="*/ 104 w 117"/>
                <a:gd name="T3" fmla="*/ 133 h 148"/>
                <a:gd name="T4" fmla="*/ 95 w 117"/>
                <a:gd name="T5" fmla="*/ 132 h 148"/>
                <a:gd name="T6" fmla="*/ 90 w 117"/>
                <a:gd name="T7" fmla="*/ 131 h 148"/>
                <a:gd name="T8" fmla="*/ 79 w 117"/>
                <a:gd name="T9" fmla="*/ 126 h 148"/>
                <a:gd name="T10" fmla="*/ 69 w 117"/>
                <a:gd name="T11" fmla="*/ 119 h 148"/>
                <a:gd name="T12" fmla="*/ 63 w 117"/>
                <a:gd name="T13" fmla="*/ 114 h 148"/>
                <a:gd name="T14" fmla="*/ 54 w 117"/>
                <a:gd name="T15" fmla="*/ 104 h 148"/>
                <a:gd name="T16" fmla="*/ 50 w 117"/>
                <a:gd name="T17" fmla="*/ 98 h 148"/>
                <a:gd name="T18" fmla="*/ 42 w 117"/>
                <a:gd name="T19" fmla="*/ 87 h 148"/>
                <a:gd name="T20" fmla="*/ 38 w 117"/>
                <a:gd name="T21" fmla="*/ 80 h 148"/>
                <a:gd name="T22" fmla="*/ 33 w 117"/>
                <a:gd name="T23" fmla="*/ 67 h 148"/>
                <a:gd name="T24" fmla="*/ 30 w 117"/>
                <a:gd name="T25" fmla="*/ 60 h 148"/>
                <a:gd name="T26" fmla="*/ 27 w 117"/>
                <a:gd name="T27" fmla="*/ 47 h 148"/>
                <a:gd name="T28" fmla="*/ 27 w 117"/>
                <a:gd name="T29" fmla="*/ 40 h 148"/>
                <a:gd name="T30" fmla="*/ 27 w 117"/>
                <a:gd name="T31" fmla="*/ 28 h 148"/>
                <a:gd name="T32" fmla="*/ 29 w 117"/>
                <a:gd name="T33" fmla="*/ 18 h 148"/>
                <a:gd name="T34" fmla="*/ 31 w 117"/>
                <a:gd name="T35" fmla="*/ 13 h 148"/>
                <a:gd name="T36" fmla="*/ 35 w 117"/>
                <a:gd name="T37" fmla="*/ 6 h 148"/>
                <a:gd name="T38" fmla="*/ 39 w 117"/>
                <a:gd name="T39" fmla="*/ 2 h 148"/>
                <a:gd name="T40" fmla="*/ 13 w 117"/>
                <a:gd name="T41" fmla="*/ 17 h 148"/>
                <a:gd name="T42" fmla="*/ 9 w 117"/>
                <a:gd name="T43" fmla="*/ 21 h 148"/>
                <a:gd name="T44" fmla="*/ 7 w 117"/>
                <a:gd name="T45" fmla="*/ 24 h 148"/>
                <a:gd name="T46" fmla="*/ 5 w 117"/>
                <a:gd name="T47" fmla="*/ 28 h 148"/>
                <a:gd name="T48" fmla="*/ 3 w 117"/>
                <a:gd name="T49" fmla="*/ 33 h 148"/>
                <a:gd name="T50" fmla="*/ 2 w 117"/>
                <a:gd name="T51" fmla="*/ 37 h 148"/>
                <a:gd name="T52" fmla="*/ 1 w 117"/>
                <a:gd name="T53" fmla="*/ 42 h 148"/>
                <a:gd name="T54" fmla="*/ 1 w 117"/>
                <a:gd name="T55" fmla="*/ 44 h 148"/>
                <a:gd name="T56" fmla="*/ 0 w 117"/>
                <a:gd name="T57" fmla="*/ 49 h 148"/>
                <a:gd name="T58" fmla="*/ 1 w 117"/>
                <a:gd name="T59" fmla="*/ 55 h 148"/>
                <a:gd name="T60" fmla="*/ 1 w 117"/>
                <a:gd name="T61" fmla="*/ 59 h 148"/>
                <a:gd name="T62" fmla="*/ 2 w 117"/>
                <a:gd name="T63" fmla="*/ 62 h 148"/>
                <a:gd name="T64" fmla="*/ 3 w 117"/>
                <a:gd name="T65" fmla="*/ 69 h 148"/>
                <a:gd name="T66" fmla="*/ 4 w 117"/>
                <a:gd name="T67" fmla="*/ 73 h 148"/>
                <a:gd name="T68" fmla="*/ 5 w 117"/>
                <a:gd name="T69" fmla="*/ 76 h 148"/>
                <a:gd name="T70" fmla="*/ 7 w 117"/>
                <a:gd name="T71" fmla="*/ 82 h 148"/>
                <a:gd name="T72" fmla="*/ 9 w 117"/>
                <a:gd name="T73" fmla="*/ 87 h 148"/>
                <a:gd name="T74" fmla="*/ 10 w 117"/>
                <a:gd name="T75" fmla="*/ 89 h 148"/>
                <a:gd name="T76" fmla="*/ 12 w 117"/>
                <a:gd name="T77" fmla="*/ 95 h 148"/>
                <a:gd name="T78" fmla="*/ 15 w 117"/>
                <a:gd name="T79" fmla="*/ 100 h 148"/>
                <a:gd name="T80" fmla="*/ 18 w 117"/>
                <a:gd name="T81" fmla="*/ 105 h 148"/>
                <a:gd name="T82" fmla="*/ 24 w 117"/>
                <a:gd name="T83" fmla="*/ 113 h 148"/>
                <a:gd name="T84" fmla="*/ 26 w 117"/>
                <a:gd name="T85" fmla="*/ 117 h 148"/>
                <a:gd name="T86" fmla="*/ 28 w 117"/>
                <a:gd name="T87" fmla="*/ 119 h 148"/>
                <a:gd name="T88" fmla="*/ 33 w 117"/>
                <a:gd name="T89" fmla="*/ 124 h 148"/>
                <a:gd name="T90" fmla="*/ 37 w 117"/>
                <a:gd name="T91" fmla="*/ 128 h 148"/>
                <a:gd name="T92" fmla="*/ 39 w 117"/>
                <a:gd name="T93" fmla="*/ 130 h 148"/>
                <a:gd name="T94" fmla="*/ 43 w 117"/>
                <a:gd name="T95" fmla="*/ 134 h 148"/>
                <a:gd name="T96" fmla="*/ 48 w 117"/>
                <a:gd name="T97" fmla="*/ 137 h 148"/>
                <a:gd name="T98" fmla="*/ 51 w 117"/>
                <a:gd name="T99" fmla="*/ 139 h 148"/>
                <a:gd name="T100" fmla="*/ 55 w 117"/>
                <a:gd name="T101" fmla="*/ 142 h 148"/>
                <a:gd name="T102" fmla="*/ 59 w 117"/>
                <a:gd name="T103" fmla="*/ 144 h 148"/>
                <a:gd name="T104" fmla="*/ 64 w 117"/>
                <a:gd name="T105" fmla="*/ 146 h 148"/>
                <a:gd name="T106" fmla="*/ 66 w 117"/>
                <a:gd name="T107" fmla="*/ 146 h 148"/>
                <a:gd name="T108" fmla="*/ 69 w 117"/>
                <a:gd name="T109" fmla="*/ 147 h 148"/>
                <a:gd name="T110" fmla="*/ 74 w 117"/>
                <a:gd name="T111" fmla="*/ 148 h 148"/>
                <a:gd name="T112" fmla="*/ 77 w 117"/>
                <a:gd name="T113" fmla="*/ 148 h 148"/>
                <a:gd name="T114" fmla="*/ 80 w 117"/>
                <a:gd name="T115" fmla="*/ 148 h 148"/>
                <a:gd name="T116" fmla="*/ 84 w 117"/>
                <a:gd name="T117" fmla="*/ 147 h 148"/>
                <a:gd name="T118" fmla="*/ 91 w 117"/>
                <a:gd name="T119" fmla="*/ 145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7" h="148">
                  <a:moveTo>
                    <a:pt x="117" y="130"/>
                  </a:moveTo>
                  <a:cubicBezTo>
                    <a:pt x="116" y="130"/>
                    <a:pt x="114" y="131"/>
                    <a:pt x="113" y="131"/>
                  </a:cubicBezTo>
                  <a:cubicBezTo>
                    <a:pt x="112" y="132"/>
                    <a:pt x="111" y="132"/>
                    <a:pt x="110" y="132"/>
                  </a:cubicBezTo>
                  <a:cubicBezTo>
                    <a:pt x="109" y="133"/>
                    <a:pt x="109" y="133"/>
                    <a:pt x="109" y="133"/>
                  </a:cubicBezTo>
                  <a:cubicBezTo>
                    <a:pt x="108" y="133"/>
                    <a:pt x="106" y="133"/>
                    <a:pt x="105" y="133"/>
                  </a:cubicBezTo>
                  <a:cubicBezTo>
                    <a:pt x="104" y="133"/>
                    <a:pt x="104" y="133"/>
                    <a:pt x="104" y="133"/>
                  </a:cubicBezTo>
                  <a:cubicBezTo>
                    <a:pt x="103" y="133"/>
                    <a:pt x="102" y="133"/>
                    <a:pt x="100" y="133"/>
                  </a:cubicBezTo>
                  <a:cubicBezTo>
                    <a:pt x="100" y="133"/>
                    <a:pt x="100" y="133"/>
                    <a:pt x="100" y="133"/>
                  </a:cubicBezTo>
                  <a:cubicBezTo>
                    <a:pt x="98" y="133"/>
                    <a:pt x="97" y="133"/>
                    <a:pt x="95" y="132"/>
                  </a:cubicBezTo>
                  <a:cubicBezTo>
                    <a:pt x="95" y="132"/>
                    <a:pt x="95" y="132"/>
                    <a:pt x="95" y="132"/>
                  </a:cubicBezTo>
                  <a:cubicBezTo>
                    <a:pt x="93" y="132"/>
                    <a:pt x="92" y="131"/>
                    <a:pt x="90" y="131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88" y="130"/>
                    <a:pt x="87" y="130"/>
                    <a:pt x="85" y="129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8"/>
                    <a:pt x="81" y="127"/>
                    <a:pt x="79" y="126"/>
                  </a:cubicBezTo>
                  <a:cubicBezTo>
                    <a:pt x="78" y="125"/>
                    <a:pt x="76" y="124"/>
                    <a:pt x="74" y="122"/>
                  </a:cubicBezTo>
                  <a:cubicBezTo>
                    <a:pt x="74" y="122"/>
                    <a:pt x="74" y="122"/>
                    <a:pt x="74" y="122"/>
                  </a:cubicBezTo>
                  <a:cubicBezTo>
                    <a:pt x="72" y="121"/>
                    <a:pt x="70" y="120"/>
                    <a:pt x="69" y="119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67" y="117"/>
                    <a:pt x="65" y="116"/>
                    <a:pt x="64" y="114"/>
                  </a:cubicBezTo>
                  <a:cubicBezTo>
                    <a:pt x="63" y="114"/>
                    <a:pt x="63" y="114"/>
                    <a:pt x="63" y="114"/>
                  </a:cubicBezTo>
                  <a:cubicBezTo>
                    <a:pt x="62" y="112"/>
                    <a:pt x="60" y="111"/>
                    <a:pt x="59" y="109"/>
                  </a:cubicBezTo>
                  <a:cubicBezTo>
                    <a:pt x="59" y="109"/>
                    <a:pt x="59" y="109"/>
                    <a:pt x="59" y="109"/>
                  </a:cubicBezTo>
                  <a:cubicBezTo>
                    <a:pt x="57" y="107"/>
                    <a:pt x="56" y="106"/>
                    <a:pt x="54" y="104"/>
                  </a:cubicBezTo>
                  <a:cubicBezTo>
                    <a:pt x="54" y="104"/>
                    <a:pt x="54" y="104"/>
                    <a:pt x="54" y="104"/>
                  </a:cubicBezTo>
                  <a:cubicBezTo>
                    <a:pt x="53" y="102"/>
                    <a:pt x="51" y="100"/>
                    <a:pt x="50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48" y="96"/>
                    <a:pt x="47" y="95"/>
                    <a:pt x="46" y="93"/>
                  </a:cubicBezTo>
                  <a:cubicBezTo>
                    <a:pt x="45" y="92"/>
                    <a:pt x="45" y="91"/>
                    <a:pt x="44" y="90"/>
                  </a:cubicBezTo>
                  <a:cubicBezTo>
                    <a:pt x="43" y="89"/>
                    <a:pt x="43" y="88"/>
                    <a:pt x="42" y="87"/>
                  </a:cubicBezTo>
                  <a:cubicBezTo>
                    <a:pt x="42" y="86"/>
                    <a:pt x="42" y="86"/>
                    <a:pt x="41" y="85"/>
                  </a:cubicBezTo>
                  <a:cubicBezTo>
                    <a:pt x="40" y="84"/>
                    <a:pt x="39" y="82"/>
                    <a:pt x="39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7" y="78"/>
                    <a:pt x="36" y="76"/>
                    <a:pt x="35" y="74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4" y="71"/>
                    <a:pt x="34" y="69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2" y="65"/>
                    <a:pt x="31" y="63"/>
                    <a:pt x="31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58"/>
                    <a:pt x="29" y="56"/>
                    <a:pt x="29" y="54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1"/>
                    <a:pt x="28" y="49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5"/>
                    <a:pt x="27" y="43"/>
                    <a:pt x="27" y="41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6" y="38"/>
                    <a:pt x="26" y="36"/>
                    <a:pt x="26" y="34"/>
                  </a:cubicBezTo>
                  <a:cubicBezTo>
                    <a:pt x="26" y="32"/>
                    <a:pt x="27" y="30"/>
                    <a:pt x="27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6"/>
                    <a:pt x="27" y="25"/>
                    <a:pt x="27" y="23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1"/>
                    <a:pt x="28" y="19"/>
                    <a:pt x="29" y="18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6"/>
                    <a:pt x="30" y="15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2"/>
                    <a:pt x="32" y="10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4" y="8"/>
                    <a:pt x="34" y="7"/>
                    <a:pt x="35" y="6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4"/>
                    <a:pt x="37" y="4"/>
                    <a:pt x="38" y="3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1" y="1"/>
                    <a:pt x="42" y="0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5" y="16"/>
                    <a:pt x="14" y="17"/>
                    <a:pt x="13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1" y="19"/>
                    <a:pt x="10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2"/>
                    <a:pt x="8" y="23"/>
                    <a:pt x="7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6" y="25"/>
                    <a:pt x="5" y="27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4" y="29"/>
                    <a:pt x="4" y="30"/>
                    <a:pt x="3" y="31"/>
                  </a:cubicBezTo>
                  <a:cubicBezTo>
                    <a:pt x="3" y="31"/>
                    <a:pt x="3" y="32"/>
                    <a:pt x="3" y="32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5"/>
                    <a:pt x="2" y="36"/>
                    <a:pt x="2" y="36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40"/>
                    <a:pt x="1" y="41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1" y="46"/>
                    <a:pt x="1" y="47"/>
                  </a:cubicBezTo>
                  <a:cubicBezTo>
                    <a:pt x="0" y="47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0" y="51"/>
                    <a:pt x="0" y="52"/>
                  </a:cubicBezTo>
                  <a:cubicBezTo>
                    <a:pt x="1" y="53"/>
                    <a:pt x="1" y="53"/>
                    <a:pt x="1" y="54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8"/>
                    <a:pt x="1" y="59"/>
                    <a:pt x="1" y="59"/>
                  </a:cubicBezTo>
                  <a:cubicBezTo>
                    <a:pt x="1" y="60"/>
                    <a:pt x="1" y="61"/>
                    <a:pt x="1" y="6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2" y="63"/>
                    <a:pt x="2" y="64"/>
                    <a:pt x="2" y="65"/>
                  </a:cubicBezTo>
                  <a:cubicBezTo>
                    <a:pt x="2" y="66"/>
                    <a:pt x="2" y="67"/>
                    <a:pt x="3" y="68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3" y="69"/>
                    <a:pt x="3" y="70"/>
                    <a:pt x="3" y="70"/>
                  </a:cubicBezTo>
                  <a:cubicBezTo>
                    <a:pt x="3" y="71"/>
                    <a:pt x="4" y="72"/>
                    <a:pt x="4" y="73"/>
                  </a:cubicBezTo>
                  <a:cubicBezTo>
                    <a:pt x="4" y="74"/>
                    <a:pt x="4" y="75"/>
                    <a:pt x="5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7"/>
                    <a:pt x="5" y="78"/>
                    <a:pt x="6" y="79"/>
                  </a:cubicBezTo>
                  <a:cubicBezTo>
                    <a:pt x="6" y="80"/>
                    <a:pt x="6" y="80"/>
                    <a:pt x="7" y="81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7" y="83"/>
                    <a:pt x="7" y="83"/>
                    <a:pt x="8" y="84"/>
                  </a:cubicBezTo>
                  <a:cubicBezTo>
                    <a:pt x="8" y="85"/>
                    <a:pt x="8" y="86"/>
                    <a:pt x="9" y="87"/>
                  </a:cubicBezTo>
                  <a:cubicBezTo>
                    <a:pt x="9" y="87"/>
                    <a:pt x="9" y="88"/>
                    <a:pt x="9" y="88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90"/>
                    <a:pt x="10" y="91"/>
                    <a:pt x="11" y="92"/>
                  </a:cubicBezTo>
                  <a:cubicBezTo>
                    <a:pt x="11" y="93"/>
                    <a:pt x="12" y="94"/>
                    <a:pt x="12" y="9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6"/>
                    <a:pt x="13" y="97"/>
                    <a:pt x="14" y="98"/>
                  </a:cubicBezTo>
                  <a:cubicBezTo>
                    <a:pt x="14" y="99"/>
                    <a:pt x="15" y="99"/>
                    <a:pt x="15" y="100"/>
                  </a:cubicBezTo>
                  <a:cubicBezTo>
                    <a:pt x="16" y="101"/>
                    <a:pt x="16" y="101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7" y="103"/>
                    <a:pt x="17" y="104"/>
                    <a:pt x="18" y="105"/>
                  </a:cubicBezTo>
                  <a:cubicBezTo>
                    <a:pt x="19" y="106"/>
                    <a:pt x="19" y="107"/>
                    <a:pt x="20" y="108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1" y="110"/>
                    <a:pt x="22" y="112"/>
                    <a:pt x="24" y="113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5" y="114"/>
                    <a:pt x="25" y="116"/>
                    <a:pt x="26" y="117"/>
                  </a:cubicBezTo>
                  <a:cubicBezTo>
                    <a:pt x="27" y="117"/>
                    <a:pt x="27" y="118"/>
                    <a:pt x="28" y="119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9" y="120"/>
                    <a:pt x="30" y="121"/>
                    <a:pt x="30" y="121"/>
                  </a:cubicBezTo>
                  <a:cubicBezTo>
                    <a:pt x="31" y="122"/>
                    <a:pt x="32" y="123"/>
                    <a:pt x="32" y="124"/>
                  </a:cubicBezTo>
                  <a:cubicBezTo>
                    <a:pt x="33" y="124"/>
                    <a:pt x="33" y="124"/>
                    <a:pt x="33" y="124"/>
                  </a:cubicBezTo>
                  <a:cubicBezTo>
                    <a:pt x="33" y="124"/>
                    <a:pt x="33" y="124"/>
                    <a:pt x="33" y="124"/>
                  </a:cubicBezTo>
                  <a:cubicBezTo>
                    <a:pt x="33" y="125"/>
                    <a:pt x="34" y="126"/>
                    <a:pt x="34" y="126"/>
                  </a:cubicBezTo>
                  <a:cubicBezTo>
                    <a:pt x="35" y="127"/>
                    <a:pt x="36" y="128"/>
                    <a:pt x="37" y="128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8" y="130"/>
                    <a:pt x="39" y="130"/>
                    <a:pt x="39" y="130"/>
                  </a:cubicBezTo>
                  <a:cubicBezTo>
                    <a:pt x="40" y="131"/>
                    <a:pt x="41" y="132"/>
                    <a:pt x="41" y="132"/>
                  </a:cubicBezTo>
                  <a:cubicBezTo>
                    <a:pt x="42" y="133"/>
                    <a:pt x="42" y="133"/>
                    <a:pt x="42" y="133"/>
                  </a:cubicBezTo>
                  <a:cubicBezTo>
                    <a:pt x="43" y="134"/>
                    <a:pt x="43" y="134"/>
                    <a:pt x="43" y="134"/>
                  </a:cubicBezTo>
                  <a:cubicBezTo>
                    <a:pt x="44" y="134"/>
                    <a:pt x="44" y="134"/>
                    <a:pt x="44" y="134"/>
                  </a:cubicBezTo>
                  <a:cubicBezTo>
                    <a:pt x="45" y="135"/>
                    <a:pt x="45" y="136"/>
                    <a:pt x="46" y="136"/>
                  </a:cubicBezTo>
                  <a:cubicBezTo>
                    <a:pt x="47" y="137"/>
                    <a:pt x="47" y="137"/>
                    <a:pt x="48" y="137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9" y="138"/>
                    <a:pt x="50" y="139"/>
                    <a:pt x="51" y="139"/>
                  </a:cubicBezTo>
                  <a:cubicBezTo>
                    <a:pt x="51" y="140"/>
                    <a:pt x="52" y="140"/>
                    <a:pt x="53" y="141"/>
                  </a:cubicBezTo>
                  <a:cubicBezTo>
                    <a:pt x="53" y="141"/>
                    <a:pt x="53" y="141"/>
                    <a:pt x="53" y="141"/>
                  </a:cubicBezTo>
                  <a:cubicBezTo>
                    <a:pt x="54" y="141"/>
                    <a:pt x="54" y="142"/>
                    <a:pt x="55" y="142"/>
                  </a:cubicBezTo>
                  <a:cubicBezTo>
                    <a:pt x="56" y="142"/>
                    <a:pt x="56" y="143"/>
                    <a:pt x="57" y="143"/>
                  </a:cubicBezTo>
                  <a:cubicBezTo>
                    <a:pt x="58" y="143"/>
                    <a:pt x="58" y="143"/>
                    <a:pt x="59" y="144"/>
                  </a:cubicBezTo>
                  <a:cubicBezTo>
                    <a:pt x="59" y="144"/>
                    <a:pt x="59" y="144"/>
                    <a:pt x="59" y="144"/>
                  </a:cubicBezTo>
                  <a:cubicBezTo>
                    <a:pt x="59" y="144"/>
                    <a:pt x="59" y="144"/>
                    <a:pt x="59" y="144"/>
                  </a:cubicBezTo>
                  <a:cubicBezTo>
                    <a:pt x="60" y="144"/>
                    <a:pt x="61" y="145"/>
                    <a:pt x="61" y="145"/>
                  </a:cubicBezTo>
                  <a:cubicBezTo>
                    <a:pt x="62" y="145"/>
                    <a:pt x="63" y="145"/>
                    <a:pt x="64" y="146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65" y="146"/>
                    <a:pt x="65" y="146"/>
                    <a:pt x="66" y="146"/>
                  </a:cubicBezTo>
                  <a:cubicBezTo>
                    <a:pt x="66" y="147"/>
                    <a:pt x="67" y="147"/>
                    <a:pt x="68" y="147"/>
                  </a:cubicBezTo>
                  <a:cubicBezTo>
                    <a:pt x="69" y="147"/>
                    <a:pt x="69" y="147"/>
                    <a:pt x="69" y="147"/>
                  </a:cubicBezTo>
                  <a:cubicBezTo>
                    <a:pt x="69" y="147"/>
                    <a:pt x="69" y="147"/>
                    <a:pt x="69" y="147"/>
                  </a:cubicBezTo>
                  <a:cubicBezTo>
                    <a:pt x="70" y="148"/>
                    <a:pt x="70" y="148"/>
                    <a:pt x="70" y="148"/>
                  </a:cubicBezTo>
                  <a:cubicBezTo>
                    <a:pt x="71" y="148"/>
                    <a:pt x="72" y="148"/>
                    <a:pt x="72" y="148"/>
                  </a:cubicBezTo>
                  <a:cubicBezTo>
                    <a:pt x="73" y="148"/>
                    <a:pt x="73" y="148"/>
                    <a:pt x="74" y="148"/>
                  </a:cubicBezTo>
                  <a:cubicBezTo>
                    <a:pt x="74" y="148"/>
                    <a:pt x="74" y="148"/>
                    <a:pt x="74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6" y="148"/>
                    <a:pt x="76" y="148"/>
                    <a:pt x="77" y="148"/>
                  </a:cubicBezTo>
                  <a:cubicBezTo>
                    <a:pt x="78" y="148"/>
                    <a:pt x="78" y="148"/>
                    <a:pt x="78" y="148"/>
                  </a:cubicBezTo>
                  <a:cubicBezTo>
                    <a:pt x="79" y="148"/>
                    <a:pt x="79" y="148"/>
                    <a:pt x="79" y="148"/>
                  </a:cubicBezTo>
                  <a:cubicBezTo>
                    <a:pt x="80" y="148"/>
                    <a:pt x="80" y="148"/>
                    <a:pt x="80" y="148"/>
                  </a:cubicBezTo>
                  <a:cubicBezTo>
                    <a:pt x="81" y="148"/>
                    <a:pt x="82" y="148"/>
                    <a:pt x="83" y="148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84" y="147"/>
                    <a:pt x="84" y="147"/>
                    <a:pt x="84" y="147"/>
                  </a:cubicBezTo>
                  <a:cubicBezTo>
                    <a:pt x="85" y="147"/>
                    <a:pt x="86" y="147"/>
                    <a:pt x="87" y="147"/>
                  </a:cubicBezTo>
                  <a:cubicBezTo>
                    <a:pt x="87" y="147"/>
                    <a:pt x="87" y="147"/>
                    <a:pt x="87" y="147"/>
                  </a:cubicBezTo>
                  <a:cubicBezTo>
                    <a:pt x="88" y="146"/>
                    <a:pt x="90" y="145"/>
                    <a:pt x="91" y="145"/>
                  </a:cubicBezTo>
                  <a:lnTo>
                    <a:pt x="117" y="130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4" name="Freeform 354">
              <a:extLst>
                <a:ext uri="{FF2B5EF4-FFF2-40B4-BE49-F238E27FC236}">
                  <a16:creationId xmlns:a16="http://schemas.microsoft.com/office/drawing/2014/main" id="{0ECF3BBC-19DD-4F41-BC22-390ACCC822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74163" y="1337689"/>
              <a:ext cx="112713" cy="36513"/>
            </a:xfrm>
            <a:custGeom>
              <a:avLst/>
              <a:gdLst>
                <a:gd name="T0" fmla="*/ 0 w 71"/>
                <a:gd name="T1" fmla="*/ 23 h 23"/>
                <a:gd name="T2" fmla="*/ 26 w 71"/>
                <a:gd name="T3" fmla="*/ 8 h 23"/>
                <a:gd name="T4" fmla="*/ 71 w 71"/>
                <a:gd name="T5" fmla="*/ 7 h 23"/>
                <a:gd name="T6" fmla="*/ 45 w 71"/>
                <a:gd name="T7" fmla="*/ 22 h 23"/>
                <a:gd name="T8" fmla="*/ 0 w 71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23">
                  <a:moveTo>
                    <a:pt x="0" y="23"/>
                  </a:moveTo>
                  <a:cubicBezTo>
                    <a:pt x="26" y="8"/>
                    <a:pt x="26" y="8"/>
                    <a:pt x="26" y="8"/>
                  </a:cubicBezTo>
                  <a:cubicBezTo>
                    <a:pt x="38" y="1"/>
                    <a:pt x="53" y="0"/>
                    <a:pt x="71" y="7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27" y="15"/>
                    <a:pt x="12" y="16"/>
                    <a:pt x="0" y="23"/>
                  </a:cubicBez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5" name="Freeform 355">
              <a:extLst>
                <a:ext uri="{FF2B5EF4-FFF2-40B4-BE49-F238E27FC236}">
                  <a16:creationId xmlns:a16="http://schemas.microsoft.com/office/drawing/2014/main" id="{4BE69D9C-7A83-4FEF-AD75-DFD174CC3D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74163" y="1345626"/>
              <a:ext cx="52388" cy="28575"/>
            </a:xfrm>
            <a:custGeom>
              <a:avLst/>
              <a:gdLst>
                <a:gd name="T0" fmla="*/ 0 w 33"/>
                <a:gd name="T1" fmla="*/ 18 h 18"/>
                <a:gd name="T2" fmla="*/ 26 w 33"/>
                <a:gd name="T3" fmla="*/ 3 h 18"/>
                <a:gd name="T4" fmla="*/ 33 w 33"/>
                <a:gd name="T5" fmla="*/ 0 h 18"/>
                <a:gd name="T6" fmla="*/ 7 w 33"/>
                <a:gd name="T7" fmla="*/ 15 h 18"/>
                <a:gd name="T8" fmla="*/ 0 w 33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0" y="18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9" y="2"/>
                    <a:pt x="31" y="1"/>
                    <a:pt x="33" y="0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5" y="16"/>
                    <a:pt x="3" y="17"/>
                    <a:pt x="0" y="18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6" name="Freeform 356">
              <a:extLst>
                <a:ext uri="{FF2B5EF4-FFF2-40B4-BE49-F238E27FC236}">
                  <a16:creationId xmlns:a16="http://schemas.microsoft.com/office/drawing/2014/main" id="{97DC40BB-A92E-4DC5-A9A1-1222CBBB08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85276" y="1342451"/>
              <a:ext cx="50800" cy="26988"/>
            </a:xfrm>
            <a:custGeom>
              <a:avLst/>
              <a:gdLst>
                <a:gd name="T0" fmla="*/ 0 w 32"/>
                <a:gd name="T1" fmla="*/ 17 h 17"/>
                <a:gd name="T2" fmla="*/ 26 w 32"/>
                <a:gd name="T3" fmla="*/ 2 h 17"/>
                <a:gd name="T4" fmla="*/ 32 w 32"/>
                <a:gd name="T5" fmla="*/ 0 h 17"/>
                <a:gd name="T6" fmla="*/ 6 w 32"/>
                <a:gd name="T7" fmla="*/ 15 h 17"/>
                <a:gd name="T8" fmla="*/ 0 w 32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0" y="17"/>
                  </a:moveTo>
                  <a:cubicBezTo>
                    <a:pt x="26" y="2"/>
                    <a:pt x="26" y="2"/>
                    <a:pt x="26" y="2"/>
                  </a:cubicBezTo>
                  <a:cubicBezTo>
                    <a:pt x="28" y="1"/>
                    <a:pt x="30" y="1"/>
                    <a:pt x="32" y="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6"/>
                    <a:pt x="2" y="16"/>
                    <a:pt x="0" y="17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7" name="Freeform 357">
              <a:extLst>
                <a:ext uri="{FF2B5EF4-FFF2-40B4-BE49-F238E27FC236}">
                  <a16:creationId xmlns:a16="http://schemas.microsoft.com/office/drawing/2014/main" id="{E54D3143-2B18-46B8-AF06-79C39A1B54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4801" y="1342451"/>
              <a:ext cx="49213" cy="23813"/>
            </a:xfrm>
            <a:custGeom>
              <a:avLst/>
              <a:gdLst>
                <a:gd name="T0" fmla="*/ 0 w 31"/>
                <a:gd name="T1" fmla="*/ 15 h 15"/>
                <a:gd name="T2" fmla="*/ 26 w 31"/>
                <a:gd name="T3" fmla="*/ 0 h 15"/>
                <a:gd name="T4" fmla="*/ 31 w 31"/>
                <a:gd name="T5" fmla="*/ 0 h 15"/>
                <a:gd name="T6" fmla="*/ 5 w 31"/>
                <a:gd name="T7" fmla="*/ 15 h 15"/>
                <a:gd name="T8" fmla="*/ 0 w 31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5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29" y="0"/>
                    <a:pt x="31" y="0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3" y="15"/>
                    <a:pt x="2" y="15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8" name="Freeform 358">
              <a:extLst>
                <a:ext uri="{FF2B5EF4-FFF2-40B4-BE49-F238E27FC236}">
                  <a16:creationId xmlns:a16="http://schemas.microsoft.com/office/drawing/2014/main" id="{C409B9C6-6CA6-48E9-9584-909110591E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02738" y="1340864"/>
              <a:ext cx="47625" cy="25400"/>
            </a:xfrm>
            <a:custGeom>
              <a:avLst/>
              <a:gdLst>
                <a:gd name="T0" fmla="*/ 0 w 30"/>
                <a:gd name="T1" fmla="*/ 16 h 16"/>
                <a:gd name="T2" fmla="*/ 26 w 30"/>
                <a:gd name="T3" fmla="*/ 1 h 16"/>
                <a:gd name="T4" fmla="*/ 30 w 30"/>
                <a:gd name="T5" fmla="*/ 0 h 16"/>
                <a:gd name="T6" fmla="*/ 4 w 30"/>
                <a:gd name="T7" fmla="*/ 15 h 16"/>
                <a:gd name="T8" fmla="*/ 0 w 30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0" y="16"/>
                  </a:moveTo>
                  <a:cubicBezTo>
                    <a:pt x="26" y="1"/>
                    <a:pt x="26" y="1"/>
                    <a:pt x="26" y="1"/>
                  </a:cubicBezTo>
                  <a:cubicBezTo>
                    <a:pt x="27" y="0"/>
                    <a:pt x="29" y="0"/>
                    <a:pt x="30" y="0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6"/>
                    <a:pt x="1" y="16"/>
                    <a:pt x="0" y="16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9" name="Freeform 359">
              <a:extLst>
                <a:ext uri="{FF2B5EF4-FFF2-40B4-BE49-F238E27FC236}">
                  <a16:creationId xmlns:a16="http://schemas.microsoft.com/office/drawing/2014/main" id="{E674C5B9-2277-4029-BAF3-B75821D34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09088" y="1340864"/>
              <a:ext cx="47625" cy="25400"/>
            </a:xfrm>
            <a:custGeom>
              <a:avLst/>
              <a:gdLst>
                <a:gd name="T0" fmla="*/ 0 w 30"/>
                <a:gd name="T1" fmla="*/ 15 h 16"/>
                <a:gd name="T2" fmla="*/ 26 w 30"/>
                <a:gd name="T3" fmla="*/ 0 h 16"/>
                <a:gd name="T4" fmla="*/ 30 w 30"/>
                <a:gd name="T5" fmla="*/ 1 h 16"/>
                <a:gd name="T6" fmla="*/ 4 w 30"/>
                <a:gd name="T7" fmla="*/ 16 h 16"/>
                <a:gd name="T8" fmla="*/ 0 w 30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2" y="15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0" name="Freeform 360">
              <a:extLst>
                <a:ext uri="{FF2B5EF4-FFF2-40B4-BE49-F238E27FC236}">
                  <a16:creationId xmlns:a16="http://schemas.microsoft.com/office/drawing/2014/main" id="{8844DAEF-897B-4B4F-8117-125289D562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15438" y="1342451"/>
              <a:ext cx="47625" cy="23813"/>
            </a:xfrm>
            <a:custGeom>
              <a:avLst/>
              <a:gdLst>
                <a:gd name="T0" fmla="*/ 0 w 30"/>
                <a:gd name="T1" fmla="*/ 15 h 15"/>
                <a:gd name="T2" fmla="*/ 26 w 30"/>
                <a:gd name="T3" fmla="*/ 0 h 15"/>
                <a:gd name="T4" fmla="*/ 30 w 30"/>
                <a:gd name="T5" fmla="*/ 0 h 15"/>
                <a:gd name="T6" fmla="*/ 4 w 30"/>
                <a:gd name="T7" fmla="*/ 15 h 15"/>
                <a:gd name="T8" fmla="*/ 0 w 30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9" y="0"/>
                    <a:pt x="30" y="0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1" y="15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1" name="Freeform 361">
              <a:extLst>
                <a:ext uri="{FF2B5EF4-FFF2-40B4-BE49-F238E27FC236}">
                  <a16:creationId xmlns:a16="http://schemas.microsoft.com/office/drawing/2014/main" id="{E24D1FA1-10E7-4176-B6FF-5E06691C86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21788" y="1342451"/>
              <a:ext cx="46038" cy="25400"/>
            </a:xfrm>
            <a:custGeom>
              <a:avLst/>
              <a:gdLst>
                <a:gd name="T0" fmla="*/ 0 w 29"/>
                <a:gd name="T1" fmla="*/ 15 h 16"/>
                <a:gd name="T2" fmla="*/ 26 w 29"/>
                <a:gd name="T3" fmla="*/ 0 h 16"/>
                <a:gd name="T4" fmla="*/ 29 w 29"/>
                <a:gd name="T5" fmla="*/ 1 h 16"/>
                <a:gd name="T6" fmla="*/ 4 w 29"/>
                <a:gd name="T7" fmla="*/ 16 h 16"/>
                <a:gd name="T8" fmla="*/ 0 w 29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0"/>
                    <a:pt x="29" y="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2" y="15"/>
                    <a:pt x="1" y="15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2" name="Freeform 362">
              <a:extLst>
                <a:ext uri="{FF2B5EF4-FFF2-40B4-BE49-F238E27FC236}">
                  <a16:creationId xmlns:a16="http://schemas.microsoft.com/office/drawing/2014/main" id="{1F74FC1E-B25C-4680-BB42-C61C8828F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28138" y="1344039"/>
              <a:ext cx="46038" cy="23813"/>
            </a:xfrm>
            <a:custGeom>
              <a:avLst/>
              <a:gdLst>
                <a:gd name="T0" fmla="*/ 0 w 29"/>
                <a:gd name="T1" fmla="*/ 15 h 15"/>
                <a:gd name="T2" fmla="*/ 25 w 29"/>
                <a:gd name="T3" fmla="*/ 0 h 15"/>
                <a:gd name="T4" fmla="*/ 29 w 29"/>
                <a:gd name="T5" fmla="*/ 0 h 15"/>
                <a:gd name="T6" fmla="*/ 3 w 29"/>
                <a:gd name="T7" fmla="*/ 15 h 15"/>
                <a:gd name="T8" fmla="*/ 0 w 29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0" y="15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8" y="0"/>
                    <a:pt x="29" y="0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3" name="Freeform 363">
              <a:extLst>
                <a:ext uri="{FF2B5EF4-FFF2-40B4-BE49-F238E27FC236}">
                  <a16:creationId xmlns:a16="http://schemas.microsoft.com/office/drawing/2014/main" id="{3E1F6808-1CB3-40C0-850B-CCB9043BAC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32901" y="1344039"/>
              <a:ext cx="46038" cy="25400"/>
            </a:xfrm>
            <a:custGeom>
              <a:avLst/>
              <a:gdLst>
                <a:gd name="T0" fmla="*/ 0 w 29"/>
                <a:gd name="T1" fmla="*/ 15 h 16"/>
                <a:gd name="T2" fmla="*/ 26 w 29"/>
                <a:gd name="T3" fmla="*/ 0 h 16"/>
                <a:gd name="T4" fmla="*/ 29 w 29"/>
                <a:gd name="T5" fmla="*/ 1 h 16"/>
                <a:gd name="T6" fmla="*/ 3 w 29"/>
                <a:gd name="T7" fmla="*/ 16 h 16"/>
                <a:gd name="T8" fmla="*/ 0 w 29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8" y="1"/>
                    <a:pt x="29" y="1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6"/>
                    <a:pt x="1" y="16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4" name="Freeform 364">
              <a:extLst>
                <a:ext uri="{FF2B5EF4-FFF2-40B4-BE49-F238E27FC236}">
                  <a16:creationId xmlns:a16="http://schemas.microsoft.com/office/drawing/2014/main" id="{814F5A56-8D87-455B-B51D-BDDDF7C57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37663" y="1345626"/>
              <a:ext cx="47625" cy="25400"/>
            </a:xfrm>
            <a:custGeom>
              <a:avLst/>
              <a:gdLst>
                <a:gd name="T0" fmla="*/ 0 w 30"/>
                <a:gd name="T1" fmla="*/ 15 h 16"/>
                <a:gd name="T2" fmla="*/ 26 w 30"/>
                <a:gd name="T3" fmla="*/ 0 h 16"/>
                <a:gd name="T4" fmla="*/ 30 w 30"/>
                <a:gd name="T5" fmla="*/ 1 h 16"/>
                <a:gd name="T6" fmla="*/ 4 w 30"/>
                <a:gd name="T7" fmla="*/ 16 h 16"/>
                <a:gd name="T8" fmla="*/ 0 w 30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9" y="1"/>
                    <a:pt x="30" y="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2" y="16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5" name="Freeform 365">
              <a:extLst>
                <a:ext uri="{FF2B5EF4-FFF2-40B4-BE49-F238E27FC236}">
                  <a16:creationId xmlns:a16="http://schemas.microsoft.com/office/drawing/2014/main" id="{BE8C7545-ED12-4143-ACE8-E7C0E1164F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44013" y="1347214"/>
              <a:ext cx="42863" cy="25400"/>
            </a:xfrm>
            <a:custGeom>
              <a:avLst/>
              <a:gdLst>
                <a:gd name="T0" fmla="*/ 0 w 27"/>
                <a:gd name="T1" fmla="*/ 15 h 16"/>
                <a:gd name="T2" fmla="*/ 26 w 27"/>
                <a:gd name="T3" fmla="*/ 0 h 16"/>
                <a:gd name="T4" fmla="*/ 27 w 27"/>
                <a:gd name="T5" fmla="*/ 1 h 16"/>
                <a:gd name="T6" fmla="*/ 1 w 27"/>
                <a:gd name="T7" fmla="*/ 16 h 16"/>
                <a:gd name="T8" fmla="*/ 0 w 27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5"/>
                  </a:moveTo>
                  <a:lnTo>
                    <a:pt x="26" y="0"/>
                  </a:lnTo>
                  <a:lnTo>
                    <a:pt x="27" y="1"/>
                  </a:lnTo>
                  <a:lnTo>
                    <a:pt x="1" y="16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6" name="Freeform 366">
              <a:extLst>
                <a:ext uri="{FF2B5EF4-FFF2-40B4-BE49-F238E27FC236}">
                  <a16:creationId xmlns:a16="http://schemas.microsoft.com/office/drawing/2014/main" id="{33EF844B-C055-4F14-99A0-915571EF94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44013" y="1347214"/>
              <a:ext cx="42863" cy="25400"/>
            </a:xfrm>
            <a:custGeom>
              <a:avLst/>
              <a:gdLst>
                <a:gd name="T0" fmla="*/ 0 w 27"/>
                <a:gd name="T1" fmla="*/ 15 h 16"/>
                <a:gd name="T2" fmla="*/ 26 w 27"/>
                <a:gd name="T3" fmla="*/ 0 h 16"/>
                <a:gd name="T4" fmla="*/ 27 w 27"/>
                <a:gd name="T5" fmla="*/ 1 h 16"/>
                <a:gd name="T6" fmla="*/ 1 w 27"/>
                <a:gd name="T7" fmla="*/ 16 h 16"/>
                <a:gd name="T8" fmla="*/ 0 w 27"/>
                <a:gd name="T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0" y="15"/>
                  </a:moveTo>
                  <a:lnTo>
                    <a:pt x="26" y="0"/>
                  </a:lnTo>
                  <a:lnTo>
                    <a:pt x="27" y="1"/>
                  </a:lnTo>
                  <a:lnTo>
                    <a:pt x="1" y="16"/>
                  </a:lnTo>
                  <a:lnTo>
                    <a:pt x="0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7" name="Freeform 367">
              <a:extLst>
                <a:ext uri="{FF2B5EF4-FFF2-40B4-BE49-F238E27FC236}">
                  <a16:creationId xmlns:a16="http://schemas.microsoft.com/office/drawing/2014/main" id="{2518819A-6B89-46ED-8842-6F769685F9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53551" y="1561526"/>
              <a:ext cx="88900" cy="50800"/>
            </a:xfrm>
            <a:custGeom>
              <a:avLst/>
              <a:gdLst>
                <a:gd name="T0" fmla="*/ 0 w 56"/>
                <a:gd name="T1" fmla="*/ 15 h 32"/>
                <a:gd name="T2" fmla="*/ 26 w 56"/>
                <a:gd name="T3" fmla="*/ 0 h 32"/>
                <a:gd name="T4" fmla="*/ 56 w 56"/>
                <a:gd name="T5" fmla="*/ 17 h 32"/>
                <a:gd name="T6" fmla="*/ 30 w 56"/>
                <a:gd name="T7" fmla="*/ 32 h 32"/>
                <a:gd name="T8" fmla="*/ 0 w 56"/>
                <a:gd name="T9" fmla="*/ 1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32">
                  <a:moveTo>
                    <a:pt x="0" y="15"/>
                  </a:moveTo>
                  <a:lnTo>
                    <a:pt x="26" y="0"/>
                  </a:lnTo>
                  <a:lnTo>
                    <a:pt x="56" y="17"/>
                  </a:lnTo>
                  <a:lnTo>
                    <a:pt x="30" y="32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CF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8" name="Freeform 368">
              <a:extLst>
                <a:ext uri="{FF2B5EF4-FFF2-40B4-BE49-F238E27FC236}">
                  <a16:creationId xmlns:a16="http://schemas.microsoft.com/office/drawing/2014/main" id="{E9C00BEF-19A0-4C5A-BEAC-737889A0A6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63076" y="1588514"/>
              <a:ext cx="79375" cy="109538"/>
            </a:xfrm>
            <a:custGeom>
              <a:avLst/>
              <a:gdLst>
                <a:gd name="T0" fmla="*/ 26 w 50"/>
                <a:gd name="T1" fmla="*/ 54 h 69"/>
                <a:gd name="T2" fmla="*/ 0 w 50"/>
                <a:gd name="T3" fmla="*/ 69 h 69"/>
                <a:gd name="T4" fmla="*/ 24 w 50"/>
                <a:gd name="T5" fmla="*/ 15 h 69"/>
                <a:gd name="T6" fmla="*/ 50 w 50"/>
                <a:gd name="T7" fmla="*/ 0 h 69"/>
                <a:gd name="T8" fmla="*/ 26 w 50"/>
                <a:gd name="T9" fmla="*/ 5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9">
                  <a:moveTo>
                    <a:pt x="26" y="54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15" y="60"/>
                    <a:pt x="24" y="41"/>
                    <a:pt x="24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26"/>
                    <a:pt x="41" y="45"/>
                    <a:pt x="26" y="54"/>
                  </a:cubicBez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9" name="Freeform 369">
              <a:extLst>
                <a:ext uri="{FF2B5EF4-FFF2-40B4-BE49-F238E27FC236}">
                  <a16:creationId xmlns:a16="http://schemas.microsoft.com/office/drawing/2014/main" id="{FF9061F6-8B05-4776-B24F-10694CFE7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1176" y="1588514"/>
              <a:ext cx="41275" cy="23813"/>
            </a:xfrm>
            <a:custGeom>
              <a:avLst/>
              <a:gdLst>
                <a:gd name="T0" fmla="*/ 0 w 26"/>
                <a:gd name="T1" fmla="*/ 15 h 15"/>
                <a:gd name="T2" fmla="*/ 26 w 26"/>
                <a:gd name="T3" fmla="*/ 0 h 15"/>
                <a:gd name="T4" fmla="*/ 26 w 26"/>
                <a:gd name="T5" fmla="*/ 0 h 15"/>
                <a:gd name="T6" fmla="*/ 0 w 26"/>
                <a:gd name="T7" fmla="*/ 15 h 15"/>
                <a:gd name="T8" fmla="*/ 0 w 26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5">
                  <a:moveTo>
                    <a:pt x="0" y="15"/>
                  </a:moveTo>
                  <a:lnTo>
                    <a:pt x="26" y="0"/>
                  </a:lnTo>
                  <a:lnTo>
                    <a:pt x="26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0" name="Freeform 370">
              <a:extLst>
                <a:ext uri="{FF2B5EF4-FFF2-40B4-BE49-F238E27FC236}">
                  <a16:creationId xmlns:a16="http://schemas.microsoft.com/office/drawing/2014/main" id="{61D96754-49AD-4D4A-B25A-DEC378705A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1176" y="1588514"/>
              <a:ext cx="41275" cy="23813"/>
            </a:xfrm>
            <a:custGeom>
              <a:avLst/>
              <a:gdLst>
                <a:gd name="T0" fmla="*/ 0 w 26"/>
                <a:gd name="T1" fmla="*/ 15 h 15"/>
                <a:gd name="T2" fmla="*/ 26 w 26"/>
                <a:gd name="T3" fmla="*/ 0 h 15"/>
                <a:gd name="T4" fmla="*/ 26 w 26"/>
                <a:gd name="T5" fmla="*/ 0 h 15"/>
                <a:gd name="T6" fmla="*/ 0 w 26"/>
                <a:gd name="T7" fmla="*/ 15 h 15"/>
                <a:gd name="T8" fmla="*/ 0 w 26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5">
                  <a:moveTo>
                    <a:pt x="0" y="15"/>
                  </a:moveTo>
                  <a:lnTo>
                    <a:pt x="26" y="0"/>
                  </a:lnTo>
                  <a:lnTo>
                    <a:pt x="26" y="0"/>
                  </a:lnTo>
                  <a:lnTo>
                    <a:pt x="0" y="15"/>
                  </a:lnTo>
                  <a:lnTo>
                    <a:pt x="0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1" name="Freeform 371">
              <a:extLst>
                <a:ext uri="{FF2B5EF4-FFF2-40B4-BE49-F238E27FC236}">
                  <a16:creationId xmlns:a16="http://schemas.microsoft.com/office/drawing/2014/main" id="{3E7B002F-5EEE-4761-887A-16C06D8EC0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1176" y="1588514"/>
              <a:ext cx="41275" cy="30163"/>
            </a:xfrm>
            <a:custGeom>
              <a:avLst/>
              <a:gdLst>
                <a:gd name="T0" fmla="*/ 0 w 26"/>
                <a:gd name="T1" fmla="*/ 15 h 19"/>
                <a:gd name="T2" fmla="*/ 26 w 26"/>
                <a:gd name="T3" fmla="*/ 0 h 19"/>
                <a:gd name="T4" fmla="*/ 26 w 26"/>
                <a:gd name="T5" fmla="*/ 4 h 19"/>
                <a:gd name="T6" fmla="*/ 0 w 26"/>
                <a:gd name="T7" fmla="*/ 19 h 19"/>
                <a:gd name="T8" fmla="*/ 0 w 26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9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2"/>
                    <a:pt x="26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7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2" name="Freeform 372">
              <a:extLst>
                <a:ext uri="{FF2B5EF4-FFF2-40B4-BE49-F238E27FC236}">
                  <a16:creationId xmlns:a16="http://schemas.microsoft.com/office/drawing/2014/main" id="{921CEADC-B599-45AE-987C-C3D32B3D7F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1176" y="1594864"/>
              <a:ext cx="41275" cy="30163"/>
            </a:xfrm>
            <a:custGeom>
              <a:avLst/>
              <a:gdLst>
                <a:gd name="T0" fmla="*/ 0 w 26"/>
                <a:gd name="T1" fmla="*/ 15 h 19"/>
                <a:gd name="T2" fmla="*/ 26 w 26"/>
                <a:gd name="T3" fmla="*/ 0 h 19"/>
                <a:gd name="T4" fmla="*/ 26 w 26"/>
                <a:gd name="T5" fmla="*/ 4 h 19"/>
                <a:gd name="T6" fmla="*/ 0 w 26"/>
                <a:gd name="T7" fmla="*/ 19 h 19"/>
                <a:gd name="T8" fmla="*/ 0 w 26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9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2"/>
                    <a:pt x="26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7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3" name="Freeform 373">
              <a:extLst>
                <a:ext uri="{FF2B5EF4-FFF2-40B4-BE49-F238E27FC236}">
                  <a16:creationId xmlns:a16="http://schemas.microsoft.com/office/drawing/2014/main" id="{C84B0765-F4C0-4C69-939E-206B15ADCB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9588" y="1601214"/>
              <a:ext cx="42863" cy="30163"/>
            </a:xfrm>
            <a:custGeom>
              <a:avLst/>
              <a:gdLst>
                <a:gd name="T0" fmla="*/ 1 w 27"/>
                <a:gd name="T1" fmla="*/ 15 h 19"/>
                <a:gd name="T2" fmla="*/ 27 w 27"/>
                <a:gd name="T3" fmla="*/ 0 h 19"/>
                <a:gd name="T4" fmla="*/ 26 w 27"/>
                <a:gd name="T5" fmla="*/ 4 h 19"/>
                <a:gd name="T6" fmla="*/ 0 w 27"/>
                <a:gd name="T7" fmla="*/ 19 h 19"/>
                <a:gd name="T8" fmla="*/ 1 w 27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9">
                  <a:moveTo>
                    <a:pt x="1" y="15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2"/>
                    <a:pt x="26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18"/>
                    <a:pt x="1" y="17"/>
                    <a:pt x="1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4" name="Freeform 374">
              <a:extLst>
                <a:ext uri="{FF2B5EF4-FFF2-40B4-BE49-F238E27FC236}">
                  <a16:creationId xmlns:a16="http://schemas.microsoft.com/office/drawing/2014/main" id="{99EA4E6E-146A-4066-8C96-DCFA2919F8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9588" y="1607564"/>
              <a:ext cx="41275" cy="30163"/>
            </a:xfrm>
            <a:custGeom>
              <a:avLst/>
              <a:gdLst>
                <a:gd name="T0" fmla="*/ 0 w 26"/>
                <a:gd name="T1" fmla="*/ 15 h 19"/>
                <a:gd name="T2" fmla="*/ 26 w 26"/>
                <a:gd name="T3" fmla="*/ 0 h 19"/>
                <a:gd name="T4" fmla="*/ 26 w 26"/>
                <a:gd name="T5" fmla="*/ 4 h 19"/>
                <a:gd name="T6" fmla="*/ 0 w 26"/>
                <a:gd name="T7" fmla="*/ 19 h 19"/>
                <a:gd name="T8" fmla="*/ 0 w 26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9">
                  <a:moveTo>
                    <a:pt x="0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2"/>
                    <a:pt x="26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7"/>
                    <a:pt x="0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5" name="Freeform 375">
              <a:extLst>
                <a:ext uri="{FF2B5EF4-FFF2-40B4-BE49-F238E27FC236}">
                  <a16:creationId xmlns:a16="http://schemas.microsoft.com/office/drawing/2014/main" id="{3F1F0FDE-85CC-496F-8F18-1E9961DF46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8001" y="1613914"/>
              <a:ext cx="42863" cy="30163"/>
            </a:xfrm>
            <a:custGeom>
              <a:avLst/>
              <a:gdLst>
                <a:gd name="T0" fmla="*/ 1 w 27"/>
                <a:gd name="T1" fmla="*/ 15 h 19"/>
                <a:gd name="T2" fmla="*/ 27 w 27"/>
                <a:gd name="T3" fmla="*/ 0 h 19"/>
                <a:gd name="T4" fmla="*/ 26 w 27"/>
                <a:gd name="T5" fmla="*/ 4 h 19"/>
                <a:gd name="T6" fmla="*/ 0 w 27"/>
                <a:gd name="T7" fmla="*/ 19 h 19"/>
                <a:gd name="T8" fmla="*/ 1 w 27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9">
                  <a:moveTo>
                    <a:pt x="1" y="15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6" y="2"/>
                    <a:pt x="26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1" y="17"/>
                    <a:pt x="1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6" name="Freeform 376">
              <a:extLst>
                <a:ext uri="{FF2B5EF4-FFF2-40B4-BE49-F238E27FC236}">
                  <a16:creationId xmlns:a16="http://schemas.microsoft.com/office/drawing/2014/main" id="{8E1E43F1-FD82-4401-A05A-8D38659FF5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6413" y="1620264"/>
              <a:ext cx="42863" cy="31750"/>
            </a:xfrm>
            <a:custGeom>
              <a:avLst/>
              <a:gdLst>
                <a:gd name="T0" fmla="*/ 1 w 27"/>
                <a:gd name="T1" fmla="*/ 15 h 20"/>
                <a:gd name="T2" fmla="*/ 27 w 27"/>
                <a:gd name="T3" fmla="*/ 0 h 20"/>
                <a:gd name="T4" fmla="*/ 26 w 27"/>
                <a:gd name="T5" fmla="*/ 5 h 20"/>
                <a:gd name="T6" fmla="*/ 0 w 27"/>
                <a:gd name="T7" fmla="*/ 20 h 20"/>
                <a:gd name="T8" fmla="*/ 1 w 27"/>
                <a:gd name="T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0">
                  <a:moveTo>
                    <a:pt x="1" y="15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2"/>
                    <a:pt x="26" y="3"/>
                    <a:pt x="26" y="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7"/>
                    <a:pt x="1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7" name="Freeform 377">
              <a:extLst>
                <a:ext uri="{FF2B5EF4-FFF2-40B4-BE49-F238E27FC236}">
                  <a16:creationId xmlns:a16="http://schemas.microsoft.com/office/drawing/2014/main" id="{A8DE441C-C10A-47CF-AA64-35F8F662FF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3238" y="1628201"/>
              <a:ext cx="44450" cy="30163"/>
            </a:xfrm>
            <a:custGeom>
              <a:avLst/>
              <a:gdLst>
                <a:gd name="T0" fmla="*/ 2 w 28"/>
                <a:gd name="T1" fmla="*/ 15 h 19"/>
                <a:gd name="T2" fmla="*/ 28 w 28"/>
                <a:gd name="T3" fmla="*/ 0 h 19"/>
                <a:gd name="T4" fmla="*/ 26 w 28"/>
                <a:gd name="T5" fmla="*/ 4 h 19"/>
                <a:gd name="T6" fmla="*/ 0 w 28"/>
                <a:gd name="T7" fmla="*/ 19 h 19"/>
                <a:gd name="T8" fmla="*/ 2 w 28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" y="15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7" y="1"/>
                    <a:pt x="27" y="3"/>
                    <a:pt x="26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18"/>
                    <a:pt x="1" y="16"/>
                    <a:pt x="2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8" name="Freeform 378">
              <a:extLst>
                <a:ext uri="{FF2B5EF4-FFF2-40B4-BE49-F238E27FC236}">
                  <a16:creationId xmlns:a16="http://schemas.microsoft.com/office/drawing/2014/main" id="{79F6B1C5-21D6-46C4-88E0-9E1128BD90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90063" y="1634551"/>
              <a:ext cx="44450" cy="31750"/>
            </a:xfrm>
            <a:custGeom>
              <a:avLst/>
              <a:gdLst>
                <a:gd name="T0" fmla="*/ 2 w 28"/>
                <a:gd name="T1" fmla="*/ 15 h 20"/>
                <a:gd name="T2" fmla="*/ 28 w 28"/>
                <a:gd name="T3" fmla="*/ 0 h 20"/>
                <a:gd name="T4" fmla="*/ 26 w 28"/>
                <a:gd name="T5" fmla="*/ 5 h 20"/>
                <a:gd name="T6" fmla="*/ 0 w 28"/>
                <a:gd name="T7" fmla="*/ 20 h 20"/>
                <a:gd name="T8" fmla="*/ 2 w 28"/>
                <a:gd name="T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0">
                  <a:moveTo>
                    <a:pt x="2" y="15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2"/>
                    <a:pt x="27" y="3"/>
                    <a:pt x="26" y="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18"/>
                    <a:pt x="2" y="17"/>
                    <a:pt x="2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9" name="Freeform 379">
              <a:extLst>
                <a:ext uri="{FF2B5EF4-FFF2-40B4-BE49-F238E27FC236}">
                  <a16:creationId xmlns:a16="http://schemas.microsoft.com/office/drawing/2014/main" id="{17232B8B-457B-4569-BE37-CC1CEE445D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5301" y="1642489"/>
              <a:ext cx="46038" cy="33338"/>
            </a:xfrm>
            <a:custGeom>
              <a:avLst/>
              <a:gdLst>
                <a:gd name="T0" fmla="*/ 3 w 29"/>
                <a:gd name="T1" fmla="*/ 15 h 21"/>
                <a:gd name="T2" fmla="*/ 29 w 29"/>
                <a:gd name="T3" fmla="*/ 0 h 21"/>
                <a:gd name="T4" fmla="*/ 26 w 29"/>
                <a:gd name="T5" fmla="*/ 5 h 21"/>
                <a:gd name="T6" fmla="*/ 0 w 29"/>
                <a:gd name="T7" fmla="*/ 21 h 21"/>
                <a:gd name="T8" fmla="*/ 3 w 29"/>
                <a:gd name="T9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1">
                  <a:moveTo>
                    <a:pt x="3" y="15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8" y="2"/>
                    <a:pt x="27" y="4"/>
                    <a:pt x="26" y="5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19"/>
                    <a:pt x="2" y="17"/>
                    <a:pt x="3" y="1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0" name="Freeform 380">
              <a:extLst>
                <a:ext uri="{FF2B5EF4-FFF2-40B4-BE49-F238E27FC236}">
                  <a16:creationId xmlns:a16="http://schemas.microsoft.com/office/drawing/2014/main" id="{72C61334-1842-4F19-9706-7CC0600090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63076" y="1650426"/>
              <a:ext cx="63500" cy="47625"/>
            </a:xfrm>
            <a:custGeom>
              <a:avLst/>
              <a:gdLst>
                <a:gd name="T0" fmla="*/ 14 w 40"/>
                <a:gd name="T1" fmla="*/ 16 h 30"/>
                <a:gd name="T2" fmla="*/ 40 w 40"/>
                <a:gd name="T3" fmla="*/ 0 h 30"/>
                <a:gd name="T4" fmla="*/ 26 w 40"/>
                <a:gd name="T5" fmla="*/ 15 h 30"/>
                <a:gd name="T6" fmla="*/ 0 w 40"/>
                <a:gd name="T7" fmla="*/ 30 h 30"/>
                <a:gd name="T8" fmla="*/ 14 w 40"/>
                <a:gd name="T9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0">
                  <a:moveTo>
                    <a:pt x="14" y="16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6" y="7"/>
                    <a:pt x="31" y="11"/>
                    <a:pt x="26" y="15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5" y="26"/>
                    <a:pt x="10" y="22"/>
                    <a:pt x="14" y="16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1" name="Freeform 381">
              <a:extLst>
                <a:ext uri="{FF2B5EF4-FFF2-40B4-BE49-F238E27FC236}">
                  <a16:creationId xmlns:a16="http://schemas.microsoft.com/office/drawing/2014/main" id="{B1423F5D-ED2E-4FBD-A2D3-E598376E1B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93226" y="1167826"/>
              <a:ext cx="41275" cy="285750"/>
            </a:xfrm>
            <a:custGeom>
              <a:avLst/>
              <a:gdLst>
                <a:gd name="T0" fmla="*/ 0 w 26"/>
                <a:gd name="T1" fmla="*/ 15 h 180"/>
                <a:gd name="T2" fmla="*/ 26 w 26"/>
                <a:gd name="T3" fmla="*/ 0 h 180"/>
                <a:gd name="T4" fmla="*/ 26 w 26"/>
                <a:gd name="T5" fmla="*/ 165 h 180"/>
                <a:gd name="T6" fmla="*/ 0 w 26"/>
                <a:gd name="T7" fmla="*/ 180 h 180"/>
                <a:gd name="T8" fmla="*/ 0 w 26"/>
                <a:gd name="T9" fmla="*/ 1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0">
                  <a:moveTo>
                    <a:pt x="0" y="15"/>
                  </a:moveTo>
                  <a:lnTo>
                    <a:pt x="26" y="0"/>
                  </a:lnTo>
                  <a:lnTo>
                    <a:pt x="26" y="165"/>
                  </a:lnTo>
                  <a:lnTo>
                    <a:pt x="0" y="18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2" name="Freeform 382">
              <a:extLst>
                <a:ext uri="{FF2B5EF4-FFF2-40B4-BE49-F238E27FC236}">
                  <a16:creationId xmlns:a16="http://schemas.microsoft.com/office/drawing/2014/main" id="{EB39C2D7-A9E0-41F1-B0B4-FCD07D53CF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45601" y="1139251"/>
              <a:ext cx="88900" cy="52388"/>
            </a:xfrm>
            <a:custGeom>
              <a:avLst/>
              <a:gdLst>
                <a:gd name="T0" fmla="*/ 0 w 56"/>
                <a:gd name="T1" fmla="*/ 15 h 33"/>
                <a:gd name="T2" fmla="*/ 26 w 56"/>
                <a:gd name="T3" fmla="*/ 0 h 33"/>
                <a:gd name="T4" fmla="*/ 56 w 56"/>
                <a:gd name="T5" fmla="*/ 18 h 33"/>
                <a:gd name="T6" fmla="*/ 30 w 56"/>
                <a:gd name="T7" fmla="*/ 33 h 33"/>
                <a:gd name="T8" fmla="*/ 0 w 56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33">
                  <a:moveTo>
                    <a:pt x="0" y="15"/>
                  </a:moveTo>
                  <a:lnTo>
                    <a:pt x="26" y="0"/>
                  </a:lnTo>
                  <a:lnTo>
                    <a:pt x="56" y="18"/>
                  </a:lnTo>
                  <a:lnTo>
                    <a:pt x="30" y="33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3" name="Freeform 383">
              <a:extLst>
                <a:ext uri="{FF2B5EF4-FFF2-40B4-BE49-F238E27FC236}">
                  <a16:creationId xmlns:a16="http://schemas.microsoft.com/office/drawing/2014/main" id="{2B773233-9646-4302-939B-D0551D37A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36063" y="1163064"/>
              <a:ext cx="265113" cy="566738"/>
            </a:xfrm>
            <a:custGeom>
              <a:avLst/>
              <a:gdLst>
                <a:gd name="T0" fmla="*/ 99 w 167"/>
                <a:gd name="T1" fmla="*/ 18 h 358"/>
                <a:gd name="T2" fmla="*/ 99 w 167"/>
                <a:gd name="T3" fmla="*/ 183 h 358"/>
                <a:gd name="T4" fmla="*/ 84 w 167"/>
                <a:gd name="T5" fmla="*/ 174 h 358"/>
                <a:gd name="T6" fmla="*/ 30 w 167"/>
                <a:gd name="T7" fmla="*/ 204 h 358"/>
                <a:gd name="T8" fmla="*/ 83 w 167"/>
                <a:gd name="T9" fmla="*/ 296 h 358"/>
                <a:gd name="T10" fmla="*/ 137 w 167"/>
                <a:gd name="T11" fmla="*/ 266 h 358"/>
                <a:gd name="T12" fmla="*/ 167 w 167"/>
                <a:gd name="T13" fmla="*/ 283 h 358"/>
                <a:gd name="T14" fmla="*/ 83 w 167"/>
                <a:gd name="T15" fmla="*/ 331 h 358"/>
                <a:gd name="T16" fmla="*/ 0 w 167"/>
                <a:gd name="T17" fmla="*/ 187 h 358"/>
                <a:gd name="T18" fmla="*/ 69 w 167"/>
                <a:gd name="T19" fmla="*/ 132 h 358"/>
                <a:gd name="T20" fmla="*/ 69 w 167"/>
                <a:gd name="T21" fmla="*/ 0 h 358"/>
                <a:gd name="T22" fmla="*/ 99 w 167"/>
                <a:gd name="T23" fmla="*/ 18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7" h="358">
                  <a:moveTo>
                    <a:pt x="99" y="18"/>
                  </a:moveTo>
                  <a:cubicBezTo>
                    <a:pt x="99" y="183"/>
                    <a:pt x="99" y="183"/>
                    <a:pt x="99" y="183"/>
                  </a:cubicBezTo>
                  <a:cubicBezTo>
                    <a:pt x="84" y="174"/>
                    <a:pt x="84" y="174"/>
                    <a:pt x="84" y="174"/>
                  </a:cubicBezTo>
                  <a:cubicBezTo>
                    <a:pt x="54" y="157"/>
                    <a:pt x="31" y="171"/>
                    <a:pt x="30" y="204"/>
                  </a:cubicBezTo>
                  <a:cubicBezTo>
                    <a:pt x="30" y="238"/>
                    <a:pt x="54" y="279"/>
                    <a:pt x="83" y="296"/>
                  </a:cubicBezTo>
                  <a:cubicBezTo>
                    <a:pt x="113" y="313"/>
                    <a:pt x="137" y="299"/>
                    <a:pt x="137" y="266"/>
                  </a:cubicBezTo>
                  <a:cubicBezTo>
                    <a:pt x="167" y="283"/>
                    <a:pt x="167" y="283"/>
                    <a:pt x="167" y="283"/>
                  </a:cubicBezTo>
                  <a:cubicBezTo>
                    <a:pt x="167" y="336"/>
                    <a:pt x="129" y="358"/>
                    <a:pt x="83" y="331"/>
                  </a:cubicBezTo>
                  <a:cubicBezTo>
                    <a:pt x="37" y="304"/>
                    <a:pt x="0" y="240"/>
                    <a:pt x="0" y="187"/>
                  </a:cubicBezTo>
                  <a:cubicBezTo>
                    <a:pt x="0" y="140"/>
                    <a:pt x="30" y="118"/>
                    <a:pt x="69" y="132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99" y="18"/>
                  </a:lnTo>
                  <a:close/>
                </a:path>
              </a:pathLst>
            </a:custGeom>
            <a:solidFill>
              <a:srgbClr val="789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4" name="Freeform 384">
              <a:extLst>
                <a:ext uri="{FF2B5EF4-FFF2-40B4-BE49-F238E27FC236}">
                  <a16:creationId xmlns:a16="http://schemas.microsoft.com/office/drawing/2014/main" id="{1EFEAD91-B0A8-427E-992E-EAE35CE554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7888" y="5331839"/>
              <a:ext cx="311150" cy="365125"/>
            </a:xfrm>
            <a:custGeom>
              <a:avLst/>
              <a:gdLst>
                <a:gd name="T0" fmla="*/ 0 w 196"/>
                <a:gd name="T1" fmla="*/ 114 h 230"/>
                <a:gd name="T2" fmla="*/ 196 w 196"/>
                <a:gd name="T3" fmla="*/ 0 h 230"/>
                <a:gd name="T4" fmla="*/ 196 w 196"/>
                <a:gd name="T5" fmla="*/ 116 h 230"/>
                <a:gd name="T6" fmla="*/ 0 w 196"/>
                <a:gd name="T7" fmla="*/ 230 h 230"/>
                <a:gd name="T8" fmla="*/ 0 w 196"/>
                <a:gd name="T9" fmla="*/ 11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230">
                  <a:moveTo>
                    <a:pt x="0" y="114"/>
                  </a:moveTo>
                  <a:lnTo>
                    <a:pt x="196" y="0"/>
                  </a:lnTo>
                  <a:lnTo>
                    <a:pt x="196" y="116"/>
                  </a:lnTo>
                  <a:lnTo>
                    <a:pt x="0" y="230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5" name="Freeform 385">
              <a:extLst>
                <a:ext uri="{FF2B5EF4-FFF2-40B4-BE49-F238E27FC236}">
                  <a16:creationId xmlns:a16="http://schemas.microsoft.com/office/drawing/2014/main" id="{1CB9AC4C-2B12-47B7-90BB-BE3CEEFD22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79101" y="5068314"/>
              <a:ext cx="769938" cy="444500"/>
            </a:xfrm>
            <a:custGeom>
              <a:avLst/>
              <a:gdLst>
                <a:gd name="T0" fmla="*/ 0 w 485"/>
                <a:gd name="T1" fmla="*/ 113 h 280"/>
                <a:gd name="T2" fmla="*/ 196 w 485"/>
                <a:gd name="T3" fmla="*/ 0 h 280"/>
                <a:gd name="T4" fmla="*/ 485 w 485"/>
                <a:gd name="T5" fmla="*/ 166 h 280"/>
                <a:gd name="T6" fmla="*/ 289 w 485"/>
                <a:gd name="T7" fmla="*/ 280 h 280"/>
                <a:gd name="T8" fmla="*/ 0 w 485"/>
                <a:gd name="T9" fmla="*/ 11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5" h="280">
                  <a:moveTo>
                    <a:pt x="0" y="113"/>
                  </a:moveTo>
                  <a:lnTo>
                    <a:pt x="196" y="0"/>
                  </a:lnTo>
                  <a:lnTo>
                    <a:pt x="485" y="166"/>
                  </a:lnTo>
                  <a:lnTo>
                    <a:pt x="289" y="280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26A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6" name="Freeform 386">
              <a:extLst>
                <a:ext uri="{FF2B5EF4-FFF2-40B4-BE49-F238E27FC236}">
                  <a16:creationId xmlns:a16="http://schemas.microsoft.com/office/drawing/2014/main" id="{48D2DAE2-E2E6-49DB-9123-B1A0EB5FD2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79101" y="5247701"/>
              <a:ext cx="458788" cy="449263"/>
            </a:xfrm>
            <a:custGeom>
              <a:avLst/>
              <a:gdLst>
                <a:gd name="T0" fmla="*/ 289 w 289"/>
                <a:gd name="T1" fmla="*/ 167 h 283"/>
                <a:gd name="T2" fmla="*/ 289 w 289"/>
                <a:gd name="T3" fmla="*/ 283 h 283"/>
                <a:gd name="T4" fmla="*/ 0 w 289"/>
                <a:gd name="T5" fmla="*/ 116 h 283"/>
                <a:gd name="T6" fmla="*/ 0 w 289"/>
                <a:gd name="T7" fmla="*/ 0 h 283"/>
                <a:gd name="T8" fmla="*/ 289 w 289"/>
                <a:gd name="T9" fmla="*/ 16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" h="283">
                  <a:moveTo>
                    <a:pt x="289" y="167"/>
                  </a:moveTo>
                  <a:lnTo>
                    <a:pt x="289" y="283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289" y="167"/>
                  </a:lnTo>
                  <a:close/>
                </a:path>
              </a:pathLst>
            </a:custGeom>
            <a:solidFill>
              <a:srgbClr val="008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7" name="Freeform 387">
              <a:extLst>
                <a:ext uri="{FF2B5EF4-FFF2-40B4-BE49-F238E27FC236}">
                  <a16:creationId xmlns:a16="http://schemas.microsoft.com/office/drawing/2014/main" id="{B55F5EE6-44DD-423C-A667-181D478174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8913" y="882076"/>
              <a:ext cx="1868488" cy="1077913"/>
            </a:xfrm>
            <a:custGeom>
              <a:avLst/>
              <a:gdLst>
                <a:gd name="T0" fmla="*/ 0 w 1177"/>
                <a:gd name="T1" fmla="*/ 34 h 679"/>
                <a:gd name="T2" fmla="*/ 59 w 1177"/>
                <a:gd name="T3" fmla="*/ 0 h 679"/>
                <a:gd name="T4" fmla="*/ 1177 w 1177"/>
                <a:gd name="T5" fmla="*/ 645 h 679"/>
                <a:gd name="T6" fmla="*/ 1118 w 1177"/>
                <a:gd name="T7" fmla="*/ 679 h 679"/>
                <a:gd name="T8" fmla="*/ 0 w 1177"/>
                <a:gd name="T9" fmla="*/ 34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7" h="679">
                  <a:moveTo>
                    <a:pt x="0" y="34"/>
                  </a:moveTo>
                  <a:lnTo>
                    <a:pt x="59" y="0"/>
                  </a:lnTo>
                  <a:lnTo>
                    <a:pt x="1177" y="645"/>
                  </a:lnTo>
                  <a:lnTo>
                    <a:pt x="1118" y="679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80C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8" name="Freeform 388">
              <a:extLst>
                <a:ext uri="{FF2B5EF4-FFF2-40B4-BE49-F238E27FC236}">
                  <a16:creationId xmlns:a16="http://schemas.microsoft.com/office/drawing/2014/main" id="{5A651FCB-D63C-4CC4-97EF-4F626132E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53738" y="2045714"/>
              <a:ext cx="246063" cy="142875"/>
            </a:xfrm>
            <a:custGeom>
              <a:avLst/>
              <a:gdLst>
                <a:gd name="T0" fmla="*/ 0 w 155"/>
                <a:gd name="T1" fmla="*/ 34 h 90"/>
                <a:gd name="T2" fmla="*/ 59 w 155"/>
                <a:gd name="T3" fmla="*/ 0 h 90"/>
                <a:gd name="T4" fmla="*/ 155 w 155"/>
                <a:gd name="T5" fmla="*/ 56 h 90"/>
                <a:gd name="T6" fmla="*/ 96 w 155"/>
                <a:gd name="T7" fmla="*/ 90 h 90"/>
                <a:gd name="T8" fmla="*/ 0 w 155"/>
                <a:gd name="T9" fmla="*/ 3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90">
                  <a:moveTo>
                    <a:pt x="0" y="34"/>
                  </a:moveTo>
                  <a:lnTo>
                    <a:pt x="59" y="0"/>
                  </a:lnTo>
                  <a:lnTo>
                    <a:pt x="155" y="56"/>
                  </a:lnTo>
                  <a:lnTo>
                    <a:pt x="96" y="9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94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9" name="Freeform 389">
              <a:extLst>
                <a:ext uri="{FF2B5EF4-FFF2-40B4-BE49-F238E27FC236}">
                  <a16:creationId xmlns:a16="http://schemas.microsoft.com/office/drawing/2014/main" id="{4C02FFA6-1243-4E87-BFB4-CBB8A00066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44213" y="2099689"/>
              <a:ext cx="161925" cy="3284538"/>
            </a:xfrm>
            <a:custGeom>
              <a:avLst/>
              <a:gdLst>
                <a:gd name="T0" fmla="*/ 0 w 102"/>
                <a:gd name="T1" fmla="*/ 2013 h 2069"/>
                <a:gd name="T2" fmla="*/ 6 w 102"/>
                <a:gd name="T3" fmla="*/ 0 h 2069"/>
                <a:gd name="T4" fmla="*/ 102 w 102"/>
                <a:gd name="T5" fmla="*/ 56 h 2069"/>
                <a:gd name="T6" fmla="*/ 97 w 102"/>
                <a:gd name="T7" fmla="*/ 2069 h 2069"/>
                <a:gd name="T8" fmla="*/ 0 w 102"/>
                <a:gd name="T9" fmla="*/ 2013 h 2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2069">
                  <a:moveTo>
                    <a:pt x="0" y="2013"/>
                  </a:moveTo>
                  <a:lnTo>
                    <a:pt x="6" y="0"/>
                  </a:lnTo>
                  <a:lnTo>
                    <a:pt x="102" y="56"/>
                  </a:lnTo>
                  <a:lnTo>
                    <a:pt x="97" y="2069"/>
                  </a:lnTo>
                  <a:lnTo>
                    <a:pt x="0" y="2013"/>
                  </a:ln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0" name="Freeform 390">
              <a:extLst>
                <a:ext uri="{FF2B5EF4-FFF2-40B4-BE49-F238E27FC236}">
                  <a16:creationId xmlns:a16="http://schemas.microsoft.com/office/drawing/2014/main" id="{9D3AEFC8-3964-458F-95CA-E5BC0FB33C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53738" y="1906014"/>
              <a:ext cx="246063" cy="142875"/>
            </a:xfrm>
            <a:custGeom>
              <a:avLst/>
              <a:gdLst>
                <a:gd name="T0" fmla="*/ 0 w 155"/>
                <a:gd name="T1" fmla="*/ 34 h 90"/>
                <a:gd name="T2" fmla="*/ 59 w 155"/>
                <a:gd name="T3" fmla="*/ 0 h 90"/>
                <a:gd name="T4" fmla="*/ 155 w 155"/>
                <a:gd name="T5" fmla="*/ 55 h 90"/>
                <a:gd name="T6" fmla="*/ 97 w 155"/>
                <a:gd name="T7" fmla="*/ 90 h 90"/>
                <a:gd name="T8" fmla="*/ 0 w 155"/>
                <a:gd name="T9" fmla="*/ 3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90">
                  <a:moveTo>
                    <a:pt x="0" y="34"/>
                  </a:moveTo>
                  <a:lnTo>
                    <a:pt x="59" y="0"/>
                  </a:lnTo>
                  <a:lnTo>
                    <a:pt x="155" y="55"/>
                  </a:lnTo>
                  <a:lnTo>
                    <a:pt x="97" y="9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94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1" name="Freeform 391">
              <a:extLst>
                <a:ext uri="{FF2B5EF4-FFF2-40B4-BE49-F238E27FC236}">
                  <a16:creationId xmlns:a16="http://schemas.microsoft.com/office/drawing/2014/main" id="{E6D71438-6BD8-4EA6-8F47-42E7C07391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8913" y="936051"/>
              <a:ext cx="1928813" cy="1252538"/>
            </a:xfrm>
            <a:custGeom>
              <a:avLst/>
              <a:gdLst>
                <a:gd name="T0" fmla="*/ 1215 w 1215"/>
                <a:gd name="T1" fmla="*/ 701 h 789"/>
                <a:gd name="T2" fmla="*/ 1214 w 1215"/>
                <a:gd name="T3" fmla="*/ 789 h 789"/>
                <a:gd name="T4" fmla="*/ 1118 w 1215"/>
                <a:gd name="T5" fmla="*/ 733 h 789"/>
                <a:gd name="T6" fmla="*/ 0 w 1215"/>
                <a:gd name="T7" fmla="*/ 89 h 789"/>
                <a:gd name="T8" fmla="*/ 0 w 1215"/>
                <a:gd name="T9" fmla="*/ 0 h 789"/>
                <a:gd name="T10" fmla="*/ 1118 w 1215"/>
                <a:gd name="T11" fmla="*/ 645 h 789"/>
                <a:gd name="T12" fmla="*/ 1215 w 1215"/>
                <a:gd name="T13" fmla="*/ 701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5" h="789">
                  <a:moveTo>
                    <a:pt x="1215" y="701"/>
                  </a:moveTo>
                  <a:lnTo>
                    <a:pt x="1214" y="789"/>
                  </a:lnTo>
                  <a:lnTo>
                    <a:pt x="1118" y="733"/>
                  </a:lnTo>
                  <a:lnTo>
                    <a:pt x="0" y="89"/>
                  </a:lnTo>
                  <a:lnTo>
                    <a:pt x="0" y="0"/>
                  </a:lnTo>
                  <a:lnTo>
                    <a:pt x="1118" y="645"/>
                  </a:lnTo>
                  <a:lnTo>
                    <a:pt x="1215" y="701"/>
                  </a:ln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2" name="Freeform 392">
              <a:extLst>
                <a:ext uri="{FF2B5EF4-FFF2-40B4-BE49-F238E27FC236}">
                  <a16:creationId xmlns:a16="http://schemas.microsoft.com/office/drawing/2014/main" id="{4CB5942B-AF5D-4384-BE99-3F12BD798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55326" y="1683764"/>
              <a:ext cx="246063" cy="115888"/>
            </a:xfrm>
            <a:custGeom>
              <a:avLst/>
              <a:gdLst>
                <a:gd name="T0" fmla="*/ 0 w 155"/>
                <a:gd name="T1" fmla="*/ 73 h 73"/>
                <a:gd name="T2" fmla="*/ 58 w 155"/>
                <a:gd name="T3" fmla="*/ 39 h 73"/>
                <a:gd name="T4" fmla="*/ 155 w 155"/>
                <a:gd name="T5" fmla="*/ 0 h 73"/>
                <a:gd name="T6" fmla="*/ 96 w 155"/>
                <a:gd name="T7" fmla="*/ 34 h 73"/>
                <a:gd name="T8" fmla="*/ 0 w 155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73">
                  <a:moveTo>
                    <a:pt x="0" y="73"/>
                  </a:moveTo>
                  <a:lnTo>
                    <a:pt x="58" y="39"/>
                  </a:lnTo>
                  <a:lnTo>
                    <a:pt x="155" y="0"/>
                  </a:lnTo>
                  <a:lnTo>
                    <a:pt x="96" y="34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26A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3" name="Freeform 393">
              <a:extLst>
                <a:ext uri="{FF2B5EF4-FFF2-40B4-BE49-F238E27FC236}">
                  <a16:creationId xmlns:a16="http://schemas.microsoft.com/office/drawing/2014/main" id="{2820ACE2-65DA-4481-AA66-C9F474D3B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8201" y="1993326"/>
              <a:ext cx="101600" cy="3390900"/>
            </a:xfrm>
            <a:custGeom>
              <a:avLst/>
              <a:gdLst>
                <a:gd name="T0" fmla="*/ 5 w 64"/>
                <a:gd name="T1" fmla="*/ 123 h 2136"/>
                <a:gd name="T2" fmla="*/ 5 w 64"/>
                <a:gd name="T3" fmla="*/ 123 h 2136"/>
                <a:gd name="T4" fmla="*/ 0 w 64"/>
                <a:gd name="T5" fmla="*/ 2136 h 2136"/>
                <a:gd name="T6" fmla="*/ 58 w 64"/>
                <a:gd name="T7" fmla="*/ 2101 h 2136"/>
                <a:gd name="T8" fmla="*/ 64 w 64"/>
                <a:gd name="T9" fmla="*/ 89 h 2136"/>
                <a:gd name="T10" fmla="*/ 64 w 64"/>
                <a:gd name="T11" fmla="*/ 0 h 2136"/>
                <a:gd name="T12" fmla="*/ 6 w 64"/>
                <a:gd name="T13" fmla="*/ 35 h 2136"/>
                <a:gd name="T14" fmla="*/ 5 w 64"/>
                <a:gd name="T15" fmla="*/ 123 h 2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2136">
                  <a:moveTo>
                    <a:pt x="5" y="123"/>
                  </a:moveTo>
                  <a:lnTo>
                    <a:pt x="5" y="123"/>
                  </a:lnTo>
                  <a:lnTo>
                    <a:pt x="0" y="2136"/>
                  </a:lnTo>
                  <a:lnTo>
                    <a:pt x="58" y="2101"/>
                  </a:lnTo>
                  <a:lnTo>
                    <a:pt x="64" y="89"/>
                  </a:lnTo>
                  <a:lnTo>
                    <a:pt x="64" y="0"/>
                  </a:lnTo>
                  <a:lnTo>
                    <a:pt x="6" y="35"/>
                  </a:lnTo>
                  <a:lnTo>
                    <a:pt x="5" y="123"/>
                  </a:lnTo>
                  <a:close/>
                </a:path>
              </a:pathLst>
            </a:custGeom>
            <a:solidFill>
              <a:srgbClr val="80C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4" name="Freeform 394">
              <a:extLst>
                <a:ext uri="{FF2B5EF4-FFF2-40B4-BE49-F238E27FC236}">
                  <a16:creationId xmlns:a16="http://schemas.microsoft.com/office/drawing/2014/main" id="{FC83EA22-7D09-4C8A-864E-06243E3FB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7726" y="1683764"/>
              <a:ext cx="93663" cy="365125"/>
            </a:xfrm>
            <a:custGeom>
              <a:avLst/>
              <a:gdLst>
                <a:gd name="T0" fmla="*/ 59 w 59"/>
                <a:gd name="T1" fmla="*/ 0 h 230"/>
                <a:gd name="T2" fmla="*/ 0 w 59"/>
                <a:gd name="T3" fmla="*/ 34 h 230"/>
                <a:gd name="T4" fmla="*/ 0 w 59"/>
                <a:gd name="T5" fmla="*/ 230 h 230"/>
                <a:gd name="T6" fmla="*/ 58 w 59"/>
                <a:gd name="T7" fmla="*/ 195 h 230"/>
                <a:gd name="T8" fmla="*/ 59 w 59"/>
                <a:gd name="T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30">
                  <a:moveTo>
                    <a:pt x="59" y="0"/>
                  </a:moveTo>
                  <a:lnTo>
                    <a:pt x="0" y="34"/>
                  </a:lnTo>
                  <a:lnTo>
                    <a:pt x="0" y="230"/>
                  </a:lnTo>
                  <a:lnTo>
                    <a:pt x="58" y="195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80C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5" name="Freeform 395">
              <a:extLst>
                <a:ext uri="{FF2B5EF4-FFF2-40B4-BE49-F238E27FC236}">
                  <a16:creationId xmlns:a16="http://schemas.microsoft.com/office/drawing/2014/main" id="{5C482D2C-750D-4FE5-8544-2350C6BDDC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53738" y="1737739"/>
              <a:ext cx="153988" cy="311150"/>
            </a:xfrm>
            <a:custGeom>
              <a:avLst/>
              <a:gdLst>
                <a:gd name="T0" fmla="*/ 1 w 97"/>
                <a:gd name="T1" fmla="*/ 39 h 196"/>
                <a:gd name="T2" fmla="*/ 97 w 97"/>
                <a:gd name="T3" fmla="*/ 0 h 196"/>
                <a:gd name="T4" fmla="*/ 97 w 97"/>
                <a:gd name="T5" fmla="*/ 196 h 196"/>
                <a:gd name="T6" fmla="*/ 0 w 97"/>
                <a:gd name="T7" fmla="*/ 140 h 196"/>
                <a:gd name="T8" fmla="*/ 1 w 97"/>
                <a:gd name="T9" fmla="*/ 3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96">
                  <a:moveTo>
                    <a:pt x="1" y="39"/>
                  </a:moveTo>
                  <a:lnTo>
                    <a:pt x="97" y="0"/>
                  </a:lnTo>
                  <a:lnTo>
                    <a:pt x="97" y="196"/>
                  </a:lnTo>
                  <a:lnTo>
                    <a:pt x="0" y="140"/>
                  </a:lnTo>
                  <a:lnTo>
                    <a:pt x="1" y="39"/>
                  </a:ln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6" name="Freeform 396">
              <a:extLst>
                <a:ext uri="{FF2B5EF4-FFF2-40B4-BE49-F238E27FC236}">
                  <a16:creationId xmlns:a16="http://schemas.microsoft.com/office/drawing/2014/main" id="{65049E0C-6C29-4DD2-9879-1188ED343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50451" y="2741039"/>
              <a:ext cx="409575" cy="749300"/>
            </a:xfrm>
            <a:custGeom>
              <a:avLst/>
              <a:gdLst>
                <a:gd name="T0" fmla="*/ 53 w 258"/>
                <a:gd name="T1" fmla="*/ 45 h 473"/>
                <a:gd name="T2" fmla="*/ 131 w 258"/>
                <a:gd name="T3" fmla="*/ 0 h 473"/>
                <a:gd name="T4" fmla="*/ 78 w 258"/>
                <a:gd name="T5" fmla="*/ 116 h 473"/>
                <a:gd name="T6" fmla="*/ 258 w 258"/>
                <a:gd name="T7" fmla="*/ 428 h 473"/>
                <a:gd name="T8" fmla="*/ 181 w 258"/>
                <a:gd name="T9" fmla="*/ 473 h 473"/>
                <a:gd name="T10" fmla="*/ 1 w 258"/>
                <a:gd name="T11" fmla="*/ 161 h 473"/>
                <a:gd name="T12" fmla="*/ 53 w 258"/>
                <a:gd name="T13" fmla="*/ 45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" h="473">
                  <a:moveTo>
                    <a:pt x="53" y="45"/>
                  </a:moveTo>
                  <a:cubicBezTo>
                    <a:pt x="131" y="0"/>
                    <a:pt x="131" y="0"/>
                    <a:pt x="131" y="0"/>
                  </a:cubicBezTo>
                  <a:cubicBezTo>
                    <a:pt x="98" y="19"/>
                    <a:pt x="78" y="59"/>
                    <a:pt x="78" y="116"/>
                  </a:cubicBezTo>
                  <a:cubicBezTo>
                    <a:pt x="78" y="231"/>
                    <a:pt x="158" y="370"/>
                    <a:pt x="258" y="428"/>
                  </a:cubicBezTo>
                  <a:cubicBezTo>
                    <a:pt x="181" y="473"/>
                    <a:pt x="181" y="473"/>
                    <a:pt x="181" y="473"/>
                  </a:cubicBezTo>
                  <a:cubicBezTo>
                    <a:pt x="81" y="415"/>
                    <a:pt x="0" y="276"/>
                    <a:pt x="1" y="161"/>
                  </a:cubicBezTo>
                  <a:cubicBezTo>
                    <a:pt x="1" y="104"/>
                    <a:pt x="21" y="64"/>
                    <a:pt x="53" y="45"/>
                  </a:cubicBezTo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7" name="Freeform 397">
              <a:extLst>
                <a:ext uri="{FF2B5EF4-FFF2-40B4-BE49-F238E27FC236}">
                  <a16:creationId xmlns:a16="http://schemas.microsoft.com/office/drawing/2014/main" id="{384EDDD4-D86F-45AA-BCED-EB907F5812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7788" y="3418901"/>
              <a:ext cx="327025" cy="122238"/>
            </a:xfrm>
            <a:custGeom>
              <a:avLst/>
              <a:gdLst>
                <a:gd name="T0" fmla="*/ 206 w 206"/>
                <a:gd name="T1" fmla="*/ 13 h 77"/>
                <a:gd name="T2" fmla="*/ 128 w 206"/>
                <a:gd name="T3" fmla="*/ 58 h 77"/>
                <a:gd name="T4" fmla="*/ 0 w 206"/>
                <a:gd name="T5" fmla="*/ 45 h 77"/>
                <a:gd name="T6" fmla="*/ 77 w 206"/>
                <a:gd name="T7" fmla="*/ 0 h 77"/>
                <a:gd name="T8" fmla="*/ 206 w 206"/>
                <a:gd name="T9" fmla="*/ 1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77">
                  <a:moveTo>
                    <a:pt x="206" y="13"/>
                  </a:moveTo>
                  <a:cubicBezTo>
                    <a:pt x="128" y="58"/>
                    <a:pt x="128" y="58"/>
                    <a:pt x="128" y="58"/>
                  </a:cubicBezTo>
                  <a:cubicBezTo>
                    <a:pt x="96" y="77"/>
                    <a:pt x="50" y="74"/>
                    <a:pt x="0" y="45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27" y="29"/>
                    <a:pt x="173" y="32"/>
                    <a:pt x="206" y="13"/>
                  </a:cubicBezTo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8" name="Freeform 398">
              <a:extLst>
                <a:ext uri="{FF2B5EF4-FFF2-40B4-BE49-F238E27FC236}">
                  <a16:creationId xmlns:a16="http://schemas.microsoft.com/office/drawing/2014/main" id="{B32FE350-B4A0-42C2-8B48-5D191B16E2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34588" y="2710876"/>
              <a:ext cx="327025" cy="122238"/>
            </a:xfrm>
            <a:custGeom>
              <a:avLst/>
              <a:gdLst>
                <a:gd name="T0" fmla="*/ 78 w 206"/>
                <a:gd name="T1" fmla="*/ 19 h 77"/>
                <a:gd name="T2" fmla="*/ 206 w 206"/>
                <a:gd name="T3" fmla="*/ 32 h 77"/>
                <a:gd name="T4" fmla="*/ 129 w 206"/>
                <a:gd name="T5" fmla="*/ 77 h 77"/>
                <a:gd name="T6" fmla="*/ 0 w 206"/>
                <a:gd name="T7" fmla="*/ 64 h 77"/>
                <a:gd name="T8" fmla="*/ 78 w 206"/>
                <a:gd name="T9" fmla="*/ 1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77">
                  <a:moveTo>
                    <a:pt x="78" y="19"/>
                  </a:moveTo>
                  <a:cubicBezTo>
                    <a:pt x="111" y="0"/>
                    <a:pt x="156" y="3"/>
                    <a:pt x="206" y="32"/>
                  </a:cubicBezTo>
                  <a:cubicBezTo>
                    <a:pt x="129" y="77"/>
                    <a:pt x="129" y="77"/>
                    <a:pt x="129" y="77"/>
                  </a:cubicBezTo>
                  <a:cubicBezTo>
                    <a:pt x="79" y="48"/>
                    <a:pt x="33" y="45"/>
                    <a:pt x="0" y="64"/>
                  </a:cubicBezTo>
                  <a:cubicBezTo>
                    <a:pt x="24" y="51"/>
                    <a:pt x="54" y="33"/>
                    <a:pt x="78" y="19"/>
                  </a:cubicBezTo>
                </a:path>
              </a:pathLst>
            </a:custGeom>
            <a:solidFill>
              <a:srgbClr val="B2DF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9" name="Freeform 399">
              <a:extLst>
                <a:ext uri="{FF2B5EF4-FFF2-40B4-BE49-F238E27FC236}">
                  <a16:creationId xmlns:a16="http://schemas.microsoft.com/office/drawing/2014/main" id="{F04BF1F6-311F-4CFD-BF96-81F113AF6E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9376" y="2761676"/>
              <a:ext cx="282575" cy="217488"/>
            </a:xfrm>
            <a:custGeom>
              <a:avLst/>
              <a:gdLst>
                <a:gd name="T0" fmla="*/ 77 w 178"/>
                <a:gd name="T1" fmla="*/ 0 h 138"/>
                <a:gd name="T2" fmla="*/ 178 w 178"/>
                <a:gd name="T3" fmla="*/ 94 h 138"/>
                <a:gd name="T4" fmla="*/ 101 w 178"/>
                <a:gd name="T5" fmla="*/ 138 h 138"/>
                <a:gd name="T6" fmla="*/ 0 w 178"/>
                <a:gd name="T7" fmla="*/ 45 h 138"/>
                <a:gd name="T8" fmla="*/ 77 w 178"/>
                <a:gd name="T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138">
                  <a:moveTo>
                    <a:pt x="77" y="0"/>
                  </a:moveTo>
                  <a:cubicBezTo>
                    <a:pt x="115" y="21"/>
                    <a:pt x="149" y="55"/>
                    <a:pt x="178" y="94"/>
                  </a:cubicBezTo>
                  <a:cubicBezTo>
                    <a:pt x="152" y="109"/>
                    <a:pt x="127" y="123"/>
                    <a:pt x="101" y="138"/>
                  </a:cubicBezTo>
                  <a:cubicBezTo>
                    <a:pt x="72" y="99"/>
                    <a:pt x="37" y="66"/>
                    <a:pt x="0" y="45"/>
                  </a:cubicBezTo>
                  <a:cubicBezTo>
                    <a:pt x="23" y="31"/>
                    <a:pt x="54" y="13"/>
                    <a:pt x="77" y="0"/>
                  </a:cubicBezTo>
                </a:path>
              </a:pathLst>
            </a:custGeom>
            <a:solidFill>
              <a:srgbClr val="B2DF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0" name="Freeform 400">
              <a:extLst>
                <a:ext uri="{FF2B5EF4-FFF2-40B4-BE49-F238E27FC236}">
                  <a16:creationId xmlns:a16="http://schemas.microsoft.com/office/drawing/2014/main" id="{CAC739A9-AD3E-41E1-A383-453DA1B72C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9713" y="2909314"/>
              <a:ext cx="249238" cy="601663"/>
            </a:xfrm>
            <a:custGeom>
              <a:avLst/>
              <a:gdLst>
                <a:gd name="T0" fmla="*/ 156 w 157"/>
                <a:gd name="T1" fmla="*/ 218 h 379"/>
                <a:gd name="T2" fmla="*/ 104 w 157"/>
                <a:gd name="T3" fmla="*/ 334 h 379"/>
                <a:gd name="T4" fmla="*/ 26 w 157"/>
                <a:gd name="T5" fmla="*/ 379 h 379"/>
                <a:gd name="T6" fmla="*/ 79 w 157"/>
                <a:gd name="T7" fmla="*/ 263 h 379"/>
                <a:gd name="T8" fmla="*/ 0 w 157"/>
                <a:gd name="T9" fmla="*/ 44 h 379"/>
                <a:gd name="T10" fmla="*/ 77 w 157"/>
                <a:gd name="T11" fmla="*/ 0 h 379"/>
                <a:gd name="T12" fmla="*/ 156 w 157"/>
                <a:gd name="T13" fmla="*/ 218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379">
                  <a:moveTo>
                    <a:pt x="156" y="218"/>
                  </a:moveTo>
                  <a:cubicBezTo>
                    <a:pt x="156" y="275"/>
                    <a:pt x="136" y="315"/>
                    <a:pt x="104" y="334"/>
                  </a:cubicBezTo>
                  <a:cubicBezTo>
                    <a:pt x="26" y="379"/>
                    <a:pt x="26" y="379"/>
                    <a:pt x="26" y="379"/>
                  </a:cubicBezTo>
                  <a:cubicBezTo>
                    <a:pt x="59" y="360"/>
                    <a:pt x="79" y="320"/>
                    <a:pt x="79" y="263"/>
                  </a:cubicBezTo>
                  <a:cubicBezTo>
                    <a:pt x="79" y="191"/>
                    <a:pt x="48" y="110"/>
                    <a:pt x="0" y="44"/>
                  </a:cubicBezTo>
                  <a:cubicBezTo>
                    <a:pt x="26" y="29"/>
                    <a:pt x="51" y="15"/>
                    <a:pt x="77" y="0"/>
                  </a:cubicBezTo>
                  <a:cubicBezTo>
                    <a:pt x="125" y="65"/>
                    <a:pt x="157" y="146"/>
                    <a:pt x="156" y="218"/>
                  </a:cubicBezTo>
                </a:path>
              </a:pathLst>
            </a:custGeom>
            <a:solidFill>
              <a:srgbClr val="B2DF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1" name="Freeform 401">
              <a:extLst>
                <a:ext uri="{FF2B5EF4-FFF2-40B4-BE49-F238E27FC236}">
                  <a16:creationId xmlns:a16="http://schemas.microsoft.com/office/drawing/2014/main" id="{FC16C746-54B8-4B1A-88C5-54EC61B30D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2426" y="3253801"/>
              <a:ext cx="234950" cy="377825"/>
            </a:xfrm>
            <a:custGeom>
              <a:avLst/>
              <a:gdLst>
                <a:gd name="T0" fmla="*/ 77 w 148"/>
                <a:gd name="T1" fmla="*/ 193 h 238"/>
                <a:gd name="T2" fmla="*/ 0 w 148"/>
                <a:gd name="T3" fmla="*/ 238 h 238"/>
                <a:gd name="T4" fmla="*/ 69 w 148"/>
                <a:gd name="T5" fmla="*/ 116 h 238"/>
                <a:gd name="T6" fmla="*/ 71 w 148"/>
                <a:gd name="T7" fmla="*/ 82 h 238"/>
                <a:gd name="T8" fmla="*/ 69 w 148"/>
                <a:gd name="T9" fmla="*/ 45 h 238"/>
                <a:gd name="T10" fmla="*/ 146 w 148"/>
                <a:gd name="T11" fmla="*/ 0 h 238"/>
                <a:gd name="T12" fmla="*/ 148 w 148"/>
                <a:gd name="T13" fmla="*/ 37 h 238"/>
                <a:gd name="T14" fmla="*/ 146 w 148"/>
                <a:gd name="T15" fmla="*/ 71 h 238"/>
                <a:gd name="T16" fmla="*/ 77 w 148"/>
                <a:gd name="T17" fmla="*/ 193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238">
                  <a:moveTo>
                    <a:pt x="77" y="193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37" y="217"/>
                    <a:pt x="62" y="175"/>
                    <a:pt x="69" y="116"/>
                  </a:cubicBezTo>
                  <a:cubicBezTo>
                    <a:pt x="70" y="105"/>
                    <a:pt x="71" y="94"/>
                    <a:pt x="71" y="82"/>
                  </a:cubicBezTo>
                  <a:cubicBezTo>
                    <a:pt x="71" y="70"/>
                    <a:pt x="70" y="58"/>
                    <a:pt x="69" y="45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8" y="13"/>
                    <a:pt x="148" y="25"/>
                    <a:pt x="148" y="37"/>
                  </a:cubicBezTo>
                  <a:cubicBezTo>
                    <a:pt x="148" y="49"/>
                    <a:pt x="147" y="61"/>
                    <a:pt x="146" y="71"/>
                  </a:cubicBezTo>
                  <a:cubicBezTo>
                    <a:pt x="139" y="130"/>
                    <a:pt x="114" y="172"/>
                    <a:pt x="77" y="193"/>
                  </a:cubicBez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2" name="Freeform 402">
              <a:extLst>
                <a:ext uri="{FF2B5EF4-FFF2-40B4-BE49-F238E27FC236}">
                  <a16:creationId xmlns:a16="http://schemas.microsoft.com/office/drawing/2014/main" id="{6C849223-B323-437F-838D-0E8C1AB39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64738" y="2579114"/>
              <a:ext cx="779463" cy="746125"/>
            </a:xfrm>
            <a:custGeom>
              <a:avLst/>
              <a:gdLst>
                <a:gd name="T0" fmla="*/ 0 w 491"/>
                <a:gd name="T1" fmla="*/ 71 h 471"/>
                <a:gd name="T2" fmla="*/ 77 w 491"/>
                <a:gd name="T3" fmla="*/ 26 h 471"/>
                <a:gd name="T4" fmla="*/ 250 w 491"/>
                <a:gd name="T5" fmla="*/ 43 h 471"/>
                <a:gd name="T6" fmla="*/ 491 w 491"/>
                <a:gd name="T7" fmla="*/ 426 h 471"/>
                <a:gd name="T8" fmla="*/ 414 w 491"/>
                <a:gd name="T9" fmla="*/ 471 h 471"/>
                <a:gd name="T10" fmla="*/ 173 w 491"/>
                <a:gd name="T11" fmla="*/ 88 h 471"/>
                <a:gd name="T12" fmla="*/ 0 w 491"/>
                <a:gd name="T13" fmla="*/ 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1" h="471">
                  <a:moveTo>
                    <a:pt x="0" y="71"/>
                  </a:moveTo>
                  <a:cubicBezTo>
                    <a:pt x="77" y="26"/>
                    <a:pt x="77" y="26"/>
                    <a:pt x="77" y="26"/>
                  </a:cubicBezTo>
                  <a:cubicBezTo>
                    <a:pt x="122" y="0"/>
                    <a:pt x="183" y="4"/>
                    <a:pt x="250" y="43"/>
                  </a:cubicBezTo>
                  <a:cubicBezTo>
                    <a:pt x="374" y="114"/>
                    <a:pt x="477" y="280"/>
                    <a:pt x="491" y="426"/>
                  </a:cubicBezTo>
                  <a:cubicBezTo>
                    <a:pt x="414" y="471"/>
                    <a:pt x="414" y="471"/>
                    <a:pt x="414" y="471"/>
                  </a:cubicBezTo>
                  <a:cubicBezTo>
                    <a:pt x="399" y="325"/>
                    <a:pt x="297" y="159"/>
                    <a:pt x="173" y="88"/>
                  </a:cubicBezTo>
                  <a:cubicBezTo>
                    <a:pt x="106" y="48"/>
                    <a:pt x="44" y="45"/>
                    <a:pt x="0" y="71"/>
                  </a:cubicBez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3" name="Freeform 403">
              <a:extLst>
                <a:ext uri="{FF2B5EF4-FFF2-40B4-BE49-F238E27FC236}">
                  <a16:creationId xmlns:a16="http://schemas.microsoft.com/office/drawing/2014/main" id="{1E685556-4617-4174-B991-90A3EF2D31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852026" y="2594989"/>
              <a:ext cx="773113" cy="1123950"/>
            </a:xfrm>
            <a:custGeom>
              <a:avLst/>
              <a:gdLst>
                <a:gd name="T0" fmla="*/ 485 w 487"/>
                <a:gd name="T1" fmla="*/ 461 h 709"/>
                <a:gd name="T2" fmla="*/ 487 w 487"/>
                <a:gd name="T3" fmla="*/ 498 h 709"/>
                <a:gd name="T4" fmla="*/ 485 w 487"/>
                <a:gd name="T5" fmla="*/ 532 h 709"/>
                <a:gd name="T6" fmla="*/ 243 w 487"/>
                <a:gd name="T7" fmla="*/ 637 h 709"/>
                <a:gd name="T8" fmla="*/ 0 w 487"/>
                <a:gd name="T9" fmla="*/ 217 h 709"/>
                <a:gd name="T10" fmla="*/ 244 w 487"/>
                <a:gd name="T11" fmla="*/ 78 h 709"/>
                <a:gd name="T12" fmla="*/ 485 w 487"/>
                <a:gd name="T13" fmla="*/ 461 h 709"/>
                <a:gd name="T14" fmla="*/ 243 w 487"/>
                <a:gd name="T15" fmla="*/ 565 h 709"/>
                <a:gd name="T16" fmla="*/ 424 w 487"/>
                <a:gd name="T17" fmla="*/ 462 h 709"/>
                <a:gd name="T18" fmla="*/ 244 w 487"/>
                <a:gd name="T19" fmla="*/ 150 h 709"/>
                <a:gd name="T20" fmla="*/ 63 w 487"/>
                <a:gd name="T21" fmla="*/ 253 h 709"/>
                <a:gd name="T22" fmla="*/ 243 w 487"/>
                <a:gd name="T23" fmla="*/ 565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7" h="709">
                  <a:moveTo>
                    <a:pt x="485" y="461"/>
                  </a:moveTo>
                  <a:cubicBezTo>
                    <a:pt x="486" y="474"/>
                    <a:pt x="487" y="486"/>
                    <a:pt x="487" y="498"/>
                  </a:cubicBezTo>
                  <a:cubicBezTo>
                    <a:pt x="487" y="510"/>
                    <a:pt x="486" y="521"/>
                    <a:pt x="485" y="532"/>
                  </a:cubicBezTo>
                  <a:cubicBezTo>
                    <a:pt x="469" y="661"/>
                    <a:pt x="367" y="709"/>
                    <a:pt x="243" y="637"/>
                  </a:cubicBezTo>
                  <a:cubicBezTo>
                    <a:pt x="108" y="559"/>
                    <a:pt x="0" y="371"/>
                    <a:pt x="0" y="217"/>
                  </a:cubicBezTo>
                  <a:cubicBezTo>
                    <a:pt x="0" y="62"/>
                    <a:pt x="110" y="0"/>
                    <a:pt x="244" y="78"/>
                  </a:cubicBezTo>
                  <a:cubicBezTo>
                    <a:pt x="368" y="149"/>
                    <a:pt x="470" y="315"/>
                    <a:pt x="485" y="461"/>
                  </a:cubicBezTo>
                  <a:moveTo>
                    <a:pt x="243" y="565"/>
                  </a:moveTo>
                  <a:cubicBezTo>
                    <a:pt x="343" y="623"/>
                    <a:pt x="424" y="576"/>
                    <a:pt x="424" y="462"/>
                  </a:cubicBezTo>
                  <a:cubicBezTo>
                    <a:pt x="425" y="347"/>
                    <a:pt x="344" y="207"/>
                    <a:pt x="244" y="150"/>
                  </a:cubicBezTo>
                  <a:cubicBezTo>
                    <a:pt x="144" y="92"/>
                    <a:pt x="63" y="138"/>
                    <a:pt x="63" y="253"/>
                  </a:cubicBezTo>
                  <a:cubicBezTo>
                    <a:pt x="62" y="368"/>
                    <a:pt x="143" y="507"/>
                    <a:pt x="243" y="565"/>
                  </a:cubicBezTo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4" name="Freeform 404">
              <a:extLst>
                <a:ext uri="{FF2B5EF4-FFF2-40B4-BE49-F238E27FC236}">
                  <a16:creationId xmlns:a16="http://schemas.microsoft.com/office/drawing/2014/main" id="{82548524-BEFB-42B0-A9AF-25AE6574EB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7188" y="3242689"/>
              <a:ext cx="7938" cy="157163"/>
            </a:xfrm>
            <a:custGeom>
              <a:avLst/>
              <a:gdLst>
                <a:gd name="T0" fmla="*/ 0 w 5"/>
                <a:gd name="T1" fmla="*/ 0 h 99"/>
                <a:gd name="T2" fmla="*/ 0 w 5"/>
                <a:gd name="T3" fmla="*/ 99 h 99"/>
                <a:gd name="T4" fmla="*/ 4 w 5"/>
                <a:gd name="T5" fmla="*/ 79 h 99"/>
                <a:gd name="T6" fmla="*/ 5 w 5"/>
                <a:gd name="T7" fmla="*/ 53 h 99"/>
                <a:gd name="T8" fmla="*/ 5 w 5"/>
                <a:gd name="T9" fmla="*/ 52 h 99"/>
                <a:gd name="T10" fmla="*/ 5 w 5"/>
                <a:gd name="T11" fmla="*/ 52 h 99"/>
                <a:gd name="T12" fmla="*/ 5 w 5"/>
                <a:gd name="T13" fmla="*/ 52 h 99"/>
                <a:gd name="T14" fmla="*/ 5 w 5"/>
                <a:gd name="T15" fmla="*/ 51 h 99"/>
                <a:gd name="T16" fmla="*/ 5 w 5"/>
                <a:gd name="T17" fmla="*/ 51 h 99"/>
                <a:gd name="T18" fmla="*/ 5 w 5"/>
                <a:gd name="T19" fmla="*/ 50 h 99"/>
                <a:gd name="T20" fmla="*/ 5 w 5"/>
                <a:gd name="T21" fmla="*/ 50 h 99"/>
                <a:gd name="T22" fmla="*/ 5 w 5"/>
                <a:gd name="T23" fmla="*/ 50 h 99"/>
                <a:gd name="T24" fmla="*/ 5 w 5"/>
                <a:gd name="T25" fmla="*/ 49 h 99"/>
                <a:gd name="T26" fmla="*/ 5 w 5"/>
                <a:gd name="T27" fmla="*/ 49 h 99"/>
                <a:gd name="T28" fmla="*/ 5 w 5"/>
                <a:gd name="T29" fmla="*/ 48 h 99"/>
                <a:gd name="T30" fmla="*/ 5 w 5"/>
                <a:gd name="T31" fmla="*/ 48 h 99"/>
                <a:gd name="T32" fmla="*/ 5 w 5"/>
                <a:gd name="T33" fmla="*/ 47 h 99"/>
                <a:gd name="T34" fmla="*/ 5 w 5"/>
                <a:gd name="T35" fmla="*/ 47 h 99"/>
                <a:gd name="T36" fmla="*/ 5 w 5"/>
                <a:gd name="T37" fmla="*/ 47 h 99"/>
                <a:gd name="T38" fmla="*/ 5 w 5"/>
                <a:gd name="T39" fmla="*/ 46 h 99"/>
                <a:gd name="T40" fmla="*/ 5 w 5"/>
                <a:gd name="T41" fmla="*/ 45 h 99"/>
                <a:gd name="T42" fmla="*/ 5 w 5"/>
                <a:gd name="T43" fmla="*/ 45 h 99"/>
                <a:gd name="T44" fmla="*/ 5 w 5"/>
                <a:gd name="T45" fmla="*/ 45 h 99"/>
                <a:gd name="T46" fmla="*/ 5 w 5"/>
                <a:gd name="T47" fmla="*/ 44 h 99"/>
                <a:gd name="T48" fmla="*/ 5 w 5"/>
                <a:gd name="T49" fmla="*/ 44 h 99"/>
                <a:gd name="T50" fmla="*/ 5 w 5"/>
                <a:gd name="T51" fmla="*/ 44 h 99"/>
                <a:gd name="T52" fmla="*/ 5 w 5"/>
                <a:gd name="T53" fmla="*/ 43 h 99"/>
                <a:gd name="T54" fmla="*/ 5 w 5"/>
                <a:gd name="T55" fmla="*/ 43 h 99"/>
                <a:gd name="T56" fmla="*/ 5 w 5"/>
                <a:gd name="T57" fmla="*/ 42 h 99"/>
                <a:gd name="T58" fmla="*/ 5 w 5"/>
                <a:gd name="T59" fmla="*/ 42 h 99"/>
                <a:gd name="T60" fmla="*/ 5 w 5"/>
                <a:gd name="T61" fmla="*/ 41 h 99"/>
                <a:gd name="T62" fmla="*/ 5 w 5"/>
                <a:gd name="T63" fmla="*/ 41 h 99"/>
                <a:gd name="T64" fmla="*/ 5 w 5"/>
                <a:gd name="T65" fmla="*/ 41 h 99"/>
                <a:gd name="T66" fmla="*/ 5 w 5"/>
                <a:gd name="T67" fmla="*/ 40 h 99"/>
                <a:gd name="T68" fmla="*/ 5 w 5"/>
                <a:gd name="T69" fmla="*/ 38 h 99"/>
                <a:gd name="T70" fmla="*/ 5 w 5"/>
                <a:gd name="T71" fmla="*/ 38 h 99"/>
                <a:gd name="T72" fmla="*/ 5 w 5"/>
                <a:gd name="T73" fmla="*/ 37 h 99"/>
                <a:gd name="T74" fmla="*/ 5 w 5"/>
                <a:gd name="T75" fmla="*/ 37 h 99"/>
                <a:gd name="T76" fmla="*/ 5 w 5"/>
                <a:gd name="T77" fmla="*/ 34 h 99"/>
                <a:gd name="T78" fmla="*/ 5 w 5"/>
                <a:gd name="T79" fmla="*/ 34 h 99"/>
                <a:gd name="T80" fmla="*/ 0 w 5"/>
                <a:gd name="T8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99">
                  <a:moveTo>
                    <a:pt x="0" y="0"/>
                  </a:moveTo>
                  <a:cubicBezTo>
                    <a:pt x="0" y="99"/>
                    <a:pt x="0" y="99"/>
                    <a:pt x="0" y="99"/>
                  </a:cubicBezTo>
                  <a:cubicBezTo>
                    <a:pt x="1" y="93"/>
                    <a:pt x="3" y="86"/>
                    <a:pt x="4" y="79"/>
                  </a:cubicBezTo>
                  <a:cubicBezTo>
                    <a:pt x="5" y="71"/>
                    <a:pt x="5" y="62"/>
                    <a:pt x="5" y="53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6"/>
                    <a:pt x="5" y="46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40"/>
                    <a:pt x="5" y="39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7"/>
                    <a:pt x="5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6"/>
                    <a:pt x="5" y="35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4" y="23"/>
                    <a:pt x="2" y="11"/>
                    <a:pt x="0" y="0"/>
                  </a:cubicBezTo>
                </a:path>
              </a:pathLst>
            </a:custGeom>
            <a:solidFill>
              <a:srgbClr val="C0E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5" name="Freeform 405">
              <a:extLst>
                <a:ext uri="{FF2B5EF4-FFF2-40B4-BE49-F238E27FC236}">
                  <a16:creationId xmlns:a16="http://schemas.microsoft.com/office/drawing/2014/main" id="{B99297E9-FB17-4A13-842F-E5B6E6818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2101" y="3066476"/>
              <a:ext cx="65088" cy="436563"/>
            </a:xfrm>
            <a:custGeom>
              <a:avLst/>
              <a:gdLst>
                <a:gd name="T0" fmla="*/ 26 w 41"/>
                <a:gd name="T1" fmla="*/ 247 h 275"/>
                <a:gd name="T2" fmla="*/ 37 w 41"/>
                <a:gd name="T3" fmla="*/ 93 h 275"/>
                <a:gd name="T4" fmla="*/ 36 w 41"/>
                <a:gd name="T5" fmla="*/ 89 h 275"/>
                <a:gd name="T6" fmla="*/ 35 w 41"/>
                <a:gd name="T7" fmla="*/ 86 h 275"/>
                <a:gd name="T8" fmla="*/ 35 w 41"/>
                <a:gd name="T9" fmla="*/ 85 h 275"/>
                <a:gd name="T10" fmla="*/ 34 w 41"/>
                <a:gd name="T11" fmla="*/ 82 h 275"/>
                <a:gd name="T12" fmla="*/ 34 w 41"/>
                <a:gd name="T13" fmla="*/ 80 h 275"/>
                <a:gd name="T14" fmla="*/ 33 w 41"/>
                <a:gd name="T15" fmla="*/ 78 h 275"/>
                <a:gd name="T16" fmla="*/ 33 w 41"/>
                <a:gd name="T17" fmla="*/ 77 h 275"/>
                <a:gd name="T18" fmla="*/ 32 w 41"/>
                <a:gd name="T19" fmla="*/ 76 h 275"/>
                <a:gd name="T20" fmla="*/ 32 w 41"/>
                <a:gd name="T21" fmla="*/ 74 h 275"/>
                <a:gd name="T22" fmla="*/ 32 w 41"/>
                <a:gd name="T23" fmla="*/ 73 h 275"/>
                <a:gd name="T24" fmla="*/ 31 w 41"/>
                <a:gd name="T25" fmla="*/ 72 h 275"/>
                <a:gd name="T26" fmla="*/ 31 w 41"/>
                <a:gd name="T27" fmla="*/ 70 h 275"/>
                <a:gd name="T28" fmla="*/ 30 w 41"/>
                <a:gd name="T29" fmla="*/ 69 h 275"/>
                <a:gd name="T30" fmla="*/ 30 w 41"/>
                <a:gd name="T31" fmla="*/ 68 h 275"/>
                <a:gd name="T32" fmla="*/ 30 w 41"/>
                <a:gd name="T33" fmla="*/ 66 h 275"/>
                <a:gd name="T34" fmla="*/ 29 w 41"/>
                <a:gd name="T35" fmla="*/ 65 h 275"/>
                <a:gd name="T36" fmla="*/ 29 w 41"/>
                <a:gd name="T37" fmla="*/ 64 h 275"/>
                <a:gd name="T38" fmla="*/ 28 w 41"/>
                <a:gd name="T39" fmla="*/ 63 h 275"/>
                <a:gd name="T40" fmla="*/ 28 w 41"/>
                <a:gd name="T41" fmla="*/ 61 h 275"/>
                <a:gd name="T42" fmla="*/ 27 w 41"/>
                <a:gd name="T43" fmla="*/ 60 h 275"/>
                <a:gd name="T44" fmla="*/ 27 w 41"/>
                <a:gd name="T45" fmla="*/ 58 h 275"/>
                <a:gd name="T46" fmla="*/ 27 w 41"/>
                <a:gd name="T47" fmla="*/ 57 h 275"/>
                <a:gd name="T48" fmla="*/ 26 w 41"/>
                <a:gd name="T49" fmla="*/ 55 h 275"/>
                <a:gd name="T50" fmla="*/ 25 w 41"/>
                <a:gd name="T51" fmla="*/ 54 h 275"/>
                <a:gd name="T52" fmla="*/ 24 w 41"/>
                <a:gd name="T53" fmla="*/ 51 h 275"/>
                <a:gd name="T54" fmla="*/ 24 w 41"/>
                <a:gd name="T55" fmla="*/ 50 h 275"/>
                <a:gd name="T56" fmla="*/ 23 w 41"/>
                <a:gd name="T57" fmla="*/ 48 h 275"/>
                <a:gd name="T58" fmla="*/ 23 w 41"/>
                <a:gd name="T59" fmla="*/ 47 h 275"/>
                <a:gd name="T60" fmla="*/ 22 w 41"/>
                <a:gd name="T61" fmla="*/ 44 h 275"/>
                <a:gd name="T62" fmla="*/ 21 w 41"/>
                <a:gd name="T63" fmla="*/ 43 h 275"/>
                <a:gd name="T64" fmla="*/ 20 w 41"/>
                <a:gd name="T65" fmla="*/ 40 h 275"/>
                <a:gd name="T66" fmla="*/ 18 w 41"/>
                <a:gd name="T67" fmla="*/ 36 h 275"/>
                <a:gd name="T68" fmla="*/ 16 w 41"/>
                <a:gd name="T69" fmla="*/ 29 h 275"/>
                <a:gd name="T70" fmla="*/ 14 w 41"/>
                <a:gd name="T71" fmla="*/ 26 h 275"/>
                <a:gd name="T72" fmla="*/ 13 w 41"/>
                <a:gd name="T73" fmla="*/ 23 h 275"/>
                <a:gd name="T74" fmla="*/ 12 w 41"/>
                <a:gd name="T75" fmla="*/ 22 h 275"/>
                <a:gd name="T76" fmla="*/ 10 w 41"/>
                <a:gd name="T77" fmla="*/ 16 h 275"/>
                <a:gd name="T78" fmla="*/ 9 w 41"/>
                <a:gd name="T79" fmla="*/ 15 h 275"/>
                <a:gd name="T80" fmla="*/ 8 w 41"/>
                <a:gd name="T81" fmla="*/ 13 h 275"/>
                <a:gd name="T82" fmla="*/ 7 w 41"/>
                <a:gd name="T83" fmla="*/ 12 h 275"/>
                <a:gd name="T84" fmla="*/ 6 w 41"/>
                <a:gd name="T85" fmla="*/ 10 h 275"/>
                <a:gd name="T86" fmla="*/ 6 w 41"/>
                <a:gd name="T87" fmla="*/ 9 h 275"/>
                <a:gd name="T88" fmla="*/ 5 w 41"/>
                <a:gd name="T89" fmla="*/ 7 h 275"/>
                <a:gd name="T90" fmla="*/ 4 w 41"/>
                <a:gd name="T91" fmla="*/ 6 h 275"/>
                <a:gd name="T92" fmla="*/ 4 w 41"/>
                <a:gd name="T93" fmla="*/ 5 h 275"/>
                <a:gd name="T94" fmla="*/ 3 w 41"/>
                <a:gd name="T95" fmla="*/ 4 h 275"/>
                <a:gd name="T96" fmla="*/ 2 w 41"/>
                <a:gd name="T97" fmla="*/ 2 h 275"/>
                <a:gd name="T98" fmla="*/ 2 w 41"/>
                <a:gd name="T99" fmla="*/ 1 h 275"/>
                <a:gd name="T100" fmla="*/ 1 w 41"/>
                <a:gd name="T101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1" h="275">
                  <a:moveTo>
                    <a:pt x="1" y="0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10" y="268"/>
                    <a:pt x="19" y="258"/>
                    <a:pt x="26" y="247"/>
                  </a:cubicBezTo>
                  <a:cubicBezTo>
                    <a:pt x="32" y="236"/>
                    <a:pt x="37" y="224"/>
                    <a:pt x="41" y="210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0" y="105"/>
                    <a:pt x="39" y="99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2"/>
                    <a:pt x="37" y="91"/>
                    <a:pt x="36" y="89"/>
                  </a:cubicBezTo>
                  <a:cubicBezTo>
                    <a:pt x="36" y="89"/>
                    <a:pt x="36" y="89"/>
                    <a:pt x="36" y="89"/>
                  </a:cubicBezTo>
                  <a:cubicBezTo>
                    <a:pt x="36" y="89"/>
                    <a:pt x="36" y="89"/>
                    <a:pt x="36" y="89"/>
                  </a:cubicBezTo>
                  <a:cubicBezTo>
                    <a:pt x="36" y="89"/>
                    <a:pt x="36" y="89"/>
                    <a:pt x="36" y="89"/>
                  </a:cubicBezTo>
                  <a:cubicBezTo>
                    <a:pt x="36" y="88"/>
                    <a:pt x="36" y="87"/>
                    <a:pt x="35" y="86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5" y="85"/>
                    <a:pt x="35" y="85"/>
                  </a:cubicBezTo>
                  <a:cubicBezTo>
                    <a:pt x="35" y="85"/>
                    <a:pt x="35" y="85"/>
                    <a:pt x="35" y="85"/>
                  </a:cubicBezTo>
                  <a:cubicBezTo>
                    <a:pt x="35" y="84"/>
                    <a:pt x="35" y="83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1"/>
                    <a:pt x="34" y="80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8"/>
                    <a:pt x="33" y="78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8"/>
                    <a:pt x="33" y="77"/>
                  </a:cubicBezTo>
                  <a:cubicBezTo>
                    <a:pt x="33" y="77"/>
                    <a:pt x="33" y="77"/>
                    <a:pt x="33" y="77"/>
                  </a:cubicBezTo>
                  <a:cubicBezTo>
                    <a:pt x="33" y="77"/>
                    <a:pt x="33" y="77"/>
                    <a:pt x="33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76"/>
                    <a:pt x="33" y="76"/>
                    <a:pt x="32" y="76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32" y="74"/>
                    <a:pt x="32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2" y="73"/>
                    <a:pt x="32" y="72"/>
                  </a:cubicBezTo>
                  <a:cubicBezTo>
                    <a:pt x="32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0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1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6"/>
                  </a:cubicBezTo>
                  <a:cubicBezTo>
                    <a:pt x="30" y="66"/>
                    <a:pt x="30" y="66"/>
                    <a:pt x="29" y="66"/>
                  </a:cubicBezTo>
                  <a:cubicBezTo>
                    <a:pt x="29" y="66"/>
                    <a:pt x="29" y="66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3"/>
                  </a:cubicBezTo>
                  <a:cubicBezTo>
                    <a:pt x="29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0"/>
                    <a:pt x="28" y="60"/>
                  </a:cubicBezTo>
                  <a:cubicBezTo>
                    <a:pt x="28" y="60"/>
                    <a:pt x="27" y="60"/>
                    <a:pt x="27" y="60"/>
                  </a:cubicBezTo>
                  <a:cubicBezTo>
                    <a:pt x="27" y="60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58"/>
                    <a:pt x="27" y="58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6" y="56"/>
                    <a:pt x="26" y="56"/>
                  </a:cubicBezTo>
                  <a:cubicBezTo>
                    <a:pt x="26" y="56"/>
                    <a:pt x="26" y="55"/>
                    <a:pt x="26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52"/>
                    <a:pt x="25" y="52"/>
                    <a:pt x="24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3" y="49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6"/>
                    <a:pt x="22" y="46"/>
                    <a:pt x="22" y="46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22" y="45"/>
                    <a:pt x="22" y="45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1" y="44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0" y="41"/>
                    <a:pt x="20" y="40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39"/>
                    <a:pt x="19" y="37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5"/>
                    <a:pt x="17" y="34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6" y="32"/>
                    <a:pt x="16" y="31"/>
                    <a:pt x="16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28"/>
                    <a:pt x="14" y="27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3" y="24"/>
                    <a:pt x="13" y="24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1"/>
                    <a:pt x="11" y="20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18"/>
                    <a:pt x="10" y="17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4"/>
                    <a:pt x="8" y="14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2"/>
                    <a:pt x="7" y="12"/>
                    <a:pt x="7" y="12"/>
                  </a:cubicBezTo>
                  <a:cubicBezTo>
                    <a:pt x="7" y="12"/>
                    <a:pt x="7" y="12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0"/>
                    <a:pt x="6" y="10"/>
                  </a:cubicBezTo>
                  <a:cubicBezTo>
                    <a:pt x="6" y="10"/>
                    <a:pt x="6" y="10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6"/>
                    <a:pt x="4" y="6"/>
                    <a:pt x="4" y="6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D5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6" name="Freeform 407">
              <a:extLst>
                <a:ext uri="{FF2B5EF4-FFF2-40B4-BE49-F238E27FC236}">
                  <a16:creationId xmlns:a16="http://schemas.microsoft.com/office/drawing/2014/main" id="{C17DE740-84EF-48F9-8AC8-C1400EB4D5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0626" y="2793426"/>
              <a:ext cx="373063" cy="736600"/>
            </a:xfrm>
            <a:custGeom>
              <a:avLst/>
              <a:gdLst>
                <a:gd name="T0" fmla="*/ 19 w 235"/>
                <a:gd name="T1" fmla="*/ 0 h 465"/>
                <a:gd name="T2" fmla="*/ 19 w 235"/>
                <a:gd name="T3" fmla="*/ 0 h 465"/>
                <a:gd name="T4" fmla="*/ 0 w 235"/>
                <a:gd name="T5" fmla="*/ 2 h 465"/>
                <a:gd name="T6" fmla="*/ 154 w 235"/>
                <a:gd name="T7" fmla="*/ 91 h 465"/>
                <a:gd name="T8" fmla="*/ 153 w 235"/>
                <a:gd name="T9" fmla="*/ 462 h 465"/>
                <a:gd name="T10" fmla="*/ 180 w 235"/>
                <a:gd name="T11" fmla="*/ 465 h 465"/>
                <a:gd name="T12" fmla="*/ 190 w 235"/>
                <a:gd name="T13" fmla="*/ 464 h 465"/>
                <a:gd name="T14" fmla="*/ 234 w 235"/>
                <a:gd name="T15" fmla="*/ 448 h 465"/>
                <a:gd name="T16" fmla="*/ 235 w 235"/>
                <a:gd name="T17" fmla="*/ 173 h 465"/>
                <a:gd name="T18" fmla="*/ 235 w 235"/>
                <a:gd name="T19" fmla="*/ 173 h 465"/>
                <a:gd name="T20" fmla="*/ 235 w 235"/>
                <a:gd name="T21" fmla="*/ 172 h 465"/>
                <a:gd name="T22" fmla="*/ 235 w 235"/>
                <a:gd name="T23" fmla="*/ 172 h 465"/>
                <a:gd name="T24" fmla="*/ 234 w 235"/>
                <a:gd name="T25" fmla="*/ 171 h 465"/>
                <a:gd name="T26" fmla="*/ 234 w 235"/>
                <a:gd name="T27" fmla="*/ 171 h 465"/>
                <a:gd name="T28" fmla="*/ 234 w 235"/>
                <a:gd name="T29" fmla="*/ 171 h 465"/>
                <a:gd name="T30" fmla="*/ 234 w 235"/>
                <a:gd name="T31" fmla="*/ 170 h 465"/>
                <a:gd name="T32" fmla="*/ 233 w 235"/>
                <a:gd name="T33" fmla="*/ 169 h 465"/>
                <a:gd name="T34" fmla="*/ 233 w 235"/>
                <a:gd name="T35" fmla="*/ 169 h 465"/>
                <a:gd name="T36" fmla="*/ 233 w 235"/>
                <a:gd name="T37" fmla="*/ 169 h 465"/>
                <a:gd name="T38" fmla="*/ 233 w 235"/>
                <a:gd name="T39" fmla="*/ 168 h 465"/>
                <a:gd name="T40" fmla="*/ 233 w 235"/>
                <a:gd name="T41" fmla="*/ 168 h 465"/>
                <a:gd name="T42" fmla="*/ 232 w 235"/>
                <a:gd name="T43" fmla="*/ 168 h 465"/>
                <a:gd name="T44" fmla="*/ 231 w 235"/>
                <a:gd name="T45" fmla="*/ 165 h 465"/>
                <a:gd name="T46" fmla="*/ 231 w 235"/>
                <a:gd name="T47" fmla="*/ 165 h 465"/>
                <a:gd name="T48" fmla="*/ 231 w 235"/>
                <a:gd name="T49" fmla="*/ 165 h 465"/>
                <a:gd name="T50" fmla="*/ 231 w 235"/>
                <a:gd name="T51" fmla="*/ 165 h 465"/>
                <a:gd name="T52" fmla="*/ 140 w 235"/>
                <a:gd name="T53" fmla="*/ 53 h 465"/>
                <a:gd name="T54" fmla="*/ 100 w 235"/>
                <a:gd name="T55" fmla="*/ 25 h 465"/>
                <a:gd name="T56" fmla="*/ 19 w 235"/>
                <a:gd name="T57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5" h="465"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2" y="0"/>
                    <a:pt x="6" y="0"/>
                    <a:pt x="0" y="2"/>
                  </a:cubicBezTo>
                  <a:cubicBezTo>
                    <a:pt x="154" y="91"/>
                    <a:pt x="154" y="91"/>
                    <a:pt x="154" y="91"/>
                  </a:cubicBezTo>
                  <a:cubicBezTo>
                    <a:pt x="153" y="462"/>
                    <a:pt x="153" y="462"/>
                    <a:pt x="153" y="462"/>
                  </a:cubicBezTo>
                  <a:cubicBezTo>
                    <a:pt x="162" y="464"/>
                    <a:pt x="171" y="465"/>
                    <a:pt x="180" y="465"/>
                  </a:cubicBezTo>
                  <a:cubicBezTo>
                    <a:pt x="183" y="465"/>
                    <a:pt x="186" y="465"/>
                    <a:pt x="190" y="464"/>
                  </a:cubicBezTo>
                  <a:cubicBezTo>
                    <a:pt x="206" y="463"/>
                    <a:pt x="222" y="457"/>
                    <a:pt x="234" y="448"/>
                  </a:cubicBezTo>
                  <a:cubicBezTo>
                    <a:pt x="235" y="173"/>
                    <a:pt x="235" y="173"/>
                    <a:pt x="235" y="173"/>
                  </a:cubicBezTo>
                  <a:cubicBezTo>
                    <a:pt x="235" y="173"/>
                    <a:pt x="235" y="173"/>
                    <a:pt x="235" y="173"/>
                  </a:cubicBezTo>
                  <a:cubicBezTo>
                    <a:pt x="235" y="172"/>
                    <a:pt x="235" y="172"/>
                    <a:pt x="235" y="172"/>
                  </a:cubicBezTo>
                  <a:cubicBezTo>
                    <a:pt x="235" y="172"/>
                    <a:pt x="235" y="172"/>
                    <a:pt x="235" y="172"/>
                  </a:cubicBezTo>
                  <a:cubicBezTo>
                    <a:pt x="235" y="172"/>
                    <a:pt x="234" y="172"/>
                    <a:pt x="234" y="171"/>
                  </a:cubicBezTo>
                  <a:cubicBezTo>
                    <a:pt x="234" y="171"/>
                    <a:pt x="234" y="171"/>
                    <a:pt x="234" y="171"/>
                  </a:cubicBezTo>
                  <a:cubicBezTo>
                    <a:pt x="234" y="171"/>
                    <a:pt x="234" y="171"/>
                    <a:pt x="234" y="171"/>
                  </a:cubicBezTo>
                  <a:cubicBezTo>
                    <a:pt x="234" y="171"/>
                    <a:pt x="234" y="170"/>
                    <a:pt x="234" y="170"/>
                  </a:cubicBezTo>
                  <a:cubicBezTo>
                    <a:pt x="234" y="170"/>
                    <a:pt x="234" y="170"/>
                    <a:pt x="233" y="169"/>
                  </a:cubicBezTo>
                  <a:cubicBezTo>
                    <a:pt x="233" y="169"/>
                    <a:pt x="233" y="169"/>
                    <a:pt x="233" y="169"/>
                  </a:cubicBezTo>
                  <a:cubicBezTo>
                    <a:pt x="233" y="169"/>
                    <a:pt x="233" y="169"/>
                    <a:pt x="233" y="169"/>
                  </a:cubicBezTo>
                  <a:cubicBezTo>
                    <a:pt x="233" y="169"/>
                    <a:pt x="233" y="169"/>
                    <a:pt x="233" y="168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3" y="168"/>
                    <a:pt x="233" y="168"/>
                    <a:pt x="232" y="168"/>
                  </a:cubicBezTo>
                  <a:cubicBezTo>
                    <a:pt x="232" y="167"/>
                    <a:pt x="232" y="166"/>
                    <a:pt x="231" y="165"/>
                  </a:cubicBezTo>
                  <a:cubicBezTo>
                    <a:pt x="231" y="165"/>
                    <a:pt x="231" y="165"/>
                    <a:pt x="231" y="165"/>
                  </a:cubicBezTo>
                  <a:cubicBezTo>
                    <a:pt x="231" y="165"/>
                    <a:pt x="231" y="165"/>
                    <a:pt x="231" y="165"/>
                  </a:cubicBezTo>
                  <a:cubicBezTo>
                    <a:pt x="231" y="165"/>
                    <a:pt x="231" y="165"/>
                    <a:pt x="231" y="165"/>
                  </a:cubicBezTo>
                  <a:cubicBezTo>
                    <a:pt x="207" y="122"/>
                    <a:pt x="175" y="83"/>
                    <a:pt x="140" y="53"/>
                  </a:cubicBezTo>
                  <a:cubicBezTo>
                    <a:pt x="127" y="42"/>
                    <a:pt x="114" y="33"/>
                    <a:pt x="100" y="25"/>
                  </a:cubicBezTo>
                  <a:cubicBezTo>
                    <a:pt x="71" y="8"/>
                    <a:pt x="43" y="0"/>
                    <a:pt x="19" y="0"/>
                  </a:cubicBezTo>
                </a:path>
              </a:pathLst>
            </a:custGeom>
            <a:solidFill>
              <a:srgbClr val="CDD3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7" name="Freeform 408">
              <a:extLst>
                <a:ext uri="{FF2B5EF4-FFF2-40B4-BE49-F238E27FC236}">
                  <a16:creationId xmlns:a16="http://schemas.microsoft.com/office/drawing/2014/main" id="{84F10233-4C03-40BE-AFAC-D3459002C5D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52038" y="2796601"/>
              <a:ext cx="373063" cy="728663"/>
            </a:xfrm>
            <a:custGeom>
              <a:avLst/>
              <a:gdLst>
                <a:gd name="T0" fmla="*/ 17 w 235"/>
                <a:gd name="T1" fmla="*/ 47 h 460"/>
                <a:gd name="T2" fmla="*/ 17 w 235"/>
                <a:gd name="T3" fmla="*/ 47 h 460"/>
                <a:gd name="T4" fmla="*/ 16 w 235"/>
                <a:gd name="T5" fmla="*/ 49 h 460"/>
                <a:gd name="T6" fmla="*/ 16 w 235"/>
                <a:gd name="T7" fmla="*/ 50 h 460"/>
                <a:gd name="T8" fmla="*/ 15 w 235"/>
                <a:gd name="T9" fmla="*/ 51 h 460"/>
                <a:gd name="T10" fmla="*/ 15 w 235"/>
                <a:gd name="T11" fmla="*/ 52 h 460"/>
                <a:gd name="T12" fmla="*/ 14 w 235"/>
                <a:gd name="T13" fmla="*/ 53 h 460"/>
                <a:gd name="T14" fmla="*/ 14 w 235"/>
                <a:gd name="T15" fmla="*/ 55 h 460"/>
                <a:gd name="T16" fmla="*/ 13 w 235"/>
                <a:gd name="T17" fmla="*/ 56 h 460"/>
                <a:gd name="T18" fmla="*/ 12 w 235"/>
                <a:gd name="T19" fmla="*/ 58 h 460"/>
                <a:gd name="T20" fmla="*/ 11 w 235"/>
                <a:gd name="T21" fmla="*/ 60 h 460"/>
                <a:gd name="T22" fmla="*/ 10 w 235"/>
                <a:gd name="T23" fmla="*/ 63 h 460"/>
                <a:gd name="T24" fmla="*/ 9 w 235"/>
                <a:gd name="T25" fmla="*/ 66 h 460"/>
                <a:gd name="T26" fmla="*/ 2 w 235"/>
                <a:gd name="T27" fmla="*/ 92 h 460"/>
                <a:gd name="T28" fmla="*/ 2 w 235"/>
                <a:gd name="T29" fmla="*/ 93 h 460"/>
                <a:gd name="T30" fmla="*/ 2 w 235"/>
                <a:gd name="T31" fmla="*/ 97 h 460"/>
                <a:gd name="T32" fmla="*/ 1 w 235"/>
                <a:gd name="T33" fmla="*/ 99 h 460"/>
                <a:gd name="T34" fmla="*/ 1 w 235"/>
                <a:gd name="T35" fmla="*/ 101 h 460"/>
                <a:gd name="T36" fmla="*/ 1 w 235"/>
                <a:gd name="T37" fmla="*/ 102 h 460"/>
                <a:gd name="T38" fmla="*/ 1 w 235"/>
                <a:gd name="T39" fmla="*/ 103 h 460"/>
                <a:gd name="T40" fmla="*/ 1 w 235"/>
                <a:gd name="T41" fmla="*/ 105 h 460"/>
                <a:gd name="T42" fmla="*/ 1 w 235"/>
                <a:gd name="T43" fmla="*/ 106 h 460"/>
                <a:gd name="T44" fmla="*/ 1 w 235"/>
                <a:gd name="T45" fmla="*/ 107 h 460"/>
                <a:gd name="T46" fmla="*/ 0 w 235"/>
                <a:gd name="T47" fmla="*/ 108 h 460"/>
                <a:gd name="T48" fmla="*/ 0 w 235"/>
                <a:gd name="T49" fmla="*/ 109 h 460"/>
                <a:gd name="T50" fmla="*/ 0 w 235"/>
                <a:gd name="T51" fmla="*/ 110 h 460"/>
                <a:gd name="T52" fmla="*/ 0 w 235"/>
                <a:gd name="T53" fmla="*/ 111 h 460"/>
                <a:gd name="T54" fmla="*/ 0 w 235"/>
                <a:gd name="T55" fmla="*/ 112 h 460"/>
                <a:gd name="T56" fmla="*/ 0 w 235"/>
                <a:gd name="T57" fmla="*/ 113 h 460"/>
                <a:gd name="T58" fmla="*/ 0 w 235"/>
                <a:gd name="T59" fmla="*/ 114 h 460"/>
                <a:gd name="T60" fmla="*/ 0 w 235"/>
                <a:gd name="T61" fmla="*/ 115 h 460"/>
                <a:gd name="T62" fmla="*/ 0 w 235"/>
                <a:gd name="T63" fmla="*/ 116 h 460"/>
                <a:gd name="T64" fmla="*/ 0 w 235"/>
                <a:gd name="T65" fmla="*/ 117 h 460"/>
                <a:gd name="T66" fmla="*/ 0 w 235"/>
                <a:gd name="T67" fmla="*/ 118 h 460"/>
                <a:gd name="T68" fmla="*/ 0 w 235"/>
                <a:gd name="T69" fmla="*/ 119 h 460"/>
                <a:gd name="T70" fmla="*/ 0 w 235"/>
                <a:gd name="T71" fmla="*/ 120 h 460"/>
                <a:gd name="T72" fmla="*/ 0 w 235"/>
                <a:gd name="T73" fmla="*/ 121 h 460"/>
                <a:gd name="T74" fmla="*/ 0 w 235"/>
                <a:gd name="T75" fmla="*/ 121 h 460"/>
                <a:gd name="T76" fmla="*/ 0 w 235"/>
                <a:gd name="T77" fmla="*/ 122 h 460"/>
                <a:gd name="T78" fmla="*/ 0 w 235"/>
                <a:gd name="T79" fmla="*/ 123 h 460"/>
                <a:gd name="T80" fmla="*/ 0 w 235"/>
                <a:gd name="T81" fmla="*/ 124 h 460"/>
                <a:gd name="T82" fmla="*/ 0 w 235"/>
                <a:gd name="T83" fmla="*/ 125 h 460"/>
                <a:gd name="T84" fmla="*/ 0 w 235"/>
                <a:gd name="T85" fmla="*/ 126 h 460"/>
                <a:gd name="T86" fmla="*/ 17 w 235"/>
                <a:gd name="T87" fmla="*/ 227 h 460"/>
                <a:gd name="T88" fmla="*/ 81 w 235"/>
                <a:gd name="T89" fmla="*/ 0 h 460"/>
                <a:gd name="T90" fmla="*/ 46 w 235"/>
                <a:gd name="T91" fmla="*/ 14 h 460"/>
                <a:gd name="T92" fmla="*/ 233 w 235"/>
                <a:gd name="T93" fmla="*/ 370 h 460"/>
                <a:gd name="T94" fmla="*/ 142 w 235"/>
                <a:gd name="T95" fmla="*/ 412 h 460"/>
                <a:gd name="T96" fmla="*/ 184 w 235"/>
                <a:gd name="T97" fmla="*/ 440 h 460"/>
                <a:gd name="T98" fmla="*/ 235 w 235"/>
                <a:gd name="T99" fmla="*/ 89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35" h="460">
                  <a:moveTo>
                    <a:pt x="18" y="46"/>
                  </a:moveTo>
                  <a:cubicBezTo>
                    <a:pt x="18" y="46"/>
                    <a:pt x="18" y="47"/>
                    <a:pt x="17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17" y="48"/>
                    <a:pt x="17" y="48"/>
                  </a:cubicBezTo>
                  <a:cubicBezTo>
                    <a:pt x="17" y="48"/>
                    <a:pt x="17" y="48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50"/>
                    <a:pt x="16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6" y="50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2"/>
                    <a:pt x="14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4"/>
                    <a:pt x="14" y="54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3" y="55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2" y="57"/>
                    <a:pt x="12" y="57"/>
                    <a:pt x="12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9"/>
                    <a:pt x="12" y="59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1"/>
                    <a:pt x="11" y="62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0" y="64"/>
                    <a:pt x="9" y="65"/>
                    <a:pt x="9" y="66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6" y="74"/>
                    <a:pt x="4" y="83"/>
                    <a:pt x="2" y="92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2" y="92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5"/>
                    <a:pt x="2" y="96"/>
                    <a:pt x="2" y="97"/>
                  </a:cubicBezTo>
                  <a:cubicBezTo>
                    <a:pt x="2" y="97"/>
                    <a:pt x="2" y="98"/>
                    <a:pt x="2" y="98"/>
                  </a:cubicBezTo>
                  <a:cubicBezTo>
                    <a:pt x="2" y="98"/>
                    <a:pt x="1" y="99"/>
                    <a:pt x="1" y="99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1" y="100"/>
                    <a:pt x="1" y="100"/>
                    <a:pt x="1" y="101"/>
                  </a:cubicBezTo>
                  <a:cubicBezTo>
                    <a:pt x="1" y="101"/>
                    <a:pt x="1" y="101"/>
                    <a:pt x="1" y="101"/>
                  </a:cubicBezTo>
                  <a:cubicBezTo>
                    <a:pt x="1" y="101"/>
                    <a:pt x="1" y="102"/>
                    <a:pt x="1" y="102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1" y="102"/>
                    <a:pt x="1" y="103"/>
                    <a:pt x="1" y="103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1" y="104"/>
                    <a:pt x="1" y="105"/>
                    <a:pt x="1" y="105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1" y="106"/>
                    <a:pt x="1" y="107"/>
                    <a:pt x="1" y="107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0" y="107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09"/>
                    <a:pt x="0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1"/>
                    <a:pt x="0" y="111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3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0" y="114"/>
                    <a:pt x="0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5"/>
                    <a:pt x="0" y="115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0"/>
                    <a:pt x="0" y="120"/>
                    <a:pt x="0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5"/>
                    <a:pt x="0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25"/>
                    <a:pt x="0" y="126"/>
                    <a:pt x="0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6"/>
                    <a:pt x="0" y="126"/>
                    <a:pt x="0" y="127"/>
                  </a:cubicBezTo>
                  <a:cubicBezTo>
                    <a:pt x="0" y="159"/>
                    <a:pt x="6" y="193"/>
                    <a:pt x="17" y="227"/>
                  </a:cubicBezTo>
                  <a:cubicBezTo>
                    <a:pt x="18" y="46"/>
                    <a:pt x="18" y="46"/>
                    <a:pt x="18" y="46"/>
                  </a:cubicBezTo>
                  <a:moveTo>
                    <a:pt x="81" y="0"/>
                  </a:moveTo>
                  <a:cubicBezTo>
                    <a:pt x="71" y="1"/>
                    <a:pt x="61" y="5"/>
                    <a:pt x="53" y="10"/>
                  </a:cubicBezTo>
                  <a:cubicBezTo>
                    <a:pt x="51" y="11"/>
                    <a:pt x="48" y="13"/>
                    <a:pt x="46" y="14"/>
                  </a:cubicBezTo>
                  <a:cubicBezTo>
                    <a:pt x="234" y="122"/>
                    <a:pt x="234" y="122"/>
                    <a:pt x="234" y="122"/>
                  </a:cubicBezTo>
                  <a:cubicBezTo>
                    <a:pt x="233" y="370"/>
                    <a:pt x="233" y="370"/>
                    <a:pt x="233" y="370"/>
                  </a:cubicBezTo>
                  <a:cubicBezTo>
                    <a:pt x="26" y="251"/>
                    <a:pt x="26" y="251"/>
                    <a:pt x="26" y="251"/>
                  </a:cubicBezTo>
                  <a:cubicBezTo>
                    <a:pt x="52" y="313"/>
                    <a:pt x="93" y="372"/>
                    <a:pt x="142" y="412"/>
                  </a:cubicBezTo>
                  <a:cubicBezTo>
                    <a:pt x="184" y="436"/>
                    <a:pt x="184" y="436"/>
                    <a:pt x="184" y="436"/>
                  </a:cubicBezTo>
                  <a:cubicBezTo>
                    <a:pt x="184" y="440"/>
                    <a:pt x="184" y="440"/>
                    <a:pt x="184" y="440"/>
                  </a:cubicBezTo>
                  <a:cubicBezTo>
                    <a:pt x="202" y="450"/>
                    <a:pt x="218" y="456"/>
                    <a:pt x="234" y="460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81" y="0"/>
                    <a:pt x="81" y="0"/>
                    <a:pt x="81" y="0"/>
                  </a:cubicBezTo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8" name="Freeform 409">
              <a:extLst>
                <a:ext uri="{FF2B5EF4-FFF2-40B4-BE49-F238E27FC236}">
                  <a16:creationId xmlns:a16="http://schemas.microsoft.com/office/drawing/2014/main" id="{CDBD7FCF-69EC-4948-94B9-6BAC50A482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7463" y="3449064"/>
              <a:ext cx="66675" cy="44450"/>
            </a:xfrm>
            <a:custGeom>
              <a:avLst/>
              <a:gdLst>
                <a:gd name="T0" fmla="*/ 0 w 42"/>
                <a:gd name="T1" fmla="*/ 0 h 28"/>
                <a:gd name="T2" fmla="*/ 38 w 42"/>
                <a:gd name="T3" fmla="*/ 26 h 28"/>
                <a:gd name="T4" fmla="*/ 38 w 42"/>
                <a:gd name="T5" fmla="*/ 26 h 28"/>
                <a:gd name="T6" fmla="*/ 42 w 42"/>
                <a:gd name="T7" fmla="*/ 28 h 28"/>
                <a:gd name="T8" fmla="*/ 42 w 42"/>
                <a:gd name="T9" fmla="*/ 24 h 28"/>
                <a:gd name="T10" fmla="*/ 0 w 42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8">
                  <a:moveTo>
                    <a:pt x="0" y="0"/>
                  </a:moveTo>
                  <a:cubicBezTo>
                    <a:pt x="12" y="10"/>
                    <a:pt x="25" y="19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9" y="27"/>
                    <a:pt x="41" y="28"/>
                    <a:pt x="42" y="28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FE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9" name="Freeform 410">
              <a:extLst>
                <a:ext uri="{FF2B5EF4-FFF2-40B4-BE49-F238E27FC236}">
                  <a16:creationId xmlns:a16="http://schemas.microsoft.com/office/drawing/2014/main" id="{F3AEBB28-695A-42F1-9C9B-FB02D530CD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79026" y="2818826"/>
              <a:ext cx="344488" cy="563563"/>
            </a:xfrm>
            <a:custGeom>
              <a:avLst/>
              <a:gdLst>
                <a:gd name="T0" fmla="*/ 29 w 217"/>
                <a:gd name="T1" fmla="*/ 0 h 356"/>
                <a:gd name="T2" fmla="*/ 13 w 217"/>
                <a:gd name="T3" fmla="*/ 15 h 356"/>
                <a:gd name="T4" fmla="*/ 13 w 217"/>
                <a:gd name="T5" fmla="*/ 15 h 356"/>
                <a:gd name="T6" fmla="*/ 12 w 217"/>
                <a:gd name="T7" fmla="*/ 16 h 356"/>
                <a:gd name="T8" fmla="*/ 12 w 217"/>
                <a:gd name="T9" fmla="*/ 16 h 356"/>
                <a:gd name="T10" fmla="*/ 11 w 217"/>
                <a:gd name="T11" fmla="*/ 17 h 356"/>
                <a:gd name="T12" fmla="*/ 11 w 217"/>
                <a:gd name="T13" fmla="*/ 17 h 356"/>
                <a:gd name="T14" fmla="*/ 11 w 217"/>
                <a:gd name="T15" fmla="*/ 18 h 356"/>
                <a:gd name="T16" fmla="*/ 11 w 217"/>
                <a:gd name="T17" fmla="*/ 18 h 356"/>
                <a:gd name="T18" fmla="*/ 10 w 217"/>
                <a:gd name="T19" fmla="*/ 19 h 356"/>
                <a:gd name="T20" fmla="*/ 10 w 217"/>
                <a:gd name="T21" fmla="*/ 19 h 356"/>
                <a:gd name="T22" fmla="*/ 9 w 217"/>
                <a:gd name="T23" fmla="*/ 20 h 356"/>
                <a:gd name="T24" fmla="*/ 9 w 217"/>
                <a:gd name="T25" fmla="*/ 20 h 356"/>
                <a:gd name="T26" fmla="*/ 8 w 217"/>
                <a:gd name="T27" fmla="*/ 21 h 356"/>
                <a:gd name="T28" fmla="*/ 8 w 217"/>
                <a:gd name="T29" fmla="*/ 21 h 356"/>
                <a:gd name="T30" fmla="*/ 8 w 217"/>
                <a:gd name="T31" fmla="*/ 21 h 356"/>
                <a:gd name="T32" fmla="*/ 8 w 217"/>
                <a:gd name="T33" fmla="*/ 21 h 356"/>
                <a:gd name="T34" fmla="*/ 7 w 217"/>
                <a:gd name="T35" fmla="*/ 22 h 356"/>
                <a:gd name="T36" fmla="*/ 7 w 217"/>
                <a:gd name="T37" fmla="*/ 22 h 356"/>
                <a:gd name="T38" fmla="*/ 7 w 217"/>
                <a:gd name="T39" fmla="*/ 22 h 356"/>
                <a:gd name="T40" fmla="*/ 7 w 217"/>
                <a:gd name="T41" fmla="*/ 22 h 356"/>
                <a:gd name="T42" fmla="*/ 6 w 217"/>
                <a:gd name="T43" fmla="*/ 24 h 356"/>
                <a:gd name="T44" fmla="*/ 6 w 217"/>
                <a:gd name="T45" fmla="*/ 24 h 356"/>
                <a:gd name="T46" fmla="*/ 5 w 217"/>
                <a:gd name="T47" fmla="*/ 25 h 356"/>
                <a:gd name="T48" fmla="*/ 5 w 217"/>
                <a:gd name="T49" fmla="*/ 25 h 356"/>
                <a:gd name="T50" fmla="*/ 5 w 217"/>
                <a:gd name="T51" fmla="*/ 25 h 356"/>
                <a:gd name="T52" fmla="*/ 5 w 217"/>
                <a:gd name="T53" fmla="*/ 25 h 356"/>
                <a:gd name="T54" fmla="*/ 4 w 217"/>
                <a:gd name="T55" fmla="*/ 26 h 356"/>
                <a:gd name="T56" fmla="*/ 4 w 217"/>
                <a:gd name="T57" fmla="*/ 26 h 356"/>
                <a:gd name="T58" fmla="*/ 4 w 217"/>
                <a:gd name="T59" fmla="*/ 28 h 356"/>
                <a:gd name="T60" fmla="*/ 3 w 217"/>
                <a:gd name="T61" fmla="*/ 28 h 356"/>
                <a:gd name="T62" fmla="*/ 3 w 217"/>
                <a:gd name="T63" fmla="*/ 28 h 356"/>
                <a:gd name="T64" fmla="*/ 3 w 217"/>
                <a:gd name="T65" fmla="*/ 28 h 356"/>
                <a:gd name="T66" fmla="*/ 3 w 217"/>
                <a:gd name="T67" fmla="*/ 29 h 356"/>
                <a:gd name="T68" fmla="*/ 3 w 217"/>
                <a:gd name="T69" fmla="*/ 29 h 356"/>
                <a:gd name="T70" fmla="*/ 3 w 217"/>
                <a:gd name="T71" fmla="*/ 29 h 356"/>
                <a:gd name="T72" fmla="*/ 2 w 217"/>
                <a:gd name="T73" fmla="*/ 29 h 356"/>
                <a:gd name="T74" fmla="*/ 2 w 217"/>
                <a:gd name="T75" fmla="*/ 30 h 356"/>
                <a:gd name="T76" fmla="*/ 2 w 217"/>
                <a:gd name="T77" fmla="*/ 31 h 356"/>
                <a:gd name="T78" fmla="*/ 1 w 217"/>
                <a:gd name="T79" fmla="*/ 32 h 356"/>
                <a:gd name="T80" fmla="*/ 1 w 217"/>
                <a:gd name="T81" fmla="*/ 32 h 356"/>
                <a:gd name="T82" fmla="*/ 1 w 217"/>
                <a:gd name="T83" fmla="*/ 32 h 356"/>
                <a:gd name="T84" fmla="*/ 0 w 217"/>
                <a:gd name="T85" fmla="*/ 213 h 356"/>
                <a:gd name="T86" fmla="*/ 9 w 217"/>
                <a:gd name="T87" fmla="*/ 237 h 356"/>
                <a:gd name="T88" fmla="*/ 216 w 217"/>
                <a:gd name="T89" fmla="*/ 356 h 356"/>
                <a:gd name="T90" fmla="*/ 217 w 217"/>
                <a:gd name="T91" fmla="*/ 108 h 356"/>
                <a:gd name="T92" fmla="*/ 29 w 217"/>
                <a:gd name="T93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7" h="356">
                  <a:moveTo>
                    <a:pt x="29" y="0"/>
                  </a:moveTo>
                  <a:cubicBezTo>
                    <a:pt x="23" y="4"/>
                    <a:pt x="18" y="9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0" y="18"/>
                    <a:pt x="10" y="18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9" y="19"/>
                    <a:pt x="9" y="19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3"/>
                    <a:pt x="6" y="23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7"/>
                    <a:pt x="4" y="27"/>
                    <a:pt x="4" y="28"/>
                  </a:cubicBezTo>
                  <a:cubicBezTo>
                    <a:pt x="4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1"/>
                    <a:pt x="2" y="31"/>
                  </a:cubicBezTo>
                  <a:cubicBezTo>
                    <a:pt x="1" y="31"/>
                    <a:pt x="1" y="31"/>
                    <a:pt x="1" y="3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3" y="221"/>
                    <a:pt x="6" y="229"/>
                    <a:pt x="9" y="237"/>
                  </a:cubicBezTo>
                  <a:cubicBezTo>
                    <a:pt x="216" y="356"/>
                    <a:pt x="216" y="356"/>
                    <a:pt x="216" y="356"/>
                  </a:cubicBezTo>
                  <a:cubicBezTo>
                    <a:pt x="217" y="108"/>
                    <a:pt x="217" y="108"/>
                    <a:pt x="217" y="108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rgbClr val="DFE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0" name="Freeform 411">
              <a:extLst>
                <a:ext uri="{FF2B5EF4-FFF2-40B4-BE49-F238E27FC236}">
                  <a16:creationId xmlns:a16="http://schemas.microsoft.com/office/drawing/2014/main" id="{EEA37146-6543-4E73-8094-3F73203F3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21963" y="3325239"/>
              <a:ext cx="174625" cy="214313"/>
            </a:xfrm>
            <a:custGeom>
              <a:avLst/>
              <a:gdLst>
                <a:gd name="T0" fmla="*/ 110 w 110"/>
                <a:gd name="T1" fmla="*/ 64 h 135"/>
                <a:gd name="T2" fmla="*/ 110 w 110"/>
                <a:gd name="T3" fmla="*/ 135 h 135"/>
                <a:gd name="T4" fmla="*/ 0 w 110"/>
                <a:gd name="T5" fmla="*/ 71 h 135"/>
                <a:gd name="T6" fmla="*/ 2 w 110"/>
                <a:gd name="T7" fmla="*/ 37 h 135"/>
                <a:gd name="T8" fmla="*/ 0 w 110"/>
                <a:gd name="T9" fmla="*/ 0 h 135"/>
                <a:gd name="T10" fmla="*/ 110 w 110"/>
                <a:gd name="T11" fmla="*/ 6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135">
                  <a:moveTo>
                    <a:pt x="110" y="64"/>
                  </a:moveTo>
                  <a:cubicBezTo>
                    <a:pt x="110" y="135"/>
                    <a:pt x="110" y="135"/>
                    <a:pt x="110" y="13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1" y="60"/>
                    <a:pt x="2" y="49"/>
                    <a:pt x="2" y="37"/>
                  </a:cubicBezTo>
                  <a:cubicBezTo>
                    <a:pt x="2" y="25"/>
                    <a:pt x="1" y="13"/>
                    <a:pt x="0" y="0"/>
                  </a:cubicBezTo>
                  <a:lnTo>
                    <a:pt x="110" y="64"/>
                  </a:lnTo>
                  <a:close/>
                </a:path>
              </a:pathLst>
            </a:custGeom>
            <a:solidFill>
              <a:srgbClr val="B0B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1" name="Freeform 412">
              <a:extLst>
                <a:ext uri="{FF2B5EF4-FFF2-40B4-BE49-F238E27FC236}">
                  <a16:creationId xmlns:a16="http://schemas.microsoft.com/office/drawing/2014/main" id="{4E681708-366A-40A8-A20E-99DED2FC4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21963" y="3253801"/>
              <a:ext cx="296863" cy="173038"/>
            </a:xfrm>
            <a:custGeom>
              <a:avLst/>
              <a:gdLst>
                <a:gd name="T0" fmla="*/ 0 w 187"/>
                <a:gd name="T1" fmla="*/ 45 h 109"/>
                <a:gd name="T2" fmla="*/ 77 w 187"/>
                <a:gd name="T3" fmla="*/ 0 h 109"/>
                <a:gd name="T4" fmla="*/ 187 w 187"/>
                <a:gd name="T5" fmla="*/ 64 h 109"/>
                <a:gd name="T6" fmla="*/ 110 w 187"/>
                <a:gd name="T7" fmla="*/ 109 h 109"/>
                <a:gd name="T8" fmla="*/ 0 w 187"/>
                <a:gd name="T9" fmla="*/ 4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09">
                  <a:moveTo>
                    <a:pt x="0" y="45"/>
                  </a:moveTo>
                  <a:lnTo>
                    <a:pt x="77" y="0"/>
                  </a:lnTo>
                  <a:lnTo>
                    <a:pt x="187" y="64"/>
                  </a:lnTo>
                  <a:lnTo>
                    <a:pt x="110" y="109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2" name="Freeform 413">
              <a:extLst>
                <a:ext uri="{FF2B5EF4-FFF2-40B4-BE49-F238E27FC236}">
                  <a16:creationId xmlns:a16="http://schemas.microsoft.com/office/drawing/2014/main" id="{AA02A0C1-CADB-4FD2-9DED-FFB544A093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96588" y="3355401"/>
              <a:ext cx="122238" cy="184150"/>
            </a:xfrm>
            <a:custGeom>
              <a:avLst/>
              <a:gdLst>
                <a:gd name="T0" fmla="*/ 0 w 77"/>
                <a:gd name="T1" fmla="*/ 45 h 116"/>
                <a:gd name="T2" fmla="*/ 77 w 77"/>
                <a:gd name="T3" fmla="*/ 0 h 116"/>
                <a:gd name="T4" fmla="*/ 77 w 77"/>
                <a:gd name="T5" fmla="*/ 71 h 116"/>
                <a:gd name="T6" fmla="*/ 0 w 77"/>
                <a:gd name="T7" fmla="*/ 116 h 116"/>
                <a:gd name="T8" fmla="*/ 0 w 77"/>
                <a:gd name="T9" fmla="*/ 4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16">
                  <a:moveTo>
                    <a:pt x="0" y="45"/>
                  </a:moveTo>
                  <a:lnTo>
                    <a:pt x="77" y="0"/>
                  </a:lnTo>
                  <a:lnTo>
                    <a:pt x="77" y="71"/>
                  </a:lnTo>
                  <a:lnTo>
                    <a:pt x="0" y="116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3" name="Freeform 414">
              <a:extLst>
                <a:ext uri="{FF2B5EF4-FFF2-40B4-BE49-F238E27FC236}">
                  <a16:creationId xmlns:a16="http://schemas.microsoft.com/office/drawing/2014/main" id="{9274959D-6C95-4665-AD3C-027C64692B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96588" y="3296664"/>
              <a:ext cx="568325" cy="328613"/>
            </a:xfrm>
            <a:custGeom>
              <a:avLst/>
              <a:gdLst>
                <a:gd name="T0" fmla="*/ 0 w 358"/>
                <a:gd name="T1" fmla="*/ 45 h 207"/>
                <a:gd name="T2" fmla="*/ 77 w 358"/>
                <a:gd name="T3" fmla="*/ 0 h 207"/>
                <a:gd name="T4" fmla="*/ 358 w 358"/>
                <a:gd name="T5" fmla="*/ 162 h 207"/>
                <a:gd name="T6" fmla="*/ 281 w 358"/>
                <a:gd name="T7" fmla="*/ 207 h 207"/>
                <a:gd name="T8" fmla="*/ 0 w 358"/>
                <a:gd name="T9" fmla="*/ 4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207">
                  <a:moveTo>
                    <a:pt x="0" y="45"/>
                  </a:moveTo>
                  <a:lnTo>
                    <a:pt x="77" y="0"/>
                  </a:lnTo>
                  <a:lnTo>
                    <a:pt x="358" y="162"/>
                  </a:lnTo>
                  <a:lnTo>
                    <a:pt x="281" y="207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FF8A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4" name="Freeform 415">
              <a:extLst>
                <a:ext uri="{FF2B5EF4-FFF2-40B4-BE49-F238E27FC236}">
                  <a16:creationId xmlns:a16="http://schemas.microsoft.com/office/drawing/2014/main" id="{5ADBBDCB-B601-4CAA-869A-50963EB3C3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42676" y="3553839"/>
              <a:ext cx="222250" cy="307975"/>
            </a:xfrm>
            <a:custGeom>
              <a:avLst/>
              <a:gdLst>
                <a:gd name="T0" fmla="*/ 122 w 140"/>
                <a:gd name="T1" fmla="*/ 150 h 194"/>
                <a:gd name="T2" fmla="*/ 44 w 140"/>
                <a:gd name="T3" fmla="*/ 194 h 194"/>
                <a:gd name="T4" fmla="*/ 63 w 140"/>
                <a:gd name="T5" fmla="*/ 154 h 194"/>
                <a:gd name="T6" fmla="*/ 0 w 140"/>
                <a:gd name="T7" fmla="*/ 45 h 194"/>
                <a:gd name="T8" fmla="*/ 77 w 140"/>
                <a:gd name="T9" fmla="*/ 0 h 194"/>
                <a:gd name="T10" fmla="*/ 140 w 140"/>
                <a:gd name="T11" fmla="*/ 109 h 194"/>
                <a:gd name="T12" fmla="*/ 122 w 140"/>
                <a:gd name="T13" fmla="*/ 15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194">
                  <a:moveTo>
                    <a:pt x="122" y="150"/>
                  </a:moveTo>
                  <a:cubicBezTo>
                    <a:pt x="44" y="194"/>
                    <a:pt x="44" y="194"/>
                    <a:pt x="44" y="194"/>
                  </a:cubicBezTo>
                  <a:cubicBezTo>
                    <a:pt x="56" y="188"/>
                    <a:pt x="63" y="174"/>
                    <a:pt x="63" y="154"/>
                  </a:cubicBezTo>
                  <a:cubicBezTo>
                    <a:pt x="63" y="114"/>
                    <a:pt x="35" y="65"/>
                    <a:pt x="0" y="45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12" y="20"/>
                    <a:pt x="140" y="69"/>
                    <a:pt x="140" y="109"/>
                  </a:cubicBezTo>
                  <a:cubicBezTo>
                    <a:pt x="140" y="129"/>
                    <a:pt x="133" y="143"/>
                    <a:pt x="122" y="150"/>
                  </a:cubicBezTo>
                  <a:close/>
                </a:path>
              </a:pathLst>
            </a:custGeom>
            <a:solidFill>
              <a:srgbClr val="FF8A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5" name="Freeform 416">
              <a:extLst>
                <a:ext uri="{FF2B5EF4-FFF2-40B4-BE49-F238E27FC236}">
                  <a16:creationId xmlns:a16="http://schemas.microsoft.com/office/drawing/2014/main" id="{26239AAD-7DC9-40A7-B2CF-1F2D063087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96588" y="3368101"/>
              <a:ext cx="546100" cy="519113"/>
            </a:xfrm>
            <a:custGeom>
              <a:avLst/>
              <a:gdLst>
                <a:gd name="T0" fmla="*/ 281 w 344"/>
                <a:gd name="T1" fmla="*/ 162 h 327"/>
                <a:gd name="T2" fmla="*/ 344 w 344"/>
                <a:gd name="T3" fmla="*/ 271 h 327"/>
                <a:gd name="T4" fmla="*/ 280 w 344"/>
                <a:gd name="T5" fmla="*/ 307 h 327"/>
                <a:gd name="T6" fmla="*/ 0 w 344"/>
                <a:gd name="T7" fmla="*/ 145 h 327"/>
                <a:gd name="T8" fmla="*/ 0 w 344"/>
                <a:gd name="T9" fmla="*/ 108 h 327"/>
                <a:gd name="T10" fmla="*/ 0 w 344"/>
                <a:gd name="T11" fmla="*/ 37 h 327"/>
                <a:gd name="T12" fmla="*/ 0 w 344"/>
                <a:gd name="T13" fmla="*/ 0 h 327"/>
                <a:gd name="T14" fmla="*/ 281 w 344"/>
                <a:gd name="T15" fmla="*/ 16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4" h="327">
                  <a:moveTo>
                    <a:pt x="281" y="162"/>
                  </a:moveTo>
                  <a:cubicBezTo>
                    <a:pt x="316" y="182"/>
                    <a:pt x="344" y="231"/>
                    <a:pt x="344" y="271"/>
                  </a:cubicBezTo>
                  <a:cubicBezTo>
                    <a:pt x="344" y="311"/>
                    <a:pt x="315" y="327"/>
                    <a:pt x="280" y="307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81" y="162"/>
                  </a:lnTo>
                  <a:close/>
                </a:path>
              </a:pathLst>
            </a:custGeom>
            <a:solidFill>
              <a:srgbClr val="F451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6" name="Freeform 417">
              <a:extLst>
                <a:ext uri="{FF2B5EF4-FFF2-40B4-BE49-F238E27FC236}">
                  <a16:creationId xmlns:a16="http://schemas.microsoft.com/office/drawing/2014/main" id="{6B008E7B-3F71-490B-925C-E2C8E5C732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86838" y="1499614"/>
              <a:ext cx="265113" cy="1187450"/>
            </a:xfrm>
            <a:custGeom>
              <a:avLst/>
              <a:gdLst>
                <a:gd name="T0" fmla="*/ 166 w 167"/>
                <a:gd name="T1" fmla="*/ 30 h 749"/>
                <a:gd name="T2" fmla="*/ 165 w 167"/>
                <a:gd name="T3" fmla="*/ 28 h 749"/>
                <a:gd name="T4" fmla="*/ 163 w 167"/>
                <a:gd name="T5" fmla="*/ 23 h 749"/>
                <a:gd name="T6" fmla="*/ 162 w 167"/>
                <a:gd name="T7" fmla="*/ 23 h 749"/>
                <a:gd name="T8" fmla="*/ 159 w 167"/>
                <a:gd name="T9" fmla="*/ 17 h 749"/>
                <a:gd name="T10" fmla="*/ 159 w 167"/>
                <a:gd name="T11" fmla="*/ 16 h 749"/>
                <a:gd name="T12" fmla="*/ 157 w 167"/>
                <a:gd name="T13" fmla="*/ 10 h 749"/>
                <a:gd name="T14" fmla="*/ 157 w 167"/>
                <a:gd name="T15" fmla="*/ 10 h 749"/>
                <a:gd name="T16" fmla="*/ 155 w 167"/>
                <a:gd name="T17" fmla="*/ 3 h 749"/>
                <a:gd name="T18" fmla="*/ 154 w 167"/>
                <a:gd name="T19" fmla="*/ 3 h 749"/>
                <a:gd name="T20" fmla="*/ 154 w 167"/>
                <a:gd name="T21" fmla="*/ 0 h 749"/>
                <a:gd name="T22" fmla="*/ 0 w 167"/>
                <a:gd name="T23" fmla="*/ 738 h 749"/>
                <a:gd name="T24" fmla="*/ 18 w 167"/>
                <a:gd name="T25" fmla="*/ 749 h 749"/>
                <a:gd name="T26" fmla="*/ 167 w 167"/>
                <a:gd name="T27" fmla="*/ 32 h 749"/>
                <a:gd name="T28" fmla="*/ 166 w 167"/>
                <a:gd name="T29" fmla="*/ 30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7" h="749">
                  <a:moveTo>
                    <a:pt x="166" y="30"/>
                  </a:moveTo>
                  <a:cubicBezTo>
                    <a:pt x="166" y="29"/>
                    <a:pt x="166" y="29"/>
                    <a:pt x="165" y="28"/>
                  </a:cubicBezTo>
                  <a:cubicBezTo>
                    <a:pt x="164" y="27"/>
                    <a:pt x="163" y="25"/>
                    <a:pt x="163" y="23"/>
                  </a:cubicBezTo>
                  <a:cubicBezTo>
                    <a:pt x="162" y="23"/>
                    <a:pt x="162" y="23"/>
                    <a:pt x="162" y="23"/>
                  </a:cubicBezTo>
                  <a:cubicBezTo>
                    <a:pt x="161" y="21"/>
                    <a:pt x="160" y="19"/>
                    <a:pt x="159" y="17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8" y="14"/>
                    <a:pt x="158" y="12"/>
                    <a:pt x="157" y="10"/>
                  </a:cubicBezTo>
                  <a:cubicBezTo>
                    <a:pt x="157" y="10"/>
                    <a:pt x="157" y="10"/>
                    <a:pt x="157" y="10"/>
                  </a:cubicBezTo>
                  <a:cubicBezTo>
                    <a:pt x="156" y="8"/>
                    <a:pt x="155" y="6"/>
                    <a:pt x="155" y="3"/>
                  </a:cubicBezTo>
                  <a:cubicBezTo>
                    <a:pt x="154" y="3"/>
                    <a:pt x="154" y="3"/>
                    <a:pt x="154" y="3"/>
                  </a:cubicBezTo>
                  <a:cubicBezTo>
                    <a:pt x="154" y="2"/>
                    <a:pt x="154" y="1"/>
                    <a:pt x="154" y="0"/>
                  </a:cubicBezTo>
                  <a:cubicBezTo>
                    <a:pt x="0" y="738"/>
                    <a:pt x="0" y="738"/>
                    <a:pt x="0" y="738"/>
                  </a:cubicBezTo>
                  <a:cubicBezTo>
                    <a:pt x="18" y="749"/>
                    <a:pt x="18" y="749"/>
                    <a:pt x="18" y="749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7" y="31"/>
                    <a:pt x="166" y="30"/>
                    <a:pt x="166" y="30"/>
                  </a:cubicBezTo>
                  <a:close/>
                </a:path>
              </a:pathLst>
            </a:custGeom>
            <a:solidFill>
              <a:srgbClr val="4DB6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7" name="Freeform 418">
              <a:extLst>
                <a:ext uri="{FF2B5EF4-FFF2-40B4-BE49-F238E27FC236}">
                  <a16:creationId xmlns:a16="http://schemas.microsoft.com/office/drawing/2014/main" id="{3E13BBAC-10CD-4445-BF2A-095AAD8ED3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52013" y="5487414"/>
              <a:ext cx="106363" cy="677863"/>
            </a:xfrm>
            <a:custGeom>
              <a:avLst/>
              <a:gdLst>
                <a:gd name="T0" fmla="*/ 1 w 67"/>
                <a:gd name="T1" fmla="*/ 38 h 427"/>
                <a:gd name="T2" fmla="*/ 67 w 67"/>
                <a:gd name="T3" fmla="*/ 0 h 427"/>
                <a:gd name="T4" fmla="*/ 66 w 67"/>
                <a:gd name="T5" fmla="*/ 388 h 427"/>
                <a:gd name="T6" fmla="*/ 0 w 67"/>
                <a:gd name="T7" fmla="*/ 427 h 427"/>
                <a:gd name="T8" fmla="*/ 1 w 67"/>
                <a:gd name="T9" fmla="*/ 38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427">
                  <a:moveTo>
                    <a:pt x="1" y="38"/>
                  </a:moveTo>
                  <a:lnTo>
                    <a:pt x="67" y="0"/>
                  </a:lnTo>
                  <a:lnTo>
                    <a:pt x="66" y="388"/>
                  </a:lnTo>
                  <a:lnTo>
                    <a:pt x="0" y="427"/>
                  </a:lnTo>
                  <a:lnTo>
                    <a:pt x="1" y="38"/>
                  </a:lnTo>
                  <a:close/>
                </a:path>
              </a:pathLst>
            </a:custGeom>
            <a:solidFill>
              <a:srgbClr val="FF8A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8" name="Freeform 419">
              <a:extLst>
                <a:ext uri="{FF2B5EF4-FFF2-40B4-BE49-F238E27FC236}">
                  <a16:creationId xmlns:a16="http://schemas.microsoft.com/office/drawing/2014/main" id="{5EF55A71-638D-47C0-923D-1D03F0AFD1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18613" y="5177851"/>
              <a:ext cx="639763" cy="369888"/>
            </a:xfrm>
            <a:custGeom>
              <a:avLst/>
              <a:gdLst>
                <a:gd name="T0" fmla="*/ 0 w 403"/>
                <a:gd name="T1" fmla="*/ 38 h 233"/>
                <a:gd name="T2" fmla="*/ 66 w 403"/>
                <a:gd name="T3" fmla="*/ 0 h 233"/>
                <a:gd name="T4" fmla="*/ 403 w 403"/>
                <a:gd name="T5" fmla="*/ 195 h 233"/>
                <a:gd name="T6" fmla="*/ 337 w 403"/>
                <a:gd name="T7" fmla="*/ 233 h 233"/>
                <a:gd name="T8" fmla="*/ 0 w 403"/>
                <a:gd name="T9" fmla="*/ 38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3" h="233">
                  <a:moveTo>
                    <a:pt x="0" y="38"/>
                  </a:moveTo>
                  <a:lnTo>
                    <a:pt x="66" y="0"/>
                  </a:lnTo>
                  <a:lnTo>
                    <a:pt x="403" y="195"/>
                  </a:lnTo>
                  <a:lnTo>
                    <a:pt x="337" y="233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FF70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9" name="Freeform 420">
              <a:extLst>
                <a:ext uri="{FF2B5EF4-FFF2-40B4-BE49-F238E27FC236}">
                  <a16:creationId xmlns:a16="http://schemas.microsoft.com/office/drawing/2014/main" id="{D109F17F-FFA8-4513-98CA-A39F2EE45D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15438" y="5238176"/>
              <a:ext cx="538163" cy="927100"/>
            </a:xfrm>
            <a:custGeom>
              <a:avLst/>
              <a:gdLst>
                <a:gd name="T0" fmla="*/ 339 w 339"/>
                <a:gd name="T1" fmla="*/ 195 h 584"/>
                <a:gd name="T2" fmla="*/ 338 w 339"/>
                <a:gd name="T3" fmla="*/ 584 h 584"/>
                <a:gd name="T4" fmla="*/ 0 w 339"/>
                <a:gd name="T5" fmla="*/ 388 h 584"/>
                <a:gd name="T6" fmla="*/ 2 w 339"/>
                <a:gd name="T7" fmla="*/ 0 h 584"/>
                <a:gd name="T8" fmla="*/ 339 w 339"/>
                <a:gd name="T9" fmla="*/ 195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9" h="584">
                  <a:moveTo>
                    <a:pt x="339" y="195"/>
                  </a:moveTo>
                  <a:lnTo>
                    <a:pt x="338" y="584"/>
                  </a:lnTo>
                  <a:lnTo>
                    <a:pt x="0" y="388"/>
                  </a:lnTo>
                  <a:lnTo>
                    <a:pt x="2" y="0"/>
                  </a:lnTo>
                  <a:lnTo>
                    <a:pt x="339" y="195"/>
                  </a:lnTo>
                  <a:close/>
                </a:path>
              </a:pathLst>
            </a:custGeom>
            <a:solidFill>
              <a:srgbClr val="F451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0" name="Freeform 421">
              <a:extLst>
                <a:ext uri="{FF2B5EF4-FFF2-40B4-BE49-F238E27FC236}">
                  <a16:creationId xmlns:a16="http://schemas.microsoft.com/office/drawing/2014/main" id="{BF58AB90-6FD4-46E4-988D-9C627E60DF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7526" y="5469951"/>
              <a:ext cx="155575" cy="228600"/>
            </a:xfrm>
            <a:custGeom>
              <a:avLst/>
              <a:gdLst>
                <a:gd name="T0" fmla="*/ 50 w 98"/>
                <a:gd name="T1" fmla="*/ 16 h 144"/>
                <a:gd name="T2" fmla="*/ 98 w 98"/>
                <a:gd name="T3" fmla="*/ 100 h 144"/>
                <a:gd name="T4" fmla="*/ 49 w 98"/>
                <a:gd name="T5" fmla="*/ 128 h 144"/>
                <a:gd name="T6" fmla="*/ 0 w 98"/>
                <a:gd name="T7" fmla="*/ 44 h 144"/>
                <a:gd name="T8" fmla="*/ 50 w 98"/>
                <a:gd name="T9" fmla="*/ 1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44">
                  <a:moveTo>
                    <a:pt x="50" y="16"/>
                  </a:moveTo>
                  <a:cubicBezTo>
                    <a:pt x="76" y="31"/>
                    <a:pt x="98" y="69"/>
                    <a:pt x="98" y="100"/>
                  </a:cubicBezTo>
                  <a:cubicBezTo>
                    <a:pt x="98" y="132"/>
                    <a:pt x="76" y="144"/>
                    <a:pt x="49" y="128"/>
                  </a:cubicBezTo>
                  <a:cubicBezTo>
                    <a:pt x="22" y="113"/>
                    <a:pt x="0" y="75"/>
                    <a:pt x="0" y="44"/>
                  </a:cubicBezTo>
                  <a:cubicBezTo>
                    <a:pt x="0" y="13"/>
                    <a:pt x="22" y="0"/>
                    <a:pt x="50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1" name="Freeform 422">
              <a:extLst>
                <a:ext uri="{FF2B5EF4-FFF2-40B4-BE49-F238E27FC236}">
                  <a16:creationId xmlns:a16="http://schemas.microsoft.com/office/drawing/2014/main" id="{E39A6A0D-CC5D-4F0D-80E8-20C12499F3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47201" y="5595364"/>
              <a:ext cx="274638" cy="323850"/>
            </a:xfrm>
            <a:custGeom>
              <a:avLst/>
              <a:gdLst>
                <a:gd name="T0" fmla="*/ 133 w 173"/>
                <a:gd name="T1" fmla="*/ 66 h 204"/>
                <a:gd name="T2" fmla="*/ 173 w 173"/>
                <a:gd name="T3" fmla="*/ 135 h 204"/>
                <a:gd name="T4" fmla="*/ 173 w 173"/>
                <a:gd name="T5" fmla="*/ 204 h 204"/>
                <a:gd name="T6" fmla="*/ 143 w 173"/>
                <a:gd name="T7" fmla="*/ 187 h 204"/>
                <a:gd name="T8" fmla="*/ 143 w 173"/>
                <a:gd name="T9" fmla="*/ 149 h 204"/>
                <a:gd name="T10" fmla="*/ 139 w 173"/>
                <a:gd name="T11" fmla="*/ 141 h 204"/>
                <a:gd name="T12" fmla="*/ 135 w 173"/>
                <a:gd name="T13" fmla="*/ 143 h 204"/>
                <a:gd name="T14" fmla="*/ 134 w 173"/>
                <a:gd name="T15" fmla="*/ 181 h 204"/>
                <a:gd name="T16" fmla="*/ 39 w 173"/>
                <a:gd name="T17" fmla="*/ 126 h 204"/>
                <a:gd name="T18" fmla="*/ 39 w 173"/>
                <a:gd name="T19" fmla="*/ 88 h 204"/>
                <a:gd name="T20" fmla="*/ 35 w 173"/>
                <a:gd name="T21" fmla="*/ 80 h 204"/>
                <a:gd name="T22" fmla="*/ 30 w 173"/>
                <a:gd name="T23" fmla="*/ 83 h 204"/>
                <a:gd name="T24" fmla="*/ 30 w 173"/>
                <a:gd name="T25" fmla="*/ 121 h 204"/>
                <a:gd name="T26" fmla="*/ 0 w 173"/>
                <a:gd name="T27" fmla="*/ 104 h 204"/>
                <a:gd name="T28" fmla="*/ 1 w 173"/>
                <a:gd name="T29" fmla="*/ 35 h 204"/>
                <a:gd name="T30" fmla="*/ 41 w 173"/>
                <a:gd name="T31" fmla="*/ 12 h 204"/>
                <a:gd name="T32" fmla="*/ 42 w 173"/>
                <a:gd name="T33" fmla="*/ 13 h 204"/>
                <a:gd name="T34" fmla="*/ 87 w 173"/>
                <a:gd name="T35" fmla="*/ 63 h 204"/>
                <a:gd name="T36" fmla="*/ 132 w 173"/>
                <a:gd name="T37" fmla="*/ 65 h 204"/>
                <a:gd name="T38" fmla="*/ 133 w 173"/>
                <a:gd name="T39" fmla="*/ 6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" h="204">
                  <a:moveTo>
                    <a:pt x="133" y="66"/>
                  </a:moveTo>
                  <a:cubicBezTo>
                    <a:pt x="155" y="79"/>
                    <a:pt x="173" y="110"/>
                    <a:pt x="173" y="135"/>
                  </a:cubicBezTo>
                  <a:cubicBezTo>
                    <a:pt x="173" y="204"/>
                    <a:pt x="173" y="204"/>
                    <a:pt x="173" y="204"/>
                  </a:cubicBezTo>
                  <a:cubicBezTo>
                    <a:pt x="143" y="187"/>
                    <a:pt x="143" y="187"/>
                    <a:pt x="143" y="187"/>
                  </a:cubicBezTo>
                  <a:cubicBezTo>
                    <a:pt x="143" y="149"/>
                    <a:pt x="143" y="149"/>
                    <a:pt x="143" y="149"/>
                  </a:cubicBezTo>
                  <a:cubicBezTo>
                    <a:pt x="143" y="146"/>
                    <a:pt x="141" y="142"/>
                    <a:pt x="139" y="141"/>
                  </a:cubicBezTo>
                  <a:cubicBezTo>
                    <a:pt x="137" y="140"/>
                    <a:pt x="135" y="141"/>
                    <a:pt x="135" y="143"/>
                  </a:cubicBezTo>
                  <a:cubicBezTo>
                    <a:pt x="134" y="181"/>
                    <a:pt x="134" y="181"/>
                    <a:pt x="134" y="181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39" y="85"/>
                    <a:pt x="37" y="82"/>
                    <a:pt x="35" y="80"/>
                  </a:cubicBezTo>
                  <a:cubicBezTo>
                    <a:pt x="32" y="79"/>
                    <a:pt x="30" y="80"/>
                    <a:pt x="30" y="83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10"/>
                    <a:pt x="19" y="0"/>
                    <a:pt x="41" y="12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53" y="34"/>
                    <a:pt x="69" y="53"/>
                    <a:pt x="87" y="63"/>
                  </a:cubicBezTo>
                  <a:cubicBezTo>
                    <a:pt x="105" y="74"/>
                    <a:pt x="121" y="74"/>
                    <a:pt x="132" y="65"/>
                  </a:cubicBezTo>
                  <a:lnTo>
                    <a:pt x="133" y="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2" name="Freeform 423">
              <a:extLst>
                <a:ext uri="{FF2B5EF4-FFF2-40B4-BE49-F238E27FC236}">
                  <a16:creationId xmlns:a16="http://schemas.microsoft.com/office/drawing/2014/main" id="{32174C2C-3D96-413E-A93F-B93A93AA17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1751" y="5528689"/>
              <a:ext cx="85725" cy="544513"/>
            </a:xfrm>
            <a:custGeom>
              <a:avLst/>
              <a:gdLst>
                <a:gd name="T0" fmla="*/ 1 w 54"/>
                <a:gd name="T1" fmla="*/ 30 h 343"/>
                <a:gd name="T2" fmla="*/ 54 w 54"/>
                <a:gd name="T3" fmla="*/ 0 h 343"/>
                <a:gd name="T4" fmla="*/ 53 w 54"/>
                <a:gd name="T5" fmla="*/ 312 h 343"/>
                <a:gd name="T6" fmla="*/ 0 w 54"/>
                <a:gd name="T7" fmla="*/ 343 h 343"/>
                <a:gd name="T8" fmla="*/ 1 w 54"/>
                <a:gd name="T9" fmla="*/ 3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43">
                  <a:moveTo>
                    <a:pt x="1" y="30"/>
                  </a:moveTo>
                  <a:lnTo>
                    <a:pt x="54" y="0"/>
                  </a:lnTo>
                  <a:lnTo>
                    <a:pt x="53" y="312"/>
                  </a:lnTo>
                  <a:lnTo>
                    <a:pt x="0" y="343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00AC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3" name="Freeform 424">
              <a:extLst>
                <a:ext uri="{FF2B5EF4-FFF2-40B4-BE49-F238E27FC236}">
                  <a16:creationId xmlns:a16="http://schemas.microsoft.com/office/drawing/2014/main" id="{8E02B3C5-8D6D-4848-812F-5BEAF98191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3126" y="5277864"/>
              <a:ext cx="514350" cy="298450"/>
            </a:xfrm>
            <a:custGeom>
              <a:avLst/>
              <a:gdLst>
                <a:gd name="T0" fmla="*/ 0 w 324"/>
                <a:gd name="T1" fmla="*/ 31 h 188"/>
                <a:gd name="T2" fmla="*/ 53 w 324"/>
                <a:gd name="T3" fmla="*/ 0 h 188"/>
                <a:gd name="T4" fmla="*/ 324 w 324"/>
                <a:gd name="T5" fmla="*/ 158 h 188"/>
                <a:gd name="T6" fmla="*/ 271 w 324"/>
                <a:gd name="T7" fmla="*/ 188 h 188"/>
                <a:gd name="T8" fmla="*/ 0 w 324"/>
                <a:gd name="T9" fmla="*/ 31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188">
                  <a:moveTo>
                    <a:pt x="0" y="31"/>
                  </a:moveTo>
                  <a:lnTo>
                    <a:pt x="53" y="0"/>
                  </a:lnTo>
                  <a:lnTo>
                    <a:pt x="324" y="158"/>
                  </a:lnTo>
                  <a:lnTo>
                    <a:pt x="271" y="188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008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4" name="Freeform 425">
              <a:extLst>
                <a:ext uri="{FF2B5EF4-FFF2-40B4-BE49-F238E27FC236}">
                  <a16:creationId xmlns:a16="http://schemas.microsoft.com/office/drawing/2014/main" id="{706FD567-A6EC-4EC2-8A63-9232D05302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9951" y="5327076"/>
              <a:ext cx="433388" cy="746125"/>
            </a:xfrm>
            <a:custGeom>
              <a:avLst/>
              <a:gdLst>
                <a:gd name="T0" fmla="*/ 273 w 273"/>
                <a:gd name="T1" fmla="*/ 157 h 470"/>
                <a:gd name="T2" fmla="*/ 272 w 273"/>
                <a:gd name="T3" fmla="*/ 470 h 470"/>
                <a:gd name="T4" fmla="*/ 0 w 273"/>
                <a:gd name="T5" fmla="*/ 313 h 470"/>
                <a:gd name="T6" fmla="*/ 2 w 273"/>
                <a:gd name="T7" fmla="*/ 0 h 470"/>
                <a:gd name="T8" fmla="*/ 273 w 273"/>
                <a:gd name="T9" fmla="*/ 15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470">
                  <a:moveTo>
                    <a:pt x="273" y="157"/>
                  </a:moveTo>
                  <a:lnTo>
                    <a:pt x="272" y="470"/>
                  </a:lnTo>
                  <a:lnTo>
                    <a:pt x="0" y="313"/>
                  </a:lnTo>
                  <a:lnTo>
                    <a:pt x="2" y="0"/>
                  </a:lnTo>
                  <a:lnTo>
                    <a:pt x="273" y="157"/>
                  </a:lnTo>
                  <a:close/>
                </a:path>
              </a:pathLst>
            </a:custGeom>
            <a:solidFill>
              <a:srgbClr val="00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5" name="Freeform 426">
              <a:extLst>
                <a:ext uri="{FF2B5EF4-FFF2-40B4-BE49-F238E27FC236}">
                  <a16:creationId xmlns:a16="http://schemas.microsoft.com/office/drawing/2014/main" id="{B5288F61-157A-4A3C-B5F9-5023894493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62976" y="5552501"/>
              <a:ext cx="287338" cy="295275"/>
            </a:xfrm>
            <a:custGeom>
              <a:avLst/>
              <a:gdLst>
                <a:gd name="T0" fmla="*/ 154 w 181"/>
                <a:gd name="T1" fmla="*/ 76 h 186"/>
                <a:gd name="T2" fmla="*/ 145 w 181"/>
                <a:gd name="T3" fmla="*/ 44 h 186"/>
                <a:gd name="T4" fmla="*/ 145 w 181"/>
                <a:gd name="T5" fmla="*/ 33 h 186"/>
                <a:gd name="T6" fmla="*/ 138 w 181"/>
                <a:gd name="T7" fmla="*/ 26 h 186"/>
                <a:gd name="T8" fmla="*/ 124 w 181"/>
                <a:gd name="T9" fmla="*/ 17 h 186"/>
                <a:gd name="T10" fmla="*/ 120 w 181"/>
                <a:gd name="T11" fmla="*/ 14 h 186"/>
                <a:gd name="T12" fmla="*/ 111 w 181"/>
                <a:gd name="T13" fmla="*/ 18 h 186"/>
                <a:gd name="T14" fmla="*/ 76 w 181"/>
                <a:gd name="T15" fmla="*/ 9 h 186"/>
                <a:gd name="T16" fmla="*/ 70 w 181"/>
                <a:gd name="T17" fmla="*/ 0 h 186"/>
                <a:gd name="T18" fmla="*/ 63 w 181"/>
                <a:gd name="T19" fmla="*/ 0 h 186"/>
                <a:gd name="T20" fmla="*/ 54 w 181"/>
                <a:gd name="T21" fmla="*/ 2 h 186"/>
                <a:gd name="T22" fmla="*/ 42 w 181"/>
                <a:gd name="T23" fmla="*/ 5 h 186"/>
                <a:gd name="T24" fmla="*/ 41 w 181"/>
                <a:gd name="T25" fmla="*/ 16 h 186"/>
                <a:gd name="T26" fmla="*/ 18 w 181"/>
                <a:gd name="T27" fmla="*/ 37 h 186"/>
                <a:gd name="T28" fmla="*/ 9 w 181"/>
                <a:gd name="T29" fmla="*/ 36 h 186"/>
                <a:gd name="T30" fmla="*/ 6 w 181"/>
                <a:gd name="T31" fmla="*/ 41 h 186"/>
                <a:gd name="T32" fmla="*/ 4 w 181"/>
                <a:gd name="T33" fmla="*/ 47 h 186"/>
                <a:gd name="T34" fmla="*/ 1 w 181"/>
                <a:gd name="T35" fmla="*/ 58 h 186"/>
                <a:gd name="T36" fmla="*/ 3 w 181"/>
                <a:gd name="T37" fmla="*/ 69 h 186"/>
                <a:gd name="T38" fmla="*/ 19 w 181"/>
                <a:gd name="T39" fmla="*/ 78 h 186"/>
                <a:gd name="T40" fmla="*/ 15 w 181"/>
                <a:gd name="T41" fmla="*/ 108 h 186"/>
                <a:gd name="T42" fmla="*/ 10 w 181"/>
                <a:gd name="T43" fmla="*/ 117 h 186"/>
                <a:gd name="T44" fmla="*/ 17 w 181"/>
                <a:gd name="T45" fmla="*/ 130 h 186"/>
                <a:gd name="T46" fmla="*/ 26 w 181"/>
                <a:gd name="T47" fmla="*/ 143 h 186"/>
                <a:gd name="T48" fmla="*/ 37 w 181"/>
                <a:gd name="T49" fmla="*/ 144 h 186"/>
                <a:gd name="T50" fmla="*/ 68 w 181"/>
                <a:gd name="T51" fmla="*/ 156 h 186"/>
                <a:gd name="T52" fmla="*/ 68 w 181"/>
                <a:gd name="T53" fmla="*/ 173 h 186"/>
                <a:gd name="T54" fmla="*/ 77 w 181"/>
                <a:gd name="T55" fmla="*/ 180 h 186"/>
                <a:gd name="T56" fmla="*/ 89 w 181"/>
                <a:gd name="T57" fmla="*/ 184 h 186"/>
                <a:gd name="T58" fmla="*/ 96 w 181"/>
                <a:gd name="T59" fmla="*/ 185 h 186"/>
                <a:gd name="T60" fmla="*/ 103 w 181"/>
                <a:gd name="T61" fmla="*/ 186 h 186"/>
                <a:gd name="T62" fmla="*/ 106 w 181"/>
                <a:gd name="T63" fmla="*/ 178 h 186"/>
                <a:gd name="T64" fmla="*/ 138 w 181"/>
                <a:gd name="T65" fmla="*/ 171 h 186"/>
                <a:gd name="T66" fmla="*/ 149 w 181"/>
                <a:gd name="T67" fmla="*/ 176 h 186"/>
                <a:gd name="T68" fmla="*/ 159 w 181"/>
                <a:gd name="T69" fmla="*/ 169 h 186"/>
                <a:gd name="T70" fmla="*/ 165 w 181"/>
                <a:gd name="T71" fmla="*/ 162 h 186"/>
                <a:gd name="T72" fmla="*/ 168 w 181"/>
                <a:gd name="T73" fmla="*/ 158 h 186"/>
                <a:gd name="T74" fmla="*/ 163 w 181"/>
                <a:gd name="T75" fmla="*/ 148 h 186"/>
                <a:gd name="T76" fmla="*/ 173 w 181"/>
                <a:gd name="T77" fmla="*/ 116 h 186"/>
                <a:gd name="T78" fmla="*/ 181 w 181"/>
                <a:gd name="T79" fmla="*/ 111 h 186"/>
                <a:gd name="T80" fmla="*/ 181 w 181"/>
                <a:gd name="T81" fmla="*/ 107 h 186"/>
                <a:gd name="T82" fmla="*/ 179 w 181"/>
                <a:gd name="T83" fmla="*/ 92 h 186"/>
                <a:gd name="T84" fmla="*/ 176 w 181"/>
                <a:gd name="T85" fmla="*/ 83 h 186"/>
                <a:gd name="T86" fmla="*/ 118 w 181"/>
                <a:gd name="T87" fmla="*/ 140 h 186"/>
                <a:gd name="T88" fmla="*/ 129 w 181"/>
                <a:gd name="T89" fmla="*/ 7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1" h="186">
                  <a:moveTo>
                    <a:pt x="171" y="78"/>
                  </a:moveTo>
                  <a:cubicBezTo>
                    <a:pt x="171" y="78"/>
                    <a:pt x="169" y="77"/>
                    <a:pt x="166" y="77"/>
                  </a:cubicBezTo>
                  <a:cubicBezTo>
                    <a:pt x="162" y="77"/>
                    <a:pt x="158" y="76"/>
                    <a:pt x="154" y="76"/>
                  </a:cubicBezTo>
                  <a:cubicBezTo>
                    <a:pt x="153" y="72"/>
                    <a:pt x="150" y="68"/>
                    <a:pt x="148" y="64"/>
                  </a:cubicBezTo>
                  <a:cubicBezTo>
                    <a:pt x="145" y="60"/>
                    <a:pt x="143" y="57"/>
                    <a:pt x="140" y="53"/>
                  </a:cubicBezTo>
                  <a:cubicBezTo>
                    <a:pt x="142" y="50"/>
                    <a:pt x="144" y="47"/>
                    <a:pt x="145" y="44"/>
                  </a:cubicBezTo>
                  <a:cubicBezTo>
                    <a:pt x="146" y="42"/>
                    <a:pt x="147" y="40"/>
                    <a:pt x="147" y="40"/>
                  </a:cubicBezTo>
                  <a:cubicBezTo>
                    <a:pt x="148" y="39"/>
                    <a:pt x="148" y="38"/>
                    <a:pt x="147" y="37"/>
                  </a:cubicBezTo>
                  <a:cubicBezTo>
                    <a:pt x="147" y="36"/>
                    <a:pt x="146" y="34"/>
                    <a:pt x="145" y="33"/>
                  </a:cubicBezTo>
                  <a:cubicBezTo>
                    <a:pt x="145" y="33"/>
                    <a:pt x="145" y="33"/>
                    <a:pt x="144" y="32"/>
                  </a:cubicBezTo>
                  <a:cubicBezTo>
                    <a:pt x="143" y="32"/>
                    <a:pt x="142" y="31"/>
                    <a:pt x="141" y="30"/>
                  </a:cubicBezTo>
                  <a:cubicBezTo>
                    <a:pt x="140" y="29"/>
                    <a:pt x="139" y="28"/>
                    <a:pt x="138" y="26"/>
                  </a:cubicBezTo>
                  <a:cubicBezTo>
                    <a:pt x="136" y="25"/>
                    <a:pt x="135" y="24"/>
                    <a:pt x="133" y="23"/>
                  </a:cubicBezTo>
                  <a:cubicBezTo>
                    <a:pt x="132" y="22"/>
                    <a:pt x="130" y="21"/>
                    <a:pt x="129" y="20"/>
                  </a:cubicBezTo>
                  <a:cubicBezTo>
                    <a:pt x="127" y="19"/>
                    <a:pt x="126" y="18"/>
                    <a:pt x="124" y="17"/>
                  </a:cubicBezTo>
                  <a:cubicBezTo>
                    <a:pt x="123" y="16"/>
                    <a:pt x="122" y="15"/>
                    <a:pt x="122" y="15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19" y="14"/>
                    <a:pt x="118" y="13"/>
                    <a:pt x="116" y="13"/>
                  </a:cubicBezTo>
                  <a:cubicBezTo>
                    <a:pt x="115" y="13"/>
                    <a:pt x="114" y="14"/>
                    <a:pt x="114" y="15"/>
                  </a:cubicBezTo>
                  <a:cubicBezTo>
                    <a:pt x="114" y="15"/>
                    <a:pt x="113" y="16"/>
                    <a:pt x="111" y="18"/>
                  </a:cubicBezTo>
                  <a:cubicBezTo>
                    <a:pt x="109" y="21"/>
                    <a:pt x="107" y="24"/>
                    <a:pt x="106" y="27"/>
                  </a:cubicBezTo>
                  <a:cubicBezTo>
                    <a:pt x="98" y="23"/>
                    <a:pt x="89" y="21"/>
                    <a:pt x="81" y="20"/>
                  </a:cubicBezTo>
                  <a:cubicBezTo>
                    <a:pt x="80" y="16"/>
                    <a:pt x="78" y="12"/>
                    <a:pt x="76" y="9"/>
                  </a:cubicBezTo>
                  <a:cubicBezTo>
                    <a:pt x="75" y="6"/>
                    <a:pt x="74" y="4"/>
                    <a:pt x="74" y="4"/>
                  </a:cubicBezTo>
                  <a:cubicBezTo>
                    <a:pt x="73" y="3"/>
                    <a:pt x="73" y="2"/>
                    <a:pt x="72" y="1"/>
                  </a:cubicBezTo>
                  <a:cubicBezTo>
                    <a:pt x="71" y="1"/>
                    <a:pt x="70" y="0"/>
                    <a:pt x="70" y="0"/>
                  </a:cubicBezTo>
                  <a:cubicBezTo>
                    <a:pt x="69" y="0"/>
                    <a:pt x="68" y="0"/>
                    <a:pt x="68" y="0"/>
                  </a:cubicBezTo>
                  <a:cubicBezTo>
                    <a:pt x="68" y="0"/>
                    <a:pt x="67" y="0"/>
                    <a:pt x="66" y="0"/>
                  </a:cubicBezTo>
                  <a:cubicBezTo>
                    <a:pt x="66" y="0"/>
                    <a:pt x="65" y="0"/>
                    <a:pt x="63" y="0"/>
                  </a:cubicBezTo>
                  <a:cubicBezTo>
                    <a:pt x="62" y="0"/>
                    <a:pt x="61" y="1"/>
                    <a:pt x="59" y="1"/>
                  </a:cubicBezTo>
                  <a:cubicBezTo>
                    <a:pt x="58" y="1"/>
                    <a:pt x="58" y="1"/>
                    <a:pt x="57" y="1"/>
                  </a:cubicBezTo>
                  <a:cubicBezTo>
                    <a:pt x="56" y="1"/>
                    <a:pt x="55" y="1"/>
                    <a:pt x="54" y="2"/>
                  </a:cubicBezTo>
                  <a:cubicBezTo>
                    <a:pt x="51" y="2"/>
                    <a:pt x="48" y="3"/>
                    <a:pt x="46" y="4"/>
                  </a:cubicBezTo>
                  <a:cubicBezTo>
                    <a:pt x="45" y="4"/>
                    <a:pt x="44" y="5"/>
                    <a:pt x="43" y="5"/>
                  </a:cubicBezTo>
                  <a:cubicBezTo>
                    <a:pt x="43" y="5"/>
                    <a:pt x="42" y="5"/>
                    <a:pt x="42" y="5"/>
                  </a:cubicBezTo>
                  <a:cubicBezTo>
                    <a:pt x="41" y="6"/>
                    <a:pt x="40" y="7"/>
                    <a:pt x="40" y="8"/>
                  </a:cubicBezTo>
                  <a:cubicBezTo>
                    <a:pt x="39" y="9"/>
                    <a:pt x="39" y="10"/>
                    <a:pt x="39" y="11"/>
                  </a:cubicBezTo>
                  <a:cubicBezTo>
                    <a:pt x="39" y="11"/>
                    <a:pt x="40" y="13"/>
                    <a:pt x="41" y="16"/>
                  </a:cubicBezTo>
                  <a:cubicBezTo>
                    <a:pt x="42" y="19"/>
                    <a:pt x="44" y="23"/>
                    <a:pt x="45" y="28"/>
                  </a:cubicBezTo>
                  <a:cubicBezTo>
                    <a:pt x="39" y="31"/>
                    <a:pt x="34" y="36"/>
                    <a:pt x="29" y="42"/>
                  </a:cubicBezTo>
                  <a:cubicBezTo>
                    <a:pt x="25" y="40"/>
                    <a:pt x="21" y="39"/>
                    <a:pt x="18" y="37"/>
                  </a:cubicBezTo>
                  <a:cubicBezTo>
                    <a:pt x="15" y="36"/>
                    <a:pt x="13" y="35"/>
                    <a:pt x="13" y="35"/>
                  </a:cubicBezTo>
                  <a:cubicBezTo>
                    <a:pt x="12" y="34"/>
                    <a:pt x="11" y="34"/>
                    <a:pt x="10" y="35"/>
                  </a:cubicBezTo>
                  <a:cubicBezTo>
                    <a:pt x="10" y="35"/>
                    <a:pt x="9" y="35"/>
                    <a:pt x="9" y="36"/>
                  </a:cubicBezTo>
                  <a:cubicBezTo>
                    <a:pt x="8" y="36"/>
                    <a:pt x="8" y="37"/>
                    <a:pt x="8" y="37"/>
                  </a:cubicBezTo>
                  <a:cubicBezTo>
                    <a:pt x="8" y="37"/>
                    <a:pt x="7" y="38"/>
                    <a:pt x="7" y="38"/>
                  </a:cubicBezTo>
                  <a:cubicBezTo>
                    <a:pt x="7" y="39"/>
                    <a:pt x="6" y="40"/>
                    <a:pt x="6" y="41"/>
                  </a:cubicBezTo>
                  <a:cubicBezTo>
                    <a:pt x="6" y="41"/>
                    <a:pt x="5" y="42"/>
                    <a:pt x="5" y="43"/>
                  </a:cubicBezTo>
                  <a:cubicBezTo>
                    <a:pt x="5" y="43"/>
                    <a:pt x="5" y="44"/>
                    <a:pt x="4" y="45"/>
                  </a:cubicBezTo>
                  <a:cubicBezTo>
                    <a:pt x="4" y="45"/>
                    <a:pt x="4" y="46"/>
                    <a:pt x="4" y="47"/>
                  </a:cubicBezTo>
                  <a:cubicBezTo>
                    <a:pt x="3" y="48"/>
                    <a:pt x="3" y="48"/>
                    <a:pt x="3" y="49"/>
                  </a:cubicBezTo>
                  <a:cubicBezTo>
                    <a:pt x="2" y="51"/>
                    <a:pt x="2" y="52"/>
                    <a:pt x="2" y="54"/>
                  </a:cubicBezTo>
                  <a:cubicBezTo>
                    <a:pt x="1" y="55"/>
                    <a:pt x="1" y="57"/>
                    <a:pt x="1" y="58"/>
                  </a:cubicBezTo>
                  <a:cubicBezTo>
                    <a:pt x="1" y="59"/>
                    <a:pt x="1" y="60"/>
                    <a:pt x="0" y="61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5"/>
                    <a:pt x="1" y="68"/>
                    <a:pt x="3" y="69"/>
                  </a:cubicBezTo>
                  <a:cubicBezTo>
                    <a:pt x="3" y="69"/>
                    <a:pt x="5" y="70"/>
                    <a:pt x="8" y="72"/>
                  </a:cubicBezTo>
                  <a:cubicBezTo>
                    <a:pt x="10" y="73"/>
                    <a:pt x="12" y="74"/>
                    <a:pt x="14" y="75"/>
                  </a:cubicBezTo>
                  <a:cubicBezTo>
                    <a:pt x="15" y="76"/>
                    <a:pt x="17" y="77"/>
                    <a:pt x="19" y="78"/>
                  </a:cubicBezTo>
                  <a:cubicBezTo>
                    <a:pt x="19" y="86"/>
                    <a:pt x="21" y="94"/>
                    <a:pt x="24" y="103"/>
                  </a:cubicBezTo>
                  <a:cubicBezTo>
                    <a:pt x="22" y="104"/>
                    <a:pt x="21" y="104"/>
                    <a:pt x="19" y="105"/>
                  </a:cubicBezTo>
                  <a:cubicBezTo>
                    <a:pt x="17" y="106"/>
                    <a:pt x="16" y="107"/>
                    <a:pt x="15" y="108"/>
                  </a:cubicBezTo>
                  <a:cubicBezTo>
                    <a:pt x="12" y="109"/>
                    <a:pt x="11" y="110"/>
                    <a:pt x="11" y="110"/>
                  </a:cubicBezTo>
                  <a:cubicBezTo>
                    <a:pt x="10" y="111"/>
                    <a:pt x="9" y="111"/>
                    <a:pt x="9" y="113"/>
                  </a:cubicBezTo>
                  <a:cubicBezTo>
                    <a:pt x="9" y="114"/>
                    <a:pt x="9" y="115"/>
                    <a:pt x="10" y="117"/>
                  </a:cubicBezTo>
                  <a:cubicBezTo>
                    <a:pt x="10" y="117"/>
                    <a:pt x="11" y="118"/>
                    <a:pt x="12" y="121"/>
                  </a:cubicBezTo>
                  <a:cubicBezTo>
                    <a:pt x="13" y="122"/>
                    <a:pt x="14" y="124"/>
                    <a:pt x="14" y="125"/>
                  </a:cubicBezTo>
                  <a:cubicBezTo>
                    <a:pt x="15" y="127"/>
                    <a:pt x="16" y="128"/>
                    <a:pt x="17" y="130"/>
                  </a:cubicBezTo>
                  <a:cubicBezTo>
                    <a:pt x="18" y="132"/>
                    <a:pt x="19" y="133"/>
                    <a:pt x="20" y="135"/>
                  </a:cubicBezTo>
                  <a:cubicBezTo>
                    <a:pt x="21" y="136"/>
                    <a:pt x="22" y="138"/>
                    <a:pt x="23" y="139"/>
                  </a:cubicBezTo>
                  <a:cubicBezTo>
                    <a:pt x="25" y="141"/>
                    <a:pt x="26" y="143"/>
                    <a:pt x="26" y="143"/>
                  </a:cubicBezTo>
                  <a:cubicBezTo>
                    <a:pt x="27" y="144"/>
                    <a:pt x="29" y="145"/>
                    <a:pt x="30" y="145"/>
                  </a:cubicBezTo>
                  <a:cubicBezTo>
                    <a:pt x="31" y="146"/>
                    <a:pt x="32" y="146"/>
                    <a:pt x="33" y="145"/>
                  </a:cubicBezTo>
                  <a:cubicBezTo>
                    <a:pt x="33" y="145"/>
                    <a:pt x="35" y="145"/>
                    <a:pt x="37" y="144"/>
                  </a:cubicBezTo>
                  <a:cubicBezTo>
                    <a:pt x="39" y="143"/>
                    <a:pt x="40" y="142"/>
                    <a:pt x="42" y="142"/>
                  </a:cubicBezTo>
                  <a:cubicBezTo>
                    <a:pt x="44" y="141"/>
                    <a:pt x="45" y="140"/>
                    <a:pt x="47" y="139"/>
                  </a:cubicBezTo>
                  <a:cubicBezTo>
                    <a:pt x="53" y="146"/>
                    <a:pt x="61" y="152"/>
                    <a:pt x="68" y="156"/>
                  </a:cubicBezTo>
                  <a:cubicBezTo>
                    <a:pt x="68" y="158"/>
                    <a:pt x="68" y="160"/>
                    <a:pt x="68" y="162"/>
                  </a:cubicBezTo>
                  <a:cubicBezTo>
                    <a:pt x="68" y="164"/>
                    <a:pt x="68" y="166"/>
                    <a:pt x="68" y="167"/>
                  </a:cubicBezTo>
                  <a:cubicBezTo>
                    <a:pt x="68" y="170"/>
                    <a:pt x="68" y="173"/>
                    <a:pt x="68" y="173"/>
                  </a:cubicBezTo>
                  <a:cubicBezTo>
                    <a:pt x="68" y="175"/>
                    <a:pt x="70" y="177"/>
                    <a:pt x="73" y="178"/>
                  </a:cubicBezTo>
                  <a:cubicBezTo>
                    <a:pt x="73" y="178"/>
                    <a:pt x="74" y="178"/>
                    <a:pt x="74" y="179"/>
                  </a:cubicBezTo>
                  <a:cubicBezTo>
                    <a:pt x="75" y="179"/>
                    <a:pt x="76" y="180"/>
                    <a:pt x="77" y="180"/>
                  </a:cubicBezTo>
                  <a:cubicBezTo>
                    <a:pt x="79" y="180"/>
                    <a:pt x="80" y="181"/>
                    <a:pt x="82" y="182"/>
                  </a:cubicBezTo>
                  <a:cubicBezTo>
                    <a:pt x="83" y="182"/>
                    <a:pt x="85" y="183"/>
                    <a:pt x="87" y="183"/>
                  </a:cubicBezTo>
                  <a:cubicBezTo>
                    <a:pt x="88" y="183"/>
                    <a:pt x="89" y="184"/>
                    <a:pt x="89" y="184"/>
                  </a:cubicBezTo>
                  <a:cubicBezTo>
                    <a:pt x="90" y="184"/>
                    <a:pt x="91" y="184"/>
                    <a:pt x="92" y="184"/>
                  </a:cubicBezTo>
                  <a:cubicBezTo>
                    <a:pt x="93" y="185"/>
                    <a:pt x="94" y="185"/>
                    <a:pt x="94" y="185"/>
                  </a:cubicBezTo>
                  <a:cubicBezTo>
                    <a:pt x="95" y="185"/>
                    <a:pt x="96" y="185"/>
                    <a:pt x="96" y="185"/>
                  </a:cubicBezTo>
                  <a:cubicBezTo>
                    <a:pt x="98" y="185"/>
                    <a:pt x="99" y="186"/>
                    <a:pt x="100" y="186"/>
                  </a:cubicBezTo>
                  <a:cubicBezTo>
                    <a:pt x="100" y="186"/>
                    <a:pt x="101" y="186"/>
                    <a:pt x="101" y="186"/>
                  </a:cubicBezTo>
                  <a:cubicBezTo>
                    <a:pt x="101" y="186"/>
                    <a:pt x="102" y="186"/>
                    <a:pt x="103" y="186"/>
                  </a:cubicBezTo>
                  <a:cubicBezTo>
                    <a:pt x="103" y="186"/>
                    <a:pt x="104" y="185"/>
                    <a:pt x="104" y="185"/>
                  </a:cubicBezTo>
                  <a:cubicBezTo>
                    <a:pt x="105" y="185"/>
                    <a:pt x="106" y="184"/>
                    <a:pt x="106" y="183"/>
                  </a:cubicBezTo>
                  <a:cubicBezTo>
                    <a:pt x="106" y="183"/>
                    <a:pt x="106" y="181"/>
                    <a:pt x="106" y="178"/>
                  </a:cubicBezTo>
                  <a:cubicBezTo>
                    <a:pt x="107" y="174"/>
                    <a:pt x="107" y="170"/>
                    <a:pt x="107" y="166"/>
                  </a:cubicBezTo>
                  <a:cubicBezTo>
                    <a:pt x="115" y="166"/>
                    <a:pt x="123" y="165"/>
                    <a:pt x="130" y="162"/>
                  </a:cubicBezTo>
                  <a:cubicBezTo>
                    <a:pt x="133" y="165"/>
                    <a:pt x="136" y="169"/>
                    <a:pt x="138" y="171"/>
                  </a:cubicBezTo>
                  <a:cubicBezTo>
                    <a:pt x="141" y="174"/>
                    <a:pt x="143" y="175"/>
                    <a:pt x="143" y="175"/>
                  </a:cubicBezTo>
                  <a:cubicBezTo>
                    <a:pt x="143" y="176"/>
                    <a:pt x="144" y="177"/>
                    <a:pt x="146" y="177"/>
                  </a:cubicBezTo>
                  <a:cubicBezTo>
                    <a:pt x="147" y="177"/>
                    <a:pt x="148" y="177"/>
                    <a:pt x="149" y="176"/>
                  </a:cubicBezTo>
                  <a:cubicBezTo>
                    <a:pt x="149" y="176"/>
                    <a:pt x="150" y="176"/>
                    <a:pt x="150" y="175"/>
                  </a:cubicBezTo>
                  <a:cubicBezTo>
                    <a:pt x="151" y="175"/>
                    <a:pt x="152" y="175"/>
                    <a:pt x="152" y="174"/>
                  </a:cubicBezTo>
                  <a:cubicBezTo>
                    <a:pt x="154" y="173"/>
                    <a:pt x="157" y="171"/>
                    <a:pt x="159" y="169"/>
                  </a:cubicBezTo>
                  <a:cubicBezTo>
                    <a:pt x="160" y="168"/>
                    <a:pt x="160" y="167"/>
                    <a:pt x="161" y="167"/>
                  </a:cubicBezTo>
                  <a:cubicBezTo>
                    <a:pt x="161" y="166"/>
                    <a:pt x="162" y="166"/>
                    <a:pt x="162" y="165"/>
                  </a:cubicBezTo>
                  <a:cubicBezTo>
                    <a:pt x="163" y="164"/>
                    <a:pt x="164" y="163"/>
                    <a:pt x="165" y="162"/>
                  </a:cubicBezTo>
                  <a:cubicBezTo>
                    <a:pt x="166" y="161"/>
                    <a:pt x="166" y="161"/>
                    <a:pt x="167" y="160"/>
                  </a:cubicBezTo>
                  <a:cubicBezTo>
                    <a:pt x="167" y="160"/>
                    <a:pt x="167" y="159"/>
                    <a:pt x="167" y="159"/>
                  </a:cubicBezTo>
                  <a:cubicBezTo>
                    <a:pt x="168" y="159"/>
                    <a:pt x="168" y="158"/>
                    <a:pt x="168" y="158"/>
                  </a:cubicBezTo>
                  <a:cubicBezTo>
                    <a:pt x="168" y="157"/>
                    <a:pt x="169" y="156"/>
                    <a:pt x="168" y="156"/>
                  </a:cubicBezTo>
                  <a:cubicBezTo>
                    <a:pt x="168" y="154"/>
                    <a:pt x="168" y="153"/>
                    <a:pt x="167" y="153"/>
                  </a:cubicBezTo>
                  <a:cubicBezTo>
                    <a:pt x="167" y="153"/>
                    <a:pt x="166" y="151"/>
                    <a:pt x="163" y="148"/>
                  </a:cubicBezTo>
                  <a:cubicBezTo>
                    <a:pt x="161" y="145"/>
                    <a:pt x="158" y="142"/>
                    <a:pt x="155" y="138"/>
                  </a:cubicBezTo>
                  <a:cubicBezTo>
                    <a:pt x="159" y="132"/>
                    <a:pt x="161" y="124"/>
                    <a:pt x="161" y="116"/>
                  </a:cubicBezTo>
                  <a:cubicBezTo>
                    <a:pt x="165" y="116"/>
                    <a:pt x="170" y="116"/>
                    <a:pt x="173" y="116"/>
                  </a:cubicBezTo>
                  <a:cubicBezTo>
                    <a:pt x="176" y="116"/>
                    <a:pt x="178" y="116"/>
                    <a:pt x="178" y="116"/>
                  </a:cubicBezTo>
                  <a:cubicBezTo>
                    <a:pt x="179" y="116"/>
                    <a:pt x="180" y="116"/>
                    <a:pt x="180" y="115"/>
                  </a:cubicBezTo>
                  <a:cubicBezTo>
                    <a:pt x="181" y="114"/>
                    <a:pt x="181" y="113"/>
                    <a:pt x="181" y="111"/>
                  </a:cubicBezTo>
                  <a:cubicBezTo>
                    <a:pt x="181" y="111"/>
                    <a:pt x="181" y="111"/>
                    <a:pt x="181" y="111"/>
                  </a:cubicBezTo>
                  <a:cubicBezTo>
                    <a:pt x="181" y="111"/>
                    <a:pt x="181" y="111"/>
                    <a:pt x="181" y="110"/>
                  </a:cubicBezTo>
                  <a:cubicBezTo>
                    <a:pt x="181" y="109"/>
                    <a:pt x="181" y="108"/>
                    <a:pt x="181" y="107"/>
                  </a:cubicBezTo>
                  <a:cubicBezTo>
                    <a:pt x="181" y="106"/>
                    <a:pt x="181" y="104"/>
                    <a:pt x="181" y="102"/>
                  </a:cubicBezTo>
                  <a:cubicBezTo>
                    <a:pt x="180" y="101"/>
                    <a:pt x="180" y="99"/>
                    <a:pt x="180" y="97"/>
                  </a:cubicBezTo>
                  <a:cubicBezTo>
                    <a:pt x="179" y="95"/>
                    <a:pt x="179" y="94"/>
                    <a:pt x="179" y="92"/>
                  </a:cubicBezTo>
                  <a:cubicBezTo>
                    <a:pt x="178" y="90"/>
                    <a:pt x="178" y="89"/>
                    <a:pt x="178" y="87"/>
                  </a:cubicBezTo>
                  <a:cubicBezTo>
                    <a:pt x="177" y="86"/>
                    <a:pt x="177" y="85"/>
                    <a:pt x="177" y="84"/>
                  </a:cubicBezTo>
                  <a:cubicBezTo>
                    <a:pt x="176" y="83"/>
                    <a:pt x="176" y="83"/>
                    <a:pt x="176" y="83"/>
                  </a:cubicBezTo>
                  <a:cubicBezTo>
                    <a:pt x="176" y="81"/>
                    <a:pt x="175" y="80"/>
                    <a:pt x="174" y="79"/>
                  </a:cubicBezTo>
                  <a:cubicBezTo>
                    <a:pt x="173" y="78"/>
                    <a:pt x="172" y="78"/>
                    <a:pt x="171" y="78"/>
                  </a:cubicBezTo>
                  <a:close/>
                  <a:moveTo>
                    <a:pt x="118" y="140"/>
                  </a:moveTo>
                  <a:cubicBezTo>
                    <a:pt x="96" y="151"/>
                    <a:pt x="65" y="140"/>
                    <a:pt x="49" y="114"/>
                  </a:cubicBezTo>
                  <a:cubicBezTo>
                    <a:pt x="33" y="88"/>
                    <a:pt x="38" y="59"/>
                    <a:pt x="60" y="47"/>
                  </a:cubicBezTo>
                  <a:cubicBezTo>
                    <a:pt x="82" y="36"/>
                    <a:pt x="113" y="48"/>
                    <a:pt x="129" y="74"/>
                  </a:cubicBezTo>
                  <a:cubicBezTo>
                    <a:pt x="145" y="100"/>
                    <a:pt x="140" y="129"/>
                    <a:pt x="118" y="140"/>
                  </a:cubicBezTo>
                  <a:close/>
                </a:path>
              </a:pathLst>
            </a:custGeom>
            <a:solidFill>
              <a:srgbClr val="ECEF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6" name="Freeform 427">
              <a:extLst>
                <a:ext uri="{FF2B5EF4-FFF2-40B4-BE49-F238E27FC236}">
                  <a16:creationId xmlns:a16="http://schemas.microsoft.com/office/drawing/2014/main" id="{62D403FD-B189-47F9-82C7-F910732642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94788" y="6031926"/>
              <a:ext cx="87313" cy="542925"/>
            </a:xfrm>
            <a:custGeom>
              <a:avLst/>
              <a:gdLst>
                <a:gd name="T0" fmla="*/ 2 w 55"/>
                <a:gd name="T1" fmla="*/ 30 h 342"/>
                <a:gd name="T2" fmla="*/ 55 w 55"/>
                <a:gd name="T3" fmla="*/ 0 h 342"/>
                <a:gd name="T4" fmla="*/ 54 w 55"/>
                <a:gd name="T5" fmla="*/ 311 h 342"/>
                <a:gd name="T6" fmla="*/ 0 w 55"/>
                <a:gd name="T7" fmla="*/ 342 h 342"/>
                <a:gd name="T8" fmla="*/ 2 w 55"/>
                <a:gd name="T9" fmla="*/ 3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342">
                  <a:moveTo>
                    <a:pt x="2" y="30"/>
                  </a:moveTo>
                  <a:lnTo>
                    <a:pt x="55" y="0"/>
                  </a:lnTo>
                  <a:lnTo>
                    <a:pt x="54" y="311"/>
                  </a:lnTo>
                  <a:lnTo>
                    <a:pt x="0" y="342"/>
                  </a:lnTo>
                  <a:lnTo>
                    <a:pt x="2" y="30"/>
                  </a:lnTo>
                  <a:close/>
                </a:path>
              </a:pathLst>
            </a:custGeom>
            <a:solidFill>
              <a:srgbClr val="F9A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7" name="Freeform 428">
              <a:extLst>
                <a:ext uri="{FF2B5EF4-FFF2-40B4-BE49-F238E27FC236}">
                  <a16:creationId xmlns:a16="http://schemas.microsoft.com/office/drawing/2014/main" id="{F65133DD-6AD3-42C9-ADE1-7DD700082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66163" y="5781101"/>
              <a:ext cx="515938" cy="298450"/>
            </a:xfrm>
            <a:custGeom>
              <a:avLst/>
              <a:gdLst>
                <a:gd name="T0" fmla="*/ 0 w 325"/>
                <a:gd name="T1" fmla="*/ 31 h 188"/>
                <a:gd name="T2" fmla="*/ 53 w 325"/>
                <a:gd name="T3" fmla="*/ 0 h 188"/>
                <a:gd name="T4" fmla="*/ 325 w 325"/>
                <a:gd name="T5" fmla="*/ 158 h 188"/>
                <a:gd name="T6" fmla="*/ 272 w 325"/>
                <a:gd name="T7" fmla="*/ 188 h 188"/>
                <a:gd name="T8" fmla="*/ 0 w 325"/>
                <a:gd name="T9" fmla="*/ 31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188">
                  <a:moveTo>
                    <a:pt x="0" y="31"/>
                  </a:moveTo>
                  <a:lnTo>
                    <a:pt x="53" y="0"/>
                  </a:lnTo>
                  <a:lnTo>
                    <a:pt x="325" y="158"/>
                  </a:lnTo>
                  <a:lnTo>
                    <a:pt x="272" y="188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EF99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8" name="Freeform 429">
              <a:extLst>
                <a:ext uri="{FF2B5EF4-FFF2-40B4-BE49-F238E27FC236}">
                  <a16:creationId xmlns:a16="http://schemas.microsoft.com/office/drawing/2014/main" id="{16BC1C34-66BA-464C-A45E-2BCA9D6C90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64576" y="5830314"/>
              <a:ext cx="433388" cy="744538"/>
            </a:xfrm>
            <a:custGeom>
              <a:avLst/>
              <a:gdLst>
                <a:gd name="T0" fmla="*/ 273 w 273"/>
                <a:gd name="T1" fmla="*/ 157 h 469"/>
                <a:gd name="T2" fmla="*/ 271 w 273"/>
                <a:gd name="T3" fmla="*/ 469 h 469"/>
                <a:gd name="T4" fmla="*/ 0 w 273"/>
                <a:gd name="T5" fmla="*/ 311 h 469"/>
                <a:gd name="T6" fmla="*/ 1 w 273"/>
                <a:gd name="T7" fmla="*/ 0 h 469"/>
                <a:gd name="T8" fmla="*/ 273 w 273"/>
                <a:gd name="T9" fmla="*/ 157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469">
                  <a:moveTo>
                    <a:pt x="273" y="157"/>
                  </a:moveTo>
                  <a:lnTo>
                    <a:pt x="271" y="469"/>
                  </a:lnTo>
                  <a:lnTo>
                    <a:pt x="0" y="311"/>
                  </a:lnTo>
                  <a:lnTo>
                    <a:pt x="1" y="0"/>
                  </a:lnTo>
                  <a:lnTo>
                    <a:pt x="273" y="157"/>
                  </a:lnTo>
                  <a:close/>
                </a:path>
              </a:pathLst>
            </a:custGeom>
            <a:solidFill>
              <a:srgbClr val="FFC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9" name="Freeform 430">
              <a:extLst>
                <a:ext uri="{FF2B5EF4-FFF2-40B4-BE49-F238E27FC236}">
                  <a16:creationId xmlns:a16="http://schemas.microsoft.com/office/drawing/2014/main" id="{03135F55-220B-4367-AF34-76D6FBA806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751888" y="6041451"/>
              <a:ext cx="257175" cy="304800"/>
            </a:xfrm>
            <a:custGeom>
              <a:avLst/>
              <a:gdLst>
                <a:gd name="T0" fmla="*/ 0 w 162"/>
                <a:gd name="T1" fmla="*/ 56 h 193"/>
                <a:gd name="T2" fmla="*/ 9 w 162"/>
                <a:gd name="T3" fmla="*/ 104 h 193"/>
                <a:gd name="T4" fmla="*/ 58 w 162"/>
                <a:gd name="T5" fmla="*/ 193 h 193"/>
                <a:gd name="T6" fmla="*/ 65 w 162"/>
                <a:gd name="T7" fmla="*/ 150 h 193"/>
                <a:gd name="T8" fmla="*/ 81 w 162"/>
                <a:gd name="T9" fmla="*/ 158 h 193"/>
                <a:gd name="T10" fmla="*/ 162 w 162"/>
                <a:gd name="T11" fmla="*/ 119 h 193"/>
                <a:gd name="T12" fmla="*/ 81 w 162"/>
                <a:gd name="T13" fmla="*/ 17 h 193"/>
                <a:gd name="T14" fmla="*/ 0 w 162"/>
                <a:gd name="T15" fmla="*/ 56 h 193"/>
                <a:gd name="T16" fmla="*/ 105 w 162"/>
                <a:gd name="T17" fmla="*/ 103 h 193"/>
                <a:gd name="T18" fmla="*/ 117 w 162"/>
                <a:gd name="T19" fmla="*/ 95 h 193"/>
                <a:gd name="T20" fmla="*/ 129 w 162"/>
                <a:gd name="T21" fmla="*/ 112 h 193"/>
                <a:gd name="T22" fmla="*/ 117 w 162"/>
                <a:gd name="T23" fmla="*/ 119 h 193"/>
                <a:gd name="T24" fmla="*/ 105 w 162"/>
                <a:gd name="T25" fmla="*/ 103 h 193"/>
                <a:gd name="T26" fmla="*/ 69 w 162"/>
                <a:gd name="T27" fmla="*/ 89 h 193"/>
                <a:gd name="T28" fmla="*/ 81 w 162"/>
                <a:gd name="T29" fmla="*/ 81 h 193"/>
                <a:gd name="T30" fmla="*/ 93 w 162"/>
                <a:gd name="T31" fmla="*/ 98 h 193"/>
                <a:gd name="T32" fmla="*/ 81 w 162"/>
                <a:gd name="T33" fmla="*/ 106 h 193"/>
                <a:gd name="T34" fmla="*/ 69 w 162"/>
                <a:gd name="T35" fmla="*/ 89 h 193"/>
                <a:gd name="T36" fmla="*/ 33 w 162"/>
                <a:gd name="T37" fmla="*/ 75 h 193"/>
                <a:gd name="T38" fmla="*/ 45 w 162"/>
                <a:gd name="T39" fmla="*/ 67 h 193"/>
                <a:gd name="T40" fmla="*/ 58 w 162"/>
                <a:gd name="T41" fmla="*/ 84 h 193"/>
                <a:gd name="T42" fmla="*/ 45 w 162"/>
                <a:gd name="T43" fmla="*/ 92 h 193"/>
                <a:gd name="T44" fmla="*/ 33 w 162"/>
                <a:gd name="T45" fmla="*/ 7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2" h="193">
                  <a:moveTo>
                    <a:pt x="0" y="56"/>
                  </a:moveTo>
                  <a:cubicBezTo>
                    <a:pt x="0" y="71"/>
                    <a:pt x="3" y="88"/>
                    <a:pt x="9" y="104"/>
                  </a:cubicBezTo>
                  <a:cubicBezTo>
                    <a:pt x="24" y="146"/>
                    <a:pt x="58" y="193"/>
                    <a:pt x="58" y="193"/>
                  </a:cubicBezTo>
                  <a:cubicBezTo>
                    <a:pt x="58" y="193"/>
                    <a:pt x="36" y="129"/>
                    <a:pt x="65" y="150"/>
                  </a:cubicBezTo>
                  <a:cubicBezTo>
                    <a:pt x="70" y="154"/>
                    <a:pt x="76" y="156"/>
                    <a:pt x="81" y="158"/>
                  </a:cubicBezTo>
                  <a:cubicBezTo>
                    <a:pt x="126" y="175"/>
                    <a:pt x="162" y="157"/>
                    <a:pt x="162" y="119"/>
                  </a:cubicBezTo>
                  <a:cubicBezTo>
                    <a:pt x="162" y="80"/>
                    <a:pt x="126" y="34"/>
                    <a:pt x="81" y="17"/>
                  </a:cubicBezTo>
                  <a:cubicBezTo>
                    <a:pt x="37" y="0"/>
                    <a:pt x="0" y="17"/>
                    <a:pt x="0" y="56"/>
                  </a:cubicBezTo>
                  <a:close/>
                  <a:moveTo>
                    <a:pt x="105" y="103"/>
                  </a:moveTo>
                  <a:cubicBezTo>
                    <a:pt x="105" y="96"/>
                    <a:pt x="110" y="93"/>
                    <a:pt x="117" y="95"/>
                  </a:cubicBezTo>
                  <a:cubicBezTo>
                    <a:pt x="124" y="98"/>
                    <a:pt x="129" y="105"/>
                    <a:pt x="129" y="112"/>
                  </a:cubicBezTo>
                  <a:cubicBezTo>
                    <a:pt x="129" y="119"/>
                    <a:pt x="124" y="122"/>
                    <a:pt x="117" y="119"/>
                  </a:cubicBezTo>
                  <a:cubicBezTo>
                    <a:pt x="110" y="117"/>
                    <a:pt x="105" y="109"/>
                    <a:pt x="105" y="103"/>
                  </a:cubicBezTo>
                  <a:close/>
                  <a:moveTo>
                    <a:pt x="69" y="89"/>
                  </a:moveTo>
                  <a:cubicBezTo>
                    <a:pt x="69" y="82"/>
                    <a:pt x="74" y="79"/>
                    <a:pt x="81" y="81"/>
                  </a:cubicBezTo>
                  <a:cubicBezTo>
                    <a:pt x="88" y="84"/>
                    <a:pt x="93" y="91"/>
                    <a:pt x="93" y="98"/>
                  </a:cubicBezTo>
                  <a:cubicBezTo>
                    <a:pt x="93" y="105"/>
                    <a:pt x="88" y="108"/>
                    <a:pt x="81" y="106"/>
                  </a:cubicBezTo>
                  <a:cubicBezTo>
                    <a:pt x="74" y="103"/>
                    <a:pt x="69" y="95"/>
                    <a:pt x="69" y="89"/>
                  </a:cubicBezTo>
                  <a:close/>
                  <a:moveTo>
                    <a:pt x="33" y="75"/>
                  </a:moveTo>
                  <a:cubicBezTo>
                    <a:pt x="33" y="68"/>
                    <a:pt x="39" y="65"/>
                    <a:pt x="45" y="67"/>
                  </a:cubicBezTo>
                  <a:cubicBezTo>
                    <a:pt x="52" y="70"/>
                    <a:pt x="58" y="78"/>
                    <a:pt x="58" y="84"/>
                  </a:cubicBezTo>
                  <a:cubicBezTo>
                    <a:pt x="58" y="91"/>
                    <a:pt x="52" y="94"/>
                    <a:pt x="45" y="92"/>
                  </a:cubicBezTo>
                  <a:cubicBezTo>
                    <a:pt x="39" y="89"/>
                    <a:pt x="33" y="82"/>
                    <a:pt x="33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6935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1/2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280921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1/2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91902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97576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AutoShape 3">
            <a:extLst>
              <a:ext uri="{FF2B5EF4-FFF2-40B4-BE49-F238E27FC236}">
                <a16:creationId xmlns:a16="http://schemas.microsoft.com/office/drawing/2014/main" id="{0622938C-F64B-455D-8A1A-1CA2E8BE80C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flipH="1">
            <a:off x="-13674" y="4763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CD38EE2-535A-4214-AB79-6F1BD4EB611B}"/>
              </a:ext>
            </a:extLst>
          </p:cNvPr>
          <p:cNvSpPr>
            <a:spLocks noChangeArrowheads="1"/>
          </p:cNvSpPr>
          <p:nvPr userDrawn="1"/>
        </p:nvSpPr>
        <p:spPr bwMode="auto">
          <a:xfrm flipH="1">
            <a:off x="-13674" y="4763"/>
            <a:ext cx="12192000" cy="6848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C9B642C7-1644-4CF9-B0DF-FB470579D24E}"/>
              </a:ext>
            </a:extLst>
          </p:cNvPr>
          <p:cNvSpPr>
            <a:spLocks noChangeArrowheads="1"/>
          </p:cNvSpPr>
          <p:nvPr userDrawn="1"/>
        </p:nvSpPr>
        <p:spPr bwMode="auto">
          <a:xfrm flipH="1">
            <a:off x="-13674" y="4763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id="{D0D7BFC8-4136-43B6-9FD1-303302516ECE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3674" y="4763"/>
            <a:ext cx="12192000" cy="6848475"/>
          </a:xfrm>
          <a:custGeom>
            <a:avLst/>
            <a:gdLst>
              <a:gd name="T0" fmla="*/ 0 w 7680"/>
              <a:gd name="T1" fmla="*/ 4314 h 4314"/>
              <a:gd name="T2" fmla="*/ 1441 w 7680"/>
              <a:gd name="T3" fmla="*/ 4314 h 4314"/>
              <a:gd name="T4" fmla="*/ 7680 w 7680"/>
              <a:gd name="T5" fmla="*/ 2973 h 4314"/>
              <a:gd name="T6" fmla="*/ 7680 w 7680"/>
              <a:gd name="T7" fmla="*/ 0 h 4314"/>
              <a:gd name="T8" fmla="*/ 4208 w 7680"/>
              <a:gd name="T9" fmla="*/ 0 h 4314"/>
              <a:gd name="T10" fmla="*/ 0 w 7680"/>
              <a:gd name="T11" fmla="*/ 905 h 4314"/>
              <a:gd name="T12" fmla="*/ 0 w 7680"/>
              <a:gd name="T13" fmla="*/ 4314 h 4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80" h="4314">
                <a:moveTo>
                  <a:pt x="0" y="4314"/>
                </a:moveTo>
                <a:lnTo>
                  <a:pt x="1441" y="4314"/>
                </a:lnTo>
                <a:lnTo>
                  <a:pt x="7680" y="2973"/>
                </a:lnTo>
                <a:lnTo>
                  <a:pt x="7680" y="0"/>
                </a:lnTo>
                <a:lnTo>
                  <a:pt x="4208" y="0"/>
                </a:lnTo>
                <a:lnTo>
                  <a:pt x="0" y="905"/>
                </a:lnTo>
                <a:lnTo>
                  <a:pt x="0" y="4314"/>
                </a:lnTo>
                <a:close/>
              </a:path>
            </a:pathLst>
          </a:custGeom>
          <a:gradFill>
            <a:gsLst>
              <a:gs pos="97664">
                <a:schemeClr val="accent3"/>
              </a:gs>
              <a:gs pos="49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1" name="Freeform 9">
            <a:extLst>
              <a:ext uri="{FF2B5EF4-FFF2-40B4-BE49-F238E27FC236}">
                <a16:creationId xmlns:a16="http://schemas.microsoft.com/office/drawing/2014/main" id="{D815442B-F7CC-4BDE-BAD3-E7BF4D85334D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3675" y="1577976"/>
            <a:ext cx="3208338" cy="2640013"/>
          </a:xfrm>
          <a:custGeom>
            <a:avLst/>
            <a:gdLst>
              <a:gd name="T0" fmla="*/ 2021 w 2021"/>
              <a:gd name="T1" fmla="*/ 0 h 1663"/>
              <a:gd name="T2" fmla="*/ 0 w 2021"/>
              <a:gd name="T3" fmla="*/ 456 h 1663"/>
              <a:gd name="T4" fmla="*/ 0 w 2021"/>
              <a:gd name="T5" fmla="*/ 1663 h 1663"/>
              <a:gd name="T6" fmla="*/ 2021 w 2021"/>
              <a:gd name="T7" fmla="*/ 1207 h 1663"/>
              <a:gd name="T8" fmla="*/ 2021 w 2021"/>
              <a:gd name="T9" fmla="*/ 0 h 1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21" h="1663">
                <a:moveTo>
                  <a:pt x="2021" y="0"/>
                </a:moveTo>
                <a:lnTo>
                  <a:pt x="0" y="456"/>
                </a:lnTo>
                <a:lnTo>
                  <a:pt x="0" y="1663"/>
                </a:lnTo>
                <a:lnTo>
                  <a:pt x="2021" y="1207"/>
                </a:lnTo>
                <a:lnTo>
                  <a:pt x="2021" y="0"/>
                </a:lnTo>
                <a:close/>
              </a:path>
            </a:pathLst>
          </a:custGeom>
          <a:gradFill>
            <a:gsLst>
              <a:gs pos="0">
                <a:schemeClr val="accent4">
                  <a:lumMod val="60000"/>
                  <a:lumOff val="40000"/>
                  <a:alpha val="60000"/>
                </a:schemeClr>
              </a:gs>
              <a:gs pos="9800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2" name="Freeform 10">
            <a:extLst>
              <a:ext uri="{FF2B5EF4-FFF2-40B4-BE49-F238E27FC236}">
                <a16:creationId xmlns:a16="http://schemas.microsoft.com/office/drawing/2014/main" id="{0D7359C2-EFCB-4A4E-B932-134D3125C99A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3675" y="1577976"/>
            <a:ext cx="3208338" cy="2640013"/>
          </a:xfrm>
          <a:custGeom>
            <a:avLst/>
            <a:gdLst>
              <a:gd name="T0" fmla="*/ 2021 w 2021"/>
              <a:gd name="T1" fmla="*/ 0 h 1663"/>
              <a:gd name="T2" fmla="*/ 0 w 2021"/>
              <a:gd name="T3" fmla="*/ 456 h 1663"/>
              <a:gd name="T4" fmla="*/ 0 w 2021"/>
              <a:gd name="T5" fmla="*/ 1663 h 1663"/>
              <a:gd name="T6" fmla="*/ 2021 w 2021"/>
              <a:gd name="T7" fmla="*/ 1207 h 1663"/>
              <a:gd name="T8" fmla="*/ 2021 w 2021"/>
              <a:gd name="T9" fmla="*/ 0 h 1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21" h="1663">
                <a:moveTo>
                  <a:pt x="2021" y="0"/>
                </a:moveTo>
                <a:lnTo>
                  <a:pt x="0" y="456"/>
                </a:lnTo>
                <a:lnTo>
                  <a:pt x="0" y="1663"/>
                </a:lnTo>
                <a:lnTo>
                  <a:pt x="2021" y="1207"/>
                </a:lnTo>
                <a:lnTo>
                  <a:pt x="202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3" name="Freeform 12">
            <a:extLst>
              <a:ext uri="{FF2B5EF4-FFF2-40B4-BE49-F238E27FC236}">
                <a16:creationId xmlns:a16="http://schemas.microsoft.com/office/drawing/2014/main" id="{FB85DEA8-5684-4BD0-95F5-0068F05FE2F4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3674" y="2620963"/>
            <a:ext cx="4686300" cy="2921000"/>
          </a:xfrm>
          <a:custGeom>
            <a:avLst/>
            <a:gdLst>
              <a:gd name="T0" fmla="*/ 2952 w 2952"/>
              <a:gd name="T1" fmla="*/ 0 h 1840"/>
              <a:gd name="T2" fmla="*/ 0 w 2952"/>
              <a:gd name="T3" fmla="*/ 633 h 1840"/>
              <a:gd name="T4" fmla="*/ 0 w 2952"/>
              <a:gd name="T5" fmla="*/ 1840 h 1840"/>
              <a:gd name="T6" fmla="*/ 2952 w 2952"/>
              <a:gd name="T7" fmla="*/ 1207 h 1840"/>
              <a:gd name="T8" fmla="*/ 2952 w 2952"/>
              <a:gd name="T9" fmla="*/ 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2" h="1840">
                <a:moveTo>
                  <a:pt x="2952" y="0"/>
                </a:moveTo>
                <a:lnTo>
                  <a:pt x="0" y="633"/>
                </a:lnTo>
                <a:lnTo>
                  <a:pt x="0" y="1840"/>
                </a:lnTo>
                <a:lnTo>
                  <a:pt x="2952" y="1207"/>
                </a:lnTo>
                <a:lnTo>
                  <a:pt x="2952" y="0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4" name="Freeform 13">
            <a:extLst>
              <a:ext uri="{FF2B5EF4-FFF2-40B4-BE49-F238E27FC236}">
                <a16:creationId xmlns:a16="http://schemas.microsoft.com/office/drawing/2014/main" id="{D832CCF7-C609-442C-A1D7-EA1BF13C1C96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3674" y="2620963"/>
            <a:ext cx="4686300" cy="2921000"/>
          </a:xfrm>
          <a:custGeom>
            <a:avLst/>
            <a:gdLst>
              <a:gd name="T0" fmla="*/ 2952 w 2952"/>
              <a:gd name="T1" fmla="*/ 0 h 1840"/>
              <a:gd name="T2" fmla="*/ 0 w 2952"/>
              <a:gd name="T3" fmla="*/ 633 h 1840"/>
              <a:gd name="T4" fmla="*/ 0 w 2952"/>
              <a:gd name="T5" fmla="*/ 1840 h 1840"/>
              <a:gd name="T6" fmla="*/ 2952 w 2952"/>
              <a:gd name="T7" fmla="*/ 1207 h 1840"/>
              <a:gd name="T8" fmla="*/ 2952 w 2952"/>
              <a:gd name="T9" fmla="*/ 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52" h="1840">
                <a:moveTo>
                  <a:pt x="2952" y="0"/>
                </a:moveTo>
                <a:lnTo>
                  <a:pt x="0" y="633"/>
                </a:lnTo>
                <a:lnTo>
                  <a:pt x="0" y="1840"/>
                </a:lnTo>
                <a:lnTo>
                  <a:pt x="2952" y="1207"/>
                </a:lnTo>
                <a:lnTo>
                  <a:pt x="295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5" name="Freeform 15">
            <a:extLst>
              <a:ext uri="{FF2B5EF4-FFF2-40B4-BE49-F238E27FC236}">
                <a16:creationId xmlns:a16="http://schemas.microsoft.com/office/drawing/2014/main" id="{28513F7F-A31A-46C2-9231-9F5809FE42CB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3674" y="4343401"/>
            <a:ext cx="11401425" cy="2509838"/>
          </a:xfrm>
          <a:custGeom>
            <a:avLst/>
            <a:gdLst>
              <a:gd name="T0" fmla="*/ 7182 w 7182"/>
              <a:gd name="T1" fmla="*/ 1581 h 1581"/>
              <a:gd name="T2" fmla="*/ 0 w 7182"/>
              <a:gd name="T3" fmla="*/ 1581 h 1581"/>
              <a:gd name="T4" fmla="*/ 7182 w 7182"/>
              <a:gd name="T5" fmla="*/ 0 h 1581"/>
              <a:gd name="T6" fmla="*/ 7182 w 7182"/>
              <a:gd name="T7" fmla="*/ 1581 h 1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182" h="1581">
                <a:moveTo>
                  <a:pt x="7182" y="1581"/>
                </a:moveTo>
                <a:lnTo>
                  <a:pt x="0" y="1581"/>
                </a:lnTo>
                <a:lnTo>
                  <a:pt x="7182" y="0"/>
                </a:lnTo>
                <a:lnTo>
                  <a:pt x="7182" y="158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7" name="Freeform 435">
            <a:extLst>
              <a:ext uri="{FF2B5EF4-FFF2-40B4-BE49-F238E27FC236}">
                <a16:creationId xmlns:a16="http://schemas.microsoft.com/office/drawing/2014/main" id="{B511C4E5-5639-4954-B37E-956DC1D0BC5A}"/>
              </a:ext>
            </a:extLst>
          </p:cNvPr>
          <p:cNvSpPr>
            <a:spLocks/>
          </p:cNvSpPr>
          <p:nvPr userDrawn="1"/>
        </p:nvSpPr>
        <p:spPr bwMode="auto">
          <a:xfrm flipH="1">
            <a:off x="7781926" y="4708584"/>
            <a:ext cx="4410075" cy="2146299"/>
          </a:xfrm>
          <a:custGeom>
            <a:avLst/>
            <a:gdLst>
              <a:gd name="T0" fmla="*/ 0 w 2778"/>
              <a:gd name="T1" fmla="*/ 1352 h 1352"/>
              <a:gd name="T2" fmla="*/ 1354 w 2778"/>
              <a:gd name="T3" fmla="*/ 1352 h 1352"/>
              <a:gd name="T4" fmla="*/ 2778 w 2778"/>
              <a:gd name="T5" fmla="*/ 1045 h 1352"/>
              <a:gd name="T6" fmla="*/ 2778 w 2778"/>
              <a:gd name="T7" fmla="*/ 0 h 1352"/>
              <a:gd name="T8" fmla="*/ 0 w 2778"/>
              <a:gd name="T9" fmla="*/ 597 h 1352"/>
              <a:gd name="T10" fmla="*/ 0 w 2778"/>
              <a:gd name="T11" fmla="*/ 1352 h 1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78" h="1352">
                <a:moveTo>
                  <a:pt x="0" y="1352"/>
                </a:moveTo>
                <a:lnTo>
                  <a:pt x="1354" y="1352"/>
                </a:lnTo>
                <a:lnTo>
                  <a:pt x="2778" y="1045"/>
                </a:lnTo>
                <a:lnTo>
                  <a:pt x="2778" y="0"/>
                </a:lnTo>
                <a:lnTo>
                  <a:pt x="0" y="597"/>
                </a:lnTo>
                <a:lnTo>
                  <a:pt x="0" y="1352"/>
                </a:lnTo>
                <a:close/>
              </a:path>
            </a:pathLst>
          </a:custGeom>
          <a:gradFill>
            <a:gsLst>
              <a:gs pos="97664">
                <a:schemeClr val="accent2">
                  <a:alpha val="30000"/>
                </a:schemeClr>
              </a:gs>
              <a:gs pos="0">
                <a:schemeClr val="accent2">
                  <a:lumMod val="75000"/>
                  <a:alpha val="50000"/>
                </a:schemeClr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8" name="Freeform 14">
            <a:extLst>
              <a:ext uri="{FF2B5EF4-FFF2-40B4-BE49-F238E27FC236}">
                <a16:creationId xmlns:a16="http://schemas.microsoft.com/office/drawing/2014/main" id="{F173CDB1-E9D6-47F0-88E4-93AB7C906487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3674" y="4343401"/>
            <a:ext cx="11401425" cy="2509838"/>
          </a:xfrm>
          <a:custGeom>
            <a:avLst/>
            <a:gdLst>
              <a:gd name="T0" fmla="*/ 7182 w 7182"/>
              <a:gd name="T1" fmla="*/ 1581 h 1581"/>
              <a:gd name="T2" fmla="*/ 0 w 7182"/>
              <a:gd name="T3" fmla="*/ 1581 h 1581"/>
              <a:gd name="T4" fmla="*/ 7182 w 7182"/>
              <a:gd name="T5" fmla="*/ 0 h 1581"/>
              <a:gd name="T6" fmla="*/ 7182 w 7182"/>
              <a:gd name="T7" fmla="*/ 1581 h 1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182" h="1581">
                <a:moveTo>
                  <a:pt x="7182" y="1581"/>
                </a:moveTo>
                <a:lnTo>
                  <a:pt x="0" y="1581"/>
                </a:lnTo>
                <a:lnTo>
                  <a:pt x="7182" y="0"/>
                </a:lnTo>
                <a:lnTo>
                  <a:pt x="7182" y="1581"/>
                </a:lnTo>
                <a:close/>
              </a:path>
            </a:pathLst>
          </a:custGeom>
          <a:solidFill>
            <a:srgbClr val="FDFD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905786" y="1595930"/>
            <a:ext cx="4642980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905786" y="3902166"/>
            <a:ext cx="464298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05787" y="3605895"/>
            <a:ext cx="464298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1599151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00215-8391-40F6-A3DD-F6DC2488C5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53B4D1-BF0F-4499-8A53-AD8CFE9904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D39749-99E7-4A36-B67C-1296AF907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E60811-9499-4F02-A595-8432F56E14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1CF03B-3B87-496B-98FE-B77859ECF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239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16EAEA-8921-4913-A293-7C1E184B5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863D9C-D8B3-4D5F-A165-92293BAE16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C3C25-5DDB-4EC9-8625-2F457C2DA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6F7C29-594E-4F1A-BF7D-7136CF1BC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FFBC5E-B51F-4265-BE55-7A0FBEB47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145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91B2A26-E22C-464B-8067-5D2FD8FEC0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559AAA3-B4B2-4D81-995B-93162BBBB5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F675F41-92B9-4FE9-A201-2E813AF92C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438DFC6-FBE7-4CF6-A600-A8C8444972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7B7AA9D-FE1F-4720-A727-66DF46A59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79684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49E32-E0D2-454A-903C-DF2CCE275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8F9424-432C-408B-BE2E-B0D8177380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42FF6D-63A2-496F-AC1D-7C5F06DB0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49CA2C-F18C-4955-ACCE-4D315AB3BC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F779CE-3299-4BDA-AF17-229072D57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0494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3C629-36EF-4B84-9B75-E31AFDA4D9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BCB7AB-941F-49F6-8470-BA9222D327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B39370-40D9-4044-9CCB-4439FC6840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56FC5-B660-4BAD-8D9B-A0710A7A75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337645-6012-44F3-A4FC-643ABEF01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C342A7-C538-45CF-A01A-621F3E91D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4806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559D49-497D-4F58-8B41-47EBD37E9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CC0537-60D6-46A7-9E9D-D35E370C9C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49BB3F-FDE6-4CC3-B899-32A085AB20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34141A-766E-427D-BE87-87D43D6EE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A50CCC0-52F0-4104-A273-B29EB97074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3699BCB-1CAD-48CB-BC85-C616DB008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D759C9-A14B-45BD-B361-102D3AC056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C99F1C-A607-471D-BB4C-16C41225E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949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F5220E-6653-44B5-AD68-4ADA32535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F318DD-498A-4191-9002-1F8A808EEB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B3DB58-5532-48BF-900A-549F59DFC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1BB1D4-17B1-4696-AB08-DAEA9C726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4046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949897-7A5D-4029-A0BE-B52EAA7B55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292EE2-13E3-4987-BE28-8B770C0FA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B49915-1F4E-4FD2-8C5E-C8A73E995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4547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E1079-D722-474C-973C-16582DF55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56E8D2-7839-47BA-B28A-765FE05CC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FF5075-12D2-4457-ADFB-FF7141A83D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DED9A9-8B28-497D-89DC-D8D109EDC4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774E21-223C-4A3A-9888-21CC3EB3CE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A2262D-EDC0-4BF2-AE24-801A4F78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6335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88BF9-5A9D-48A0-A5AE-4D0386D36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A9CA6D-5A62-446C-816A-3A44F65A55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E875D3-8405-468B-BC8F-D6EA87F8EE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90ED66-22D7-46CC-B634-A0B3378D9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78A32B-4F91-4BB2-AB48-1A97DCD51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D8B062-11A8-4AC9-99D1-62D6D88A0E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6013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722249-D7E5-4290-A045-26B0A6FE4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377988-1376-44E1-9AF3-D2637F667F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61A95B-C45D-4A7D-B32F-2861A5369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520413-5CAD-4CBA-A45C-C76D9A9EC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87A525-E469-4BA4-B9FD-0B6071744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4037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944A59-428C-4EDA-89C4-D8F130B848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6681978-3DBC-4AE7-BC14-9629AFC4EA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D70D38-488B-46FE-BB77-DAE3E3657C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9C4006-1DCD-4B45-BCD5-F226D52A7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FAA8B1-7049-46CE-A6A6-1AB191A65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826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1C76F4-EF90-428E-AEE6-6F297C1AE1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CC42AD3-89B9-46B8-999E-8F242A1F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0D75F19-A350-422B-A262-93938EA310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F4FB62E-86DC-448C-90E1-D086016AC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191B9B-9647-4EB2-8B5C-CE12019A3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4384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3120317-1120-42FF-902E-4CDEDBDE27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49C7EAE-535A-4310-B1BF-2400DF5AA1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A3115C6-4FD5-432D-81A8-185227935B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45A120D-FDC1-453F-B1C0-B6D6853D8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92199BD-A98C-408C-9132-A98622D0B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89AD1E2-E43A-4B30-8EE5-A7B00030B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8325228" y="6545425"/>
            <a:ext cx="7751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moban/   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行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hangye/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节日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jieri/   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素材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sucai/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背景图片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beijing/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图表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tubiao/    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优秀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powerpoint/      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ord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word/              Excel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教程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excel/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资料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ziliao/        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课件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kejian/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范文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fanwen/           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试卷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shiti/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教案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jiaoan/      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字体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ziti/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 </a:t>
            </a:r>
            <a:endParaRPr lang="zh-CN" altLang="en-US" sz="1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</p:spTree>
    <p:extLst>
      <p:ext uri="{BB962C8B-B14F-4D97-AF65-F5344CB8AC3E}">
        <p14:creationId xmlns:p14="http://schemas.microsoft.com/office/powerpoint/2010/main" val="3038680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35E2B19-C038-43AF-B98B-A55AE7531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40D8613-6731-4C92-BD2B-120BC8A32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D45E80F-4991-44C3-B350-068CF86F90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65521C29-C892-4175-8B09-3249BFC65B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940B3778-0CD6-44CF-8775-09126B09A1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3DD3D13B-2041-4C8F-8F74-E21E42F26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41486D72-8E1E-4B4A-9AE6-23CC5C76C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639A2413-9C88-4AAD-A176-7EE76C6EC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8381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BD645C7-4649-4013-8358-BADEB5C27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C280BBC8-A6DA-441C-9838-7AF00DCC82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4FFEE81-DAB6-4909-BCB8-0A4A851726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40D7441-1993-4EFB-8328-19BAD8C6D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17537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3D35B58F-E29A-4BCF-8847-DC200C77E1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4B859AB-EBBD-4D70-9D39-85981F3F5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F032E42-7F6E-4FCA-B533-E539399E29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64753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6D761B-81A8-417A-B398-1AB74ADE3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EA7B39B-5399-4099-9152-D254999F5E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9B1AB4A-7169-4A84-AB0C-44AC611599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E669FC5-C6CB-432C-948D-65966BC4D5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E9BBD0C-CF38-4B39-9F90-0A2AA30AAA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CF581CE-BCBF-4F48-B6A2-2DDE67FAC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77004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F7815DF-3841-4695-97DC-4F027FA42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D4E11A0-753A-476E-B2B5-94C703CD35D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CEE64F61-95D9-4732-8093-B148A80BCF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B7AE216-7C05-4555-808A-2DA21E1AA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4564F7FA-480E-4CCD-A42D-3A8ACEFA6C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91D9CCB-BE2A-451F-99F4-17FC24392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54643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6BE47782-0DE6-49B7-8FA5-ACDE20D5F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31285B6-0AFA-4A20-913D-03EBAFBA21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42302F7-CE3D-4DCA-B4F8-DECC3B1763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FA854B-1DDA-4A72-9716-CF9EE771C4BF}" type="datetimeFigureOut">
              <a:rPr lang="zh-CN" altLang="en-US" smtClean="0"/>
              <a:t>2019/11/2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9D593C5-0FB8-4C8C-AE2E-48591F71CA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CE3CD63-070E-44EF-A225-DB34BEE69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A36584-C033-49D1-874D-3D4D869377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9203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1/26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9155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49C936-A7C3-466E-A811-7B7148743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3B8658-7147-4FB1-9F8D-9FF1A0032D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8B65A0-F6CD-48ED-AFB8-10B16CA374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E03029-7973-40F3-96DE-F79B8682A80F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A4BDE9-359C-401B-9B47-02AF9589E2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1AC8C7-2A93-48B6-934C-7FE8033177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41A0FE-3B5B-4F83-BB9F-18EED5605C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419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8.png"/><Relationship Id="rId5" Type="http://schemas.openxmlformats.org/officeDocument/2006/relationships/image" Target="../media/image11.png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microsoft.com/office/2007/relationships/hdphoto" Target="../media/hdphoto3.wdp"/><Relationship Id="rId5" Type="http://schemas.openxmlformats.org/officeDocument/2006/relationships/image" Target="../media/image20.png"/><Relationship Id="rId4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5" Type="http://schemas.microsoft.com/office/2007/relationships/hdphoto" Target="../media/hdphoto3.wdp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8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1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jpeg"/><Relationship Id="rId4" Type="http://schemas.openxmlformats.org/officeDocument/2006/relationships/image" Target="../media/image6.tm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982664" y="2883470"/>
            <a:ext cx="5514974" cy="418854"/>
          </a:xfrm>
        </p:spPr>
        <p:txBody>
          <a:bodyPr/>
          <a:lstStyle/>
          <a:p>
            <a:r>
              <a:rPr lang="en-US" altLang="zh-CN" dirty="0"/>
              <a:t>2019  PROJECT  </a:t>
            </a:r>
            <a:r>
              <a:rPr lang="en-US" altLang="zh-CN" dirty="0" err="1"/>
              <a:t>CCLab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833035" y="1356610"/>
            <a:ext cx="6357474" cy="1526860"/>
          </a:xfrm>
        </p:spPr>
        <p:txBody>
          <a:bodyPr>
            <a:noAutofit/>
          </a:bodyPr>
          <a:lstStyle/>
          <a:p>
            <a:r>
              <a:rPr lang="zh-TW" altLang="en-US" sz="6600" dirty="0">
                <a:latin typeface="禹卫书法行书繁体&#10;" panose="02000603000000000000" pitchFamily="2" charset="-120"/>
                <a:ea typeface="禹卫书法行书繁体&#10;" panose="02000603000000000000" pitchFamily="2" charset="-120"/>
              </a:rPr>
              <a:t>智慧手語手套</a:t>
            </a:r>
            <a:endParaRPr lang="zh-CN" altLang="en-US" sz="6600" dirty="0">
              <a:latin typeface="禹卫书法行书繁体&#10;" panose="02000603000000000000" pitchFamily="2" charset="-120"/>
              <a:ea typeface="禹卫书法行书繁体&#10;" panose="02000603000000000000" pitchFamily="2" charset="-12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指導教授 </a:t>
            </a:r>
            <a:r>
              <a:rPr lang="en-US" altLang="zh-CN" dirty="0"/>
              <a:t>—— </a:t>
            </a:r>
            <a:r>
              <a:rPr lang="zh-CN" altLang="en-US" dirty="0"/>
              <a:t>林仲志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982664" y="4913097"/>
            <a:ext cx="5514974" cy="1371600"/>
          </a:xfrm>
        </p:spPr>
        <p:txBody>
          <a:bodyPr/>
          <a:lstStyle/>
          <a:p>
            <a:r>
              <a:rPr lang="en-US" altLang="zh-TW" dirty="0"/>
              <a:t>B0529002 </a:t>
            </a:r>
            <a:r>
              <a:rPr lang="zh-TW" altLang="en-US" dirty="0"/>
              <a:t>錢泓瑞</a:t>
            </a:r>
            <a:endParaRPr lang="en-US" altLang="zh-TW" dirty="0"/>
          </a:p>
          <a:p>
            <a:r>
              <a:rPr lang="en-US" altLang="zh-TW" dirty="0"/>
              <a:t>B0529016 </a:t>
            </a:r>
            <a:r>
              <a:rPr lang="zh-TW" altLang="en-US" dirty="0"/>
              <a:t>張盛翔</a:t>
            </a:r>
            <a:endParaRPr lang="en-US" altLang="zh-TW" dirty="0"/>
          </a:p>
          <a:p>
            <a:r>
              <a:rPr lang="en-US" altLang="zh-TW" dirty="0"/>
              <a:t>B0544101 </a:t>
            </a:r>
            <a:r>
              <a:rPr lang="zh-TW" altLang="en-US" dirty="0"/>
              <a:t>鄭博凡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8" cstate="hq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675090">
            <a:off x="4421100" y="3699844"/>
            <a:ext cx="3185954" cy="3553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4053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14ED57AC-2788-4937-8BB3-712DF1FFC6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37"/>
          <a:stretch/>
        </p:blipFill>
        <p:spPr>
          <a:xfrm>
            <a:off x="-97398" y="0"/>
            <a:ext cx="12289397" cy="6915150"/>
          </a:xfrm>
          <a:prstGeom prst="rect">
            <a:avLst/>
          </a:prstGeom>
        </p:spPr>
      </p:pic>
      <p:pic>
        <p:nvPicPr>
          <p:cNvPr id="6" name="PA_库_图片 5">
            <a:extLst>
              <a:ext uri="{FF2B5EF4-FFF2-40B4-BE49-F238E27FC236}">
                <a16:creationId xmlns:a16="http://schemas.microsoft.com/office/drawing/2014/main" id="{CF83B222-305A-4424-ABC4-576DCA86F65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7138" y="-603652"/>
            <a:ext cx="12192000" cy="6846101"/>
          </a:xfrm>
          <a:prstGeom prst="rect">
            <a:avLst/>
          </a:prstGeom>
        </p:spPr>
      </p:pic>
      <p:sp>
        <p:nvSpPr>
          <p:cNvPr id="5" name="PA_库_$30">
            <a:extLst>
              <a:ext uri="{FF2B5EF4-FFF2-40B4-BE49-F238E27FC236}">
                <a16:creationId xmlns:a16="http://schemas.microsoft.com/office/drawing/2014/main" id="{7D234C83-5217-40A3-A37B-EBA760D2DB6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872554" y="750673"/>
            <a:ext cx="1179810" cy="23775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algn="l">
              <a:lnSpc>
                <a:spcPct val="120000"/>
              </a:lnSpc>
              <a:defRPr sz="5500" b="0">
                <a:solidFill>
                  <a:srgbClr val="30353E"/>
                </a:solidFill>
                <a:latin typeface="Aileron Heavy"/>
                <a:ea typeface="Aileron Heavy"/>
                <a:cs typeface="Aileron Heavy"/>
                <a:sym typeface="Aileron Heavy"/>
              </a:defRPr>
            </a:lvl1pPr>
          </a:lstStyle>
          <a:p>
            <a:r>
              <a:rPr lang="en-US" sz="13800" dirty="0">
                <a:solidFill>
                  <a:schemeClr val="bg1"/>
                </a:solidFill>
                <a:latin typeface="Arial Black" panose="020B0A04020102020204" pitchFamily="34" charset="0"/>
                <a:ea typeface="汉仪清庭-55简" panose="00020600040101010101" pitchFamily="18" charset="-122"/>
              </a:rPr>
              <a:t>2</a:t>
            </a:r>
            <a:endParaRPr sz="13800" dirty="0">
              <a:solidFill>
                <a:schemeClr val="bg1"/>
              </a:solidFill>
              <a:latin typeface="Arial Black" panose="020B0A04020102020204" pitchFamily="34" charset="0"/>
              <a:ea typeface="汉仪清庭-55简" panose="00020600040101010101" pitchFamily="18" charset="-122"/>
            </a:endParaRPr>
          </a:p>
        </p:txBody>
      </p:sp>
      <p:sp>
        <p:nvSpPr>
          <p:cNvPr id="7" name="PA_库_Special Price Tittle…">
            <a:extLst>
              <a:ext uri="{FF2B5EF4-FFF2-40B4-BE49-F238E27FC236}">
                <a16:creationId xmlns:a16="http://schemas.microsoft.com/office/drawing/2014/main" id="{07AEED53-7A48-4F32-8FB9-E9DCA8450A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03094" y="2760548"/>
            <a:ext cx="5054328" cy="13369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50000"/>
              </a:lnSpc>
              <a:defRPr sz="1800">
                <a:solidFill>
                  <a:srgbClr val="677180"/>
                </a:solidFill>
                <a:latin typeface="Aileron"/>
                <a:ea typeface="Aileron"/>
                <a:cs typeface="Aileron"/>
                <a:sym typeface="Aileron"/>
              </a:defRPr>
            </a:pPr>
            <a:r>
              <a:rPr lang="zh-CN" altLang="en-US" sz="6600" dirty="0">
                <a:solidFill>
                  <a:schemeClr val="bg1"/>
                </a:solidFill>
                <a:latin typeface="禹卫书法行书繁体&#10;" panose="02000603000000000000" pitchFamily="2" charset="-120"/>
                <a:ea typeface="禹卫书法行书繁体&#10;" panose="02000603000000000000" pitchFamily="2" charset="-120"/>
              </a:rPr>
              <a:t>問題與回復</a:t>
            </a:r>
            <a:endParaRPr sz="6600" dirty="0">
              <a:solidFill>
                <a:schemeClr val="bg1"/>
              </a:solidFill>
              <a:latin typeface="禹卫书法行书繁体&#10;" panose="02000603000000000000" pitchFamily="2" charset="-120"/>
              <a:ea typeface="禹卫书法行书繁体&#10;" panose="02000603000000000000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993761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1000"/>
                                        <p:tgtEl>
                                          <p:spTgt spid="7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  <p:bldP spid="7" grpId="0" autoUpdateAnimBg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8D537F49-6596-4036-872E-7FACCD9552F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37"/>
          <a:stretch/>
        </p:blipFill>
        <p:spPr>
          <a:xfrm>
            <a:off x="-97398" y="0"/>
            <a:ext cx="12289397" cy="6915150"/>
          </a:xfrm>
          <a:prstGeom prst="rect">
            <a:avLst/>
          </a:prstGeom>
        </p:spPr>
      </p:pic>
      <p:sp>
        <p:nvSpPr>
          <p:cNvPr id="3" name="圆角矩形 3">
            <a:extLst>
              <a:ext uri="{FF2B5EF4-FFF2-40B4-BE49-F238E27FC236}">
                <a16:creationId xmlns:a16="http://schemas.microsoft.com/office/drawing/2014/main" id="{496C21AC-103A-41FE-A900-0AAD150EED14}"/>
              </a:ext>
            </a:extLst>
          </p:cNvPr>
          <p:cNvSpPr/>
          <p:nvPr/>
        </p:nvSpPr>
        <p:spPr>
          <a:xfrm>
            <a:off x="691026" y="546917"/>
            <a:ext cx="10802533" cy="5694503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ln w="12700">
            <a:noFill/>
          </a:ln>
          <a:effectLst>
            <a:outerShdw blurRad="381000" dist="38100" dir="5400000" algn="t" rotWithShape="0">
              <a:srgbClr val="B8B8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prstClr val="white"/>
              </a:solidFill>
            </a:endParaRPr>
          </a:p>
        </p:txBody>
      </p:sp>
      <p:grpSp>
        <p:nvGrpSpPr>
          <p:cNvPr id="4" name="c14c19f6-979a-41d9-8fd9-c37f22741f3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8C2DE36-B47E-43FD-8001-AF19B25F56D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753578" y="1084865"/>
            <a:ext cx="5046115" cy="4082043"/>
            <a:chOff x="3260725" y="1135411"/>
            <a:chExt cx="5670550" cy="4587178"/>
          </a:xfrm>
        </p:grpSpPr>
        <p:sp>
          <p:nvSpPr>
            <p:cNvPr id="5" name="iṣlidê">
              <a:extLst>
                <a:ext uri="{FF2B5EF4-FFF2-40B4-BE49-F238E27FC236}">
                  <a16:creationId xmlns:a16="http://schemas.microsoft.com/office/drawing/2014/main" id="{A36E0343-DE59-4918-92C4-3CF2E02CB067}"/>
                </a:ext>
              </a:extLst>
            </p:cNvPr>
            <p:cNvSpPr/>
            <p:nvPr/>
          </p:nvSpPr>
          <p:spPr bwMode="auto">
            <a:xfrm>
              <a:off x="3260725" y="1135411"/>
              <a:ext cx="2385286" cy="314549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îṣliḋè">
              <a:extLst>
                <a:ext uri="{FF2B5EF4-FFF2-40B4-BE49-F238E27FC236}">
                  <a16:creationId xmlns:a16="http://schemas.microsoft.com/office/drawing/2014/main" id="{C28083AB-64BB-4FE0-BBD2-055981F9AC33}"/>
                </a:ext>
              </a:extLst>
            </p:cNvPr>
            <p:cNvSpPr/>
            <p:nvPr/>
          </p:nvSpPr>
          <p:spPr bwMode="auto">
            <a:xfrm>
              <a:off x="6490649" y="4167626"/>
              <a:ext cx="202098" cy="1097272"/>
            </a:xfrm>
            <a:custGeom>
              <a:avLst/>
              <a:gdLst>
                <a:gd name="T0" fmla="*/ 71 w 170"/>
                <a:gd name="T1" fmla="*/ 0 h 923"/>
                <a:gd name="T2" fmla="*/ 0 w 170"/>
                <a:gd name="T3" fmla="*/ 923 h 923"/>
                <a:gd name="T4" fmla="*/ 71 w 170"/>
                <a:gd name="T5" fmla="*/ 923 h 923"/>
                <a:gd name="T6" fmla="*/ 170 w 170"/>
                <a:gd name="T7" fmla="*/ 0 h 923"/>
                <a:gd name="T8" fmla="*/ 71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1" y="0"/>
                  </a:moveTo>
                  <a:lnTo>
                    <a:pt x="0" y="923"/>
                  </a:lnTo>
                  <a:lnTo>
                    <a:pt x="71" y="923"/>
                  </a:lnTo>
                  <a:lnTo>
                    <a:pt x="170" y="0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íṧļiḓè">
              <a:extLst>
                <a:ext uri="{FF2B5EF4-FFF2-40B4-BE49-F238E27FC236}">
                  <a16:creationId xmlns:a16="http://schemas.microsoft.com/office/drawing/2014/main" id="{02C3D017-4D0F-4054-931C-99A4A3A45EB1}"/>
                </a:ext>
              </a:extLst>
            </p:cNvPr>
            <p:cNvSpPr/>
            <p:nvPr/>
          </p:nvSpPr>
          <p:spPr bwMode="auto">
            <a:xfrm>
              <a:off x="6490649" y="4167626"/>
              <a:ext cx="202098" cy="1097272"/>
            </a:xfrm>
            <a:custGeom>
              <a:avLst/>
              <a:gdLst>
                <a:gd name="T0" fmla="*/ 71 w 170"/>
                <a:gd name="T1" fmla="*/ 0 h 923"/>
                <a:gd name="T2" fmla="*/ 0 w 170"/>
                <a:gd name="T3" fmla="*/ 923 h 923"/>
                <a:gd name="T4" fmla="*/ 71 w 170"/>
                <a:gd name="T5" fmla="*/ 923 h 923"/>
                <a:gd name="T6" fmla="*/ 170 w 170"/>
                <a:gd name="T7" fmla="*/ 0 h 923"/>
                <a:gd name="T8" fmla="*/ 71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1" y="0"/>
                  </a:moveTo>
                  <a:lnTo>
                    <a:pt x="0" y="923"/>
                  </a:lnTo>
                  <a:lnTo>
                    <a:pt x="71" y="923"/>
                  </a:lnTo>
                  <a:lnTo>
                    <a:pt x="170" y="0"/>
                  </a:lnTo>
                  <a:lnTo>
                    <a:pt x="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í$ḻiďé">
              <a:extLst>
                <a:ext uri="{FF2B5EF4-FFF2-40B4-BE49-F238E27FC236}">
                  <a16:creationId xmlns:a16="http://schemas.microsoft.com/office/drawing/2014/main" id="{5981D908-CBDC-48BA-B642-22C42E1FCFF3}"/>
                </a:ext>
              </a:extLst>
            </p:cNvPr>
            <p:cNvSpPr/>
            <p:nvPr/>
          </p:nvSpPr>
          <p:spPr bwMode="auto">
            <a:xfrm>
              <a:off x="8729177" y="4131961"/>
              <a:ext cx="202098" cy="1097272"/>
            </a:xfrm>
            <a:custGeom>
              <a:avLst/>
              <a:gdLst>
                <a:gd name="T0" fmla="*/ 99 w 170"/>
                <a:gd name="T1" fmla="*/ 0 h 923"/>
                <a:gd name="T2" fmla="*/ 170 w 170"/>
                <a:gd name="T3" fmla="*/ 923 h 923"/>
                <a:gd name="T4" fmla="*/ 99 w 170"/>
                <a:gd name="T5" fmla="*/ 923 h 923"/>
                <a:gd name="T6" fmla="*/ 0 w 170"/>
                <a:gd name="T7" fmla="*/ 0 h 923"/>
                <a:gd name="T8" fmla="*/ 99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99" y="0"/>
                  </a:moveTo>
                  <a:lnTo>
                    <a:pt x="170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$ḻïḓè">
              <a:extLst>
                <a:ext uri="{FF2B5EF4-FFF2-40B4-BE49-F238E27FC236}">
                  <a16:creationId xmlns:a16="http://schemas.microsoft.com/office/drawing/2014/main" id="{32F6E5DE-C819-4F71-B571-F48F30F4EB48}"/>
                </a:ext>
              </a:extLst>
            </p:cNvPr>
            <p:cNvSpPr/>
            <p:nvPr/>
          </p:nvSpPr>
          <p:spPr bwMode="auto">
            <a:xfrm>
              <a:off x="8729176" y="4131961"/>
              <a:ext cx="202098" cy="1097272"/>
            </a:xfrm>
            <a:custGeom>
              <a:avLst/>
              <a:gdLst>
                <a:gd name="T0" fmla="*/ 99 w 170"/>
                <a:gd name="T1" fmla="*/ 0 h 923"/>
                <a:gd name="T2" fmla="*/ 170 w 170"/>
                <a:gd name="T3" fmla="*/ 923 h 923"/>
                <a:gd name="T4" fmla="*/ 99 w 170"/>
                <a:gd name="T5" fmla="*/ 923 h 923"/>
                <a:gd name="T6" fmla="*/ 0 w 170"/>
                <a:gd name="T7" fmla="*/ 0 h 923"/>
                <a:gd name="T8" fmla="*/ 99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99" y="0"/>
                  </a:moveTo>
                  <a:lnTo>
                    <a:pt x="170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slíḋe">
              <a:extLst>
                <a:ext uri="{FF2B5EF4-FFF2-40B4-BE49-F238E27FC236}">
                  <a16:creationId xmlns:a16="http://schemas.microsoft.com/office/drawing/2014/main" id="{DE103C51-0BFB-43F3-AB7F-2769A52891B4}"/>
                </a:ext>
              </a:extLst>
            </p:cNvPr>
            <p:cNvSpPr/>
            <p:nvPr/>
          </p:nvSpPr>
          <p:spPr bwMode="auto">
            <a:xfrm>
              <a:off x="6817572" y="4118884"/>
              <a:ext cx="202098" cy="1097272"/>
            </a:xfrm>
            <a:custGeom>
              <a:avLst/>
              <a:gdLst>
                <a:gd name="T0" fmla="*/ 70 w 170"/>
                <a:gd name="T1" fmla="*/ 0 h 923"/>
                <a:gd name="T2" fmla="*/ 0 w 170"/>
                <a:gd name="T3" fmla="*/ 923 h 923"/>
                <a:gd name="T4" fmla="*/ 70 w 170"/>
                <a:gd name="T5" fmla="*/ 923 h 923"/>
                <a:gd name="T6" fmla="*/ 170 w 170"/>
                <a:gd name="T7" fmla="*/ 0 h 923"/>
                <a:gd name="T8" fmla="*/ 70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0" y="0"/>
                  </a:moveTo>
                  <a:lnTo>
                    <a:pt x="0" y="923"/>
                  </a:lnTo>
                  <a:lnTo>
                    <a:pt x="70" y="923"/>
                  </a:lnTo>
                  <a:lnTo>
                    <a:pt x="170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šlïdê">
              <a:extLst>
                <a:ext uri="{FF2B5EF4-FFF2-40B4-BE49-F238E27FC236}">
                  <a16:creationId xmlns:a16="http://schemas.microsoft.com/office/drawing/2014/main" id="{BA30FC56-D679-41AC-A059-916CB055D9B4}"/>
                </a:ext>
              </a:extLst>
            </p:cNvPr>
            <p:cNvSpPr/>
            <p:nvPr/>
          </p:nvSpPr>
          <p:spPr bwMode="auto">
            <a:xfrm>
              <a:off x="8423652" y="4167626"/>
              <a:ext cx="200909" cy="1097272"/>
            </a:xfrm>
            <a:custGeom>
              <a:avLst/>
              <a:gdLst>
                <a:gd name="T0" fmla="*/ 99 w 169"/>
                <a:gd name="T1" fmla="*/ 0 h 923"/>
                <a:gd name="T2" fmla="*/ 169 w 169"/>
                <a:gd name="T3" fmla="*/ 923 h 923"/>
                <a:gd name="T4" fmla="*/ 99 w 169"/>
                <a:gd name="T5" fmla="*/ 923 h 923"/>
                <a:gd name="T6" fmla="*/ 0 w 169"/>
                <a:gd name="T7" fmla="*/ 0 h 923"/>
                <a:gd name="T8" fmla="*/ 99 w 169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923">
                  <a:moveTo>
                    <a:pt x="99" y="0"/>
                  </a:moveTo>
                  <a:lnTo>
                    <a:pt x="169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ïṧľíḍê">
              <a:extLst>
                <a:ext uri="{FF2B5EF4-FFF2-40B4-BE49-F238E27FC236}">
                  <a16:creationId xmlns:a16="http://schemas.microsoft.com/office/drawing/2014/main" id="{77BF115E-C9B5-456C-ABE6-F95BB4A7AC9E}"/>
                </a:ext>
              </a:extLst>
            </p:cNvPr>
            <p:cNvSpPr/>
            <p:nvPr/>
          </p:nvSpPr>
          <p:spPr bwMode="auto">
            <a:xfrm>
              <a:off x="8423652" y="4167626"/>
              <a:ext cx="200909" cy="1097272"/>
            </a:xfrm>
            <a:custGeom>
              <a:avLst/>
              <a:gdLst>
                <a:gd name="T0" fmla="*/ 99 w 169"/>
                <a:gd name="T1" fmla="*/ 0 h 923"/>
                <a:gd name="T2" fmla="*/ 169 w 169"/>
                <a:gd name="T3" fmla="*/ 923 h 923"/>
                <a:gd name="T4" fmla="*/ 99 w 169"/>
                <a:gd name="T5" fmla="*/ 923 h 923"/>
                <a:gd name="T6" fmla="*/ 0 w 169"/>
                <a:gd name="T7" fmla="*/ 0 h 923"/>
                <a:gd name="T8" fmla="*/ 99 w 169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923">
                  <a:moveTo>
                    <a:pt x="99" y="0"/>
                  </a:moveTo>
                  <a:lnTo>
                    <a:pt x="169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šľiḓè">
              <a:extLst>
                <a:ext uri="{FF2B5EF4-FFF2-40B4-BE49-F238E27FC236}">
                  <a16:creationId xmlns:a16="http://schemas.microsoft.com/office/drawing/2014/main" id="{4564C047-F095-45AB-8B75-3EBB823B30BA}"/>
                </a:ext>
              </a:extLst>
            </p:cNvPr>
            <p:cNvSpPr/>
            <p:nvPr/>
          </p:nvSpPr>
          <p:spPr bwMode="auto">
            <a:xfrm>
              <a:off x="6421698" y="4104618"/>
              <a:ext cx="2001954" cy="104615"/>
            </a:xfrm>
            <a:prstGeom prst="rect">
              <a:avLst/>
            </a:pr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$ḷîḋê">
              <a:extLst>
                <a:ext uri="{FF2B5EF4-FFF2-40B4-BE49-F238E27FC236}">
                  <a16:creationId xmlns:a16="http://schemas.microsoft.com/office/drawing/2014/main" id="{09A8F721-4D76-4DCA-BC20-6EE5FBCCC90B}"/>
                </a:ext>
              </a:extLst>
            </p:cNvPr>
            <p:cNvSpPr/>
            <p:nvPr/>
          </p:nvSpPr>
          <p:spPr bwMode="auto">
            <a:xfrm>
              <a:off x="6421698" y="4104618"/>
              <a:ext cx="200195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šḻïde">
              <a:extLst>
                <a:ext uri="{FF2B5EF4-FFF2-40B4-BE49-F238E27FC236}">
                  <a16:creationId xmlns:a16="http://schemas.microsoft.com/office/drawing/2014/main" id="{D00A0659-8D51-4ACC-A79F-24F9FE9EC0A3}"/>
                </a:ext>
              </a:extLst>
            </p:cNvPr>
            <p:cNvSpPr/>
            <p:nvPr/>
          </p:nvSpPr>
          <p:spPr bwMode="auto">
            <a:xfrm>
              <a:off x="8423652" y="4104618"/>
              <a:ext cx="458881" cy="104615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išļíḍê">
              <a:extLst>
                <a:ext uri="{FF2B5EF4-FFF2-40B4-BE49-F238E27FC236}">
                  <a16:creationId xmlns:a16="http://schemas.microsoft.com/office/drawing/2014/main" id="{6B534724-0D51-4799-B878-DEF4C4FAA84E}"/>
                </a:ext>
              </a:extLst>
            </p:cNvPr>
            <p:cNvSpPr/>
            <p:nvPr/>
          </p:nvSpPr>
          <p:spPr bwMode="auto">
            <a:xfrm>
              <a:off x="8423652" y="4104618"/>
              <a:ext cx="458881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ṩ1iḋe">
              <a:extLst>
                <a:ext uri="{FF2B5EF4-FFF2-40B4-BE49-F238E27FC236}">
                  <a16:creationId xmlns:a16="http://schemas.microsoft.com/office/drawing/2014/main" id="{D089CF38-78A9-4D2F-ABCA-CE3AD9E97C80}"/>
                </a:ext>
              </a:extLst>
            </p:cNvPr>
            <p:cNvSpPr/>
            <p:nvPr/>
          </p:nvSpPr>
          <p:spPr bwMode="auto">
            <a:xfrm>
              <a:off x="8427220" y="4104618"/>
              <a:ext cx="458881" cy="104615"/>
            </a:xfrm>
            <a:custGeom>
              <a:avLst/>
              <a:gdLst>
                <a:gd name="T0" fmla="*/ 386 w 386"/>
                <a:gd name="T1" fmla="*/ 0 h 88"/>
                <a:gd name="T2" fmla="*/ 0 w 386"/>
                <a:gd name="T3" fmla="*/ 0 h 88"/>
                <a:gd name="T4" fmla="*/ 383 w 386"/>
                <a:gd name="T5" fmla="*/ 0 h 88"/>
                <a:gd name="T6" fmla="*/ 383 w 386"/>
                <a:gd name="T7" fmla="*/ 88 h 88"/>
                <a:gd name="T8" fmla="*/ 386 w 386"/>
                <a:gd name="T9" fmla="*/ 88 h 88"/>
                <a:gd name="T10" fmla="*/ 386 w 386"/>
                <a:gd name="T1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6" h="88">
                  <a:moveTo>
                    <a:pt x="386" y="0"/>
                  </a:moveTo>
                  <a:lnTo>
                    <a:pt x="0" y="0"/>
                  </a:lnTo>
                  <a:lnTo>
                    <a:pt x="383" y="0"/>
                  </a:lnTo>
                  <a:lnTo>
                    <a:pt x="383" y="88"/>
                  </a:lnTo>
                  <a:lnTo>
                    <a:pt x="386" y="88"/>
                  </a:lnTo>
                  <a:lnTo>
                    <a:pt x="38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ṣḷïḍê">
              <a:extLst>
                <a:ext uri="{FF2B5EF4-FFF2-40B4-BE49-F238E27FC236}">
                  <a16:creationId xmlns:a16="http://schemas.microsoft.com/office/drawing/2014/main" id="{7DBF0EC7-332B-466B-843E-E4E2FDDE6B0F}"/>
                </a:ext>
              </a:extLst>
            </p:cNvPr>
            <p:cNvSpPr/>
            <p:nvPr/>
          </p:nvSpPr>
          <p:spPr bwMode="auto">
            <a:xfrm>
              <a:off x="8427220" y="4104618"/>
              <a:ext cx="458881" cy="104615"/>
            </a:xfrm>
            <a:custGeom>
              <a:avLst/>
              <a:gdLst>
                <a:gd name="T0" fmla="*/ 386 w 386"/>
                <a:gd name="T1" fmla="*/ 0 h 88"/>
                <a:gd name="T2" fmla="*/ 0 w 386"/>
                <a:gd name="T3" fmla="*/ 0 h 88"/>
                <a:gd name="T4" fmla="*/ 383 w 386"/>
                <a:gd name="T5" fmla="*/ 0 h 88"/>
                <a:gd name="T6" fmla="*/ 383 w 386"/>
                <a:gd name="T7" fmla="*/ 88 h 88"/>
                <a:gd name="T8" fmla="*/ 386 w 386"/>
                <a:gd name="T9" fmla="*/ 88 h 88"/>
                <a:gd name="T10" fmla="*/ 386 w 386"/>
                <a:gd name="T1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6" h="88">
                  <a:moveTo>
                    <a:pt x="386" y="0"/>
                  </a:moveTo>
                  <a:lnTo>
                    <a:pt x="0" y="0"/>
                  </a:lnTo>
                  <a:lnTo>
                    <a:pt x="383" y="0"/>
                  </a:lnTo>
                  <a:lnTo>
                    <a:pt x="383" y="88"/>
                  </a:lnTo>
                  <a:lnTo>
                    <a:pt x="386" y="88"/>
                  </a:lnTo>
                  <a:lnTo>
                    <a:pt x="3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iSľïḑe">
              <a:extLst>
                <a:ext uri="{FF2B5EF4-FFF2-40B4-BE49-F238E27FC236}">
                  <a16:creationId xmlns:a16="http://schemas.microsoft.com/office/drawing/2014/main" id="{4CB01ECD-C664-48B6-B164-8ACCFEAF242C}"/>
                </a:ext>
              </a:extLst>
            </p:cNvPr>
            <p:cNvSpPr/>
            <p:nvPr/>
          </p:nvSpPr>
          <p:spPr bwMode="auto">
            <a:xfrm>
              <a:off x="8427220" y="4104618"/>
              <a:ext cx="455314" cy="104615"/>
            </a:xfrm>
            <a:prstGeom prst="rect">
              <a:avLst/>
            </a:pr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sļídè">
              <a:extLst>
                <a:ext uri="{FF2B5EF4-FFF2-40B4-BE49-F238E27FC236}">
                  <a16:creationId xmlns:a16="http://schemas.microsoft.com/office/drawing/2014/main" id="{AC31EB4A-803A-49F6-8B91-001E2EB17F59}"/>
                </a:ext>
              </a:extLst>
            </p:cNvPr>
            <p:cNvSpPr/>
            <p:nvPr/>
          </p:nvSpPr>
          <p:spPr bwMode="auto">
            <a:xfrm>
              <a:off x="8427220" y="4104618"/>
              <a:ext cx="45531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ïşḷiḋé">
              <a:extLst>
                <a:ext uri="{FF2B5EF4-FFF2-40B4-BE49-F238E27FC236}">
                  <a16:creationId xmlns:a16="http://schemas.microsoft.com/office/drawing/2014/main" id="{0AFA8C08-4691-478D-9276-460EA87F6AB3}"/>
                </a:ext>
              </a:extLst>
            </p:cNvPr>
            <p:cNvSpPr/>
            <p:nvPr/>
          </p:nvSpPr>
          <p:spPr bwMode="auto">
            <a:xfrm>
              <a:off x="7207502" y="3437696"/>
              <a:ext cx="937971" cy="59083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Sľîďe">
              <a:extLst>
                <a:ext uri="{FF2B5EF4-FFF2-40B4-BE49-F238E27FC236}">
                  <a16:creationId xmlns:a16="http://schemas.microsoft.com/office/drawing/2014/main" id="{F5576F20-4B8F-45CF-89B4-6FA7B4EA37AF}"/>
                </a:ext>
              </a:extLst>
            </p:cNvPr>
            <p:cNvSpPr/>
            <p:nvPr/>
          </p:nvSpPr>
          <p:spPr bwMode="auto">
            <a:xfrm>
              <a:off x="7227711" y="3459095"/>
              <a:ext cx="876153" cy="54804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ŝḻîḍé">
              <a:extLst>
                <a:ext uri="{FF2B5EF4-FFF2-40B4-BE49-F238E27FC236}">
                  <a16:creationId xmlns:a16="http://schemas.microsoft.com/office/drawing/2014/main" id="{BC8F9B22-E791-4764-BCCB-242094F98B2B}"/>
                </a:ext>
              </a:extLst>
            </p:cNvPr>
            <p:cNvSpPr/>
            <p:nvPr/>
          </p:nvSpPr>
          <p:spPr bwMode="auto">
            <a:xfrm>
              <a:off x="7533235" y="3958395"/>
              <a:ext cx="285314" cy="1462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şľiḓe">
              <a:extLst>
                <a:ext uri="{FF2B5EF4-FFF2-40B4-BE49-F238E27FC236}">
                  <a16:creationId xmlns:a16="http://schemas.microsoft.com/office/drawing/2014/main" id="{C70385A0-A7A4-4B5F-9026-38A5951F79FC}"/>
                </a:ext>
              </a:extLst>
            </p:cNvPr>
            <p:cNvSpPr/>
            <p:nvPr/>
          </p:nvSpPr>
          <p:spPr bwMode="auto">
            <a:xfrm>
              <a:off x="7543934" y="3958395"/>
              <a:ext cx="243706" cy="14622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ślíďè">
              <a:extLst>
                <a:ext uri="{FF2B5EF4-FFF2-40B4-BE49-F238E27FC236}">
                  <a16:creationId xmlns:a16="http://schemas.microsoft.com/office/drawing/2014/main" id="{C007093A-2428-4E17-8106-3868DB016466}"/>
                </a:ext>
              </a:extLst>
            </p:cNvPr>
            <p:cNvSpPr/>
            <p:nvPr/>
          </p:nvSpPr>
          <p:spPr bwMode="auto">
            <a:xfrm>
              <a:off x="8103864" y="3459095"/>
              <a:ext cx="27343" cy="548042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íŝľîḋè">
              <a:extLst>
                <a:ext uri="{FF2B5EF4-FFF2-40B4-BE49-F238E27FC236}">
                  <a16:creationId xmlns:a16="http://schemas.microsoft.com/office/drawing/2014/main" id="{C8A5A57D-C47B-4E92-BD15-99166315D2DE}"/>
                </a:ext>
              </a:extLst>
            </p:cNvPr>
            <p:cNvSpPr/>
            <p:nvPr/>
          </p:nvSpPr>
          <p:spPr bwMode="auto">
            <a:xfrm>
              <a:off x="7784074" y="3958395"/>
              <a:ext cx="20210" cy="146224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şľiḑè">
              <a:extLst>
                <a:ext uri="{FF2B5EF4-FFF2-40B4-BE49-F238E27FC236}">
                  <a16:creationId xmlns:a16="http://schemas.microsoft.com/office/drawing/2014/main" id="{F7B8FAD3-EC05-4CF8-8BDB-7752C10FF67D}"/>
                </a:ext>
              </a:extLst>
            </p:cNvPr>
            <p:cNvSpPr/>
            <p:nvPr/>
          </p:nvSpPr>
          <p:spPr bwMode="auto">
            <a:xfrm>
              <a:off x="7637851" y="3660003"/>
              <a:ext cx="55874" cy="55874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ṩ1iḍê">
              <a:extLst>
                <a:ext uri="{FF2B5EF4-FFF2-40B4-BE49-F238E27FC236}">
                  <a16:creationId xmlns:a16="http://schemas.microsoft.com/office/drawing/2014/main" id="{965BC1D9-542C-42E4-B519-5735546F4F15}"/>
                </a:ext>
              </a:extLst>
            </p:cNvPr>
            <p:cNvSpPr/>
            <p:nvPr/>
          </p:nvSpPr>
          <p:spPr bwMode="auto">
            <a:xfrm>
              <a:off x="6161351" y="3596998"/>
              <a:ext cx="602726" cy="485034"/>
            </a:xfrm>
            <a:custGeom>
              <a:avLst/>
              <a:gdLst>
                <a:gd name="T0" fmla="*/ 124 w 507"/>
                <a:gd name="T1" fmla="*/ 0 h 408"/>
                <a:gd name="T2" fmla="*/ 507 w 507"/>
                <a:gd name="T3" fmla="*/ 164 h 408"/>
                <a:gd name="T4" fmla="*/ 378 w 507"/>
                <a:gd name="T5" fmla="*/ 408 h 408"/>
                <a:gd name="T6" fmla="*/ 0 w 507"/>
                <a:gd name="T7" fmla="*/ 269 h 408"/>
                <a:gd name="T8" fmla="*/ 124 w 507"/>
                <a:gd name="T9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7" h="408">
                  <a:moveTo>
                    <a:pt x="124" y="0"/>
                  </a:moveTo>
                  <a:lnTo>
                    <a:pt x="507" y="164"/>
                  </a:lnTo>
                  <a:lnTo>
                    <a:pt x="378" y="408"/>
                  </a:lnTo>
                  <a:lnTo>
                    <a:pt x="0" y="269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šḷïḋe">
              <a:extLst>
                <a:ext uri="{FF2B5EF4-FFF2-40B4-BE49-F238E27FC236}">
                  <a16:creationId xmlns:a16="http://schemas.microsoft.com/office/drawing/2014/main" id="{DF2CD74C-FD9E-43A0-93A9-659906FCA525}"/>
                </a:ext>
              </a:extLst>
            </p:cNvPr>
            <p:cNvSpPr/>
            <p:nvPr/>
          </p:nvSpPr>
          <p:spPr bwMode="auto">
            <a:xfrm>
              <a:off x="6161351" y="3596998"/>
              <a:ext cx="602726" cy="485034"/>
            </a:xfrm>
            <a:custGeom>
              <a:avLst/>
              <a:gdLst>
                <a:gd name="T0" fmla="*/ 124 w 507"/>
                <a:gd name="T1" fmla="*/ 0 h 408"/>
                <a:gd name="T2" fmla="*/ 507 w 507"/>
                <a:gd name="T3" fmla="*/ 164 h 408"/>
                <a:gd name="T4" fmla="*/ 378 w 507"/>
                <a:gd name="T5" fmla="*/ 408 h 408"/>
                <a:gd name="T6" fmla="*/ 0 w 507"/>
                <a:gd name="T7" fmla="*/ 269 h 408"/>
                <a:gd name="T8" fmla="*/ 124 w 507"/>
                <a:gd name="T9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7" h="408">
                  <a:moveTo>
                    <a:pt x="124" y="0"/>
                  </a:moveTo>
                  <a:lnTo>
                    <a:pt x="507" y="164"/>
                  </a:lnTo>
                  <a:lnTo>
                    <a:pt x="378" y="408"/>
                  </a:lnTo>
                  <a:lnTo>
                    <a:pt x="0" y="269"/>
                  </a:lnTo>
                  <a:lnTo>
                    <a:pt x="1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š1îḑê">
              <a:extLst>
                <a:ext uri="{FF2B5EF4-FFF2-40B4-BE49-F238E27FC236}">
                  <a16:creationId xmlns:a16="http://schemas.microsoft.com/office/drawing/2014/main" id="{0BA013DB-D9DC-438C-A8DF-ADDC15CE506D}"/>
                </a:ext>
              </a:extLst>
            </p:cNvPr>
            <p:cNvSpPr/>
            <p:nvPr/>
          </p:nvSpPr>
          <p:spPr bwMode="auto">
            <a:xfrm>
              <a:off x="6327783" y="4524268"/>
              <a:ext cx="124825" cy="104615"/>
            </a:xfrm>
            <a:prstGeom prst="rect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ş1iḋè">
              <a:extLst>
                <a:ext uri="{FF2B5EF4-FFF2-40B4-BE49-F238E27FC236}">
                  <a16:creationId xmlns:a16="http://schemas.microsoft.com/office/drawing/2014/main" id="{B2FF22A6-F3BA-472B-8A4B-32F718762394}"/>
                </a:ext>
              </a:extLst>
            </p:cNvPr>
            <p:cNvSpPr/>
            <p:nvPr/>
          </p:nvSpPr>
          <p:spPr bwMode="auto">
            <a:xfrm>
              <a:off x="6327783" y="4524268"/>
              <a:ext cx="124825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ŝľîdè">
              <a:extLst>
                <a:ext uri="{FF2B5EF4-FFF2-40B4-BE49-F238E27FC236}">
                  <a16:creationId xmlns:a16="http://schemas.microsoft.com/office/drawing/2014/main" id="{C4F83D7C-DAFE-44E8-A9DC-BC52B185F226}"/>
                </a:ext>
              </a:extLst>
            </p:cNvPr>
            <p:cNvSpPr/>
            <p:nvPr/>
          </p:nvSpPr>
          <p:spPr bwMode="auto">
            <a:xfrm>
              <a:off x="6494217" y="4524268"/>
              <a:ext cx="126014" cy="104615"/>
            </a:xfrm>
            <a:prstGeom prst="rect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şľiḑè">
              <a:extLst>
                <a:ext uri="{FF2B5EF4-FFF2-40B4-BE49-F238E27FC236}">
                  <a16:creationId xmlns:a16="http://schemas.microsoft.com/office/drawing/2014/main" id="{AD496C00-D297-45B1-AFD1-7F7F5534DBEB}"/>
                </a:ext>
              </a:extLst>
            </p:cNvPr>
            <p:cNvSpPr/>
            <p:nvPr/>
          </p:nvSpPr>
          <p:spPr bwMode="auto">
            <a:xfrm>
              <a:off x="6494217" y="4524268"/>
              <a:ext cx="12601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iṩḻíḍe">
              <a:extLst>
                <a:ext uri="{FF2B5EF4-FFF2-40B4-BE49-F238E27FC236}">
                  <a16:creationId xmlns:a16="http://schemas.microsoft.com/office/drawing/2014/main" id="{7D86DF7F-0C05-425F-A4BA-EECDE3502E75}"/>
                </a:ext>
              </a:extLst>
            </p:cNvPr>
            <p:cNvSpPr/>
            <p:nvPr/>
          </p:nvSpPr>
          <p:spPr bwMode="auto">
            <a:xfrm>
              <a:off x="6441910" y="3059656"/>
              <a:ext cx="332866" cy="332866"/>
            </a:xfrm>
            <a:prstGeom prst="ellipse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śľíḓè">
              <a:extLst>
                <a:ext uri="{FF2B5EF4-FFF2-40B4-BE49-F238E27FC236}">
                  <a16:creationId xmlns:a16="http://schemas.microsoft.com/office/drawing/2014/main" id="{0E895F58-52C7-4798-B798-C2C786F6710C}"/>
                </a:ext>
              </a:extLst>
            </p:cNvPr>
            <p:cNvSpPr/>
            <p:nvPr/>
          </p:nvSpPr>
          <p:spPr bwMode="auto">
            <a:xfrm>
              <a:off x="6597643" y="3298605"/>
              <a:ext cx="166434" cy="166434"/>
            </a:xfrm>
            <a:custGeom>
              <a:avLst/>
              <a:gdLst>
                <a:gd name="T0" fmla="*/ 140 w 140"/>
                <a:gd name="T1" fmla="*/ 140 h 140"/>
                <a:gd name="T2" fmla="*/ 17 w 140"/>
                <a:gd name="T3" fmla="*/ 140 h 140"/>
                <a:gd name="T4" fmla="*/ 0 w 140"/>
                <a:gd name="T5" fmla="*/ 0 h 140"/>
                <a:gd name="T6" fmla="*/ 105 w 140"/>
                <a:gd name="T7" fmla="*/ 0 h 140"/>
                <a:gd name="T8" fmla="*/ 140 w 140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40">
                  <a:moveTo>
                    <a:pt x="140" y="140"/>
                  </a:moveTo>
                  <a:lnTo>
                    <a:pt x="17" y="140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40" y="140"/>
                  </a:lnTo>
                  <a:close/>
                </a:path>
              </a:pathLst>
            </a:cu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išľîďé">
              <a:extLst>
                <a:ext uri="{FF2B5EF4-FFF2-40B4-BE49-F238E27FC236}">
                  <a16:creationId xmlns:a16="http://schemas.microsoft.com/office/drawing/2014/main" id="{1E7E3D6D-7651-45D9-83D2-6CE005B2841B}"/>
                </a:ext>
              </a:extLst>
            </p:cNvPr>
            <p:cNvSpPr/>
            <p:nvPr/>
          </p:nvSpPr>
          <p:spPr bwMode="auto">
            <a:xfrm>
              <a:off x="6597643" y="3298605"/>
              <a:ext cx="166434" cy="166434"/>
            </a:xfrm>
            <a:custGeom>
              <a:avLst/>
              <a:gdLst>
                <a:gd name="T0" fmla="*/ 140 w 140"/>
                <a:gd name="T1" fmla="*/ 140 h 140"/>
                <a:gd name="T2" fmla="*/ 17 w 140"/>
                <a:gd name="T3" fmla="*/ 140 h 140"/>
                <a:gd name="T4" fmla="*/ 0 w 140"/>
                <a:gd name="T5" fmla="*/ 0 h 140"/>
                <a:gd name="T6" fmla="*/ 105 w 140"/>
                <a:gd name="T7" fmla="*/ 0 h 140"/>
                <a:gd name="T8" fmla="*/ 140 w 140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40">
                  <a:moveTo>
                    <a:pt x="140" y="140"/>
                  </a:moveTo>
                  <a:lnTo>
                    <a:pt x="17" y="140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40" y="1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ślïḍé">
              <a:extLst>
                <a:ext uri="{FF2B5EF4-FFF2-40B4-BE49-F238E27FC236}">
                  <a16:creationId xmlns:a16="http://schemas.microsoft.com/office/drawing/2014/main" id="{CB7E2B95-F15A-4E54-8A69-72DA14ABE0C3}"/>
                </a:ext>
              </a:extLst>
            </p:cNvPr>
            <p:cNvSpPr/>
            <p:nvPr/>
          </p:nvSpPr>
          <p:spPr bwMode="auto">
            <a:xfrm>
              <a:off x="6162539" y="3922731"/>
              <a:ext cx="767971" cy="645524"/>
            </a:xfrm>
            <a:custGeom>
              <a:avLst/>
              <a:gdLst>
                <a:gd name="T0" fmla="*/ 394 w 442"/>
                <a:gd name="T1" fmla="*/ 0 h 372"/>
                <a:gd name="T2" fmla="*/ 406 w 442"/>
                <a:gd name="T3" fmla="*/ 84 h 372"/>
                <a:gd name="T4" fmla="*/ 131 w 442"/>
                <a:gd name="T5" fmla="*/ 120 h 372"/>
                <a:gd name="T6" fmla="*/ 179 w 442"/>
                <a:gd name="T7" fmla="*/ 372 h 372"/>
                <a:gd name="T8" fmla="*/ 83 w 442"/>
                <a:gd name="T9" fmla="*/ 372 h 372"/>
                <a:gd name="T10" fmla="*/ 31 w 442"/>
                <a:gd name="T11" fmla="*/ 101 h 372"/>
                <a:gd name="T12" fmla="*/ 83 w 442"/>
                <a:gd name="T13" fmla="*/ 24 h 372"/>
                <a:gd name="T14" fmla="*/ 394 w 442"/>
                <a:gd name="T15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372">
                  <a:moveTo>
                    <a:pt x="394" y="0"/>
                  </a:moveTo>
                  <a:cubicBezTo>
                    <a:pt x="394" y="0"/>
                    <a:pt x="442" y="24"/>
                    <a:pt x="406" y="84"/>
                  </a:cubicBezTo>
                  <a:cubicBezTo>
                    <a:pt x="370" y="144"/>
                    <a:pt x="131" y="120"/>
                    <a:pt x="131" y="120"/>
                  </a:cubicBezTo>
                  <a:cubicBezTo>
                    <a:pt x="131" y="120"/>
                    <a:pt x="191" y="264"/>
                    <a:pt x="179" y="372"/>
                  </a:cubicBezTo>
                  <a:cubicBezTo>
                    <a:pt x="83" y="372"/>
                    <a:pt x="83" y="372"/>
                    <a:pt x="83" y="372"/>
                  </a:cubicBezTo>
                  <a:cubicBezTo>
                    <a:pt x="83" y="372"/>
                    <a:pt x="54" y="125"/>
                    <a:pt x="31" y="101"/>
                  </a:cubicBezTo>
                  <a:cubicBezTo>
                    <a:pt x="0" y="70"/>
                    <a:pt x="23" y="12"/>
                    <a:pt x="83" y="24"/>
                  </a:cubicBezTo>
                  <a:cubicBezTo>
                    <a:pt x="143" y="36"/>
                    <a:pt x="394" y="0"/>
                    <a:pt x="39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ṡḷiḓe">
              <a:extLst>
                <a:ext uri="{FF2B5EF4-FFF2-40B4-BE49-F238E27FC236}">
                  <a16:creationId xmlns:a16="http://schemas.microsoft.com/office/drawing/2014/main" id="{9A443A16-CD40-46F5-A6D9-BC012C79460C}"/>
                </a:ext>
              </a:extLst>
            </p:cNvPr>
            <p:cNvSpPr/>
            <p:nvPr/>
          </p:nvSpPr>
          <p:spPr bwMode="auto">
            <a:xfrm>
              <a:off x="6558413" y="4134338"/>
              <a:ext cx="28532" cy="1189"/>
            </a:xfrm>
            <a:custGeom>
              <a:avLst/>
              <a:gdLst>
                <a:gd name="T0" fmla="*/ 0 w 16"/>
                <a:gd name="T1" fmla="*/ 0 h 1"/>
                <a:gd name="T2" fmla="*/ 0 w 16"/>
                <a:gd name="T3" fmla="*/ 1 h 1"/>
                <a:gd name="T4" fmla="*/ 6 w 16"/>
                <a:gd name="T5" fmla="*/ 1 h 1"/>
                <a:gd name="T6" fmla="*/ 16 w 16"/>
                <a:gd name="T7" fmla="*/ 1 h 1"/>
                <a:gd name="T8" fmla="*/ 0 w 1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4" y="1"/>
                    <a:pt x="6" y="1"/>
                  </a:cubicBezTo>
                  <a:cubicBezTo>
                    <a:pt x="9" y="1"/>
                    <a:pt x="13" y="1"/>
                    <a:pt x="16" y="1"/>
                  </a:cubicBezTo>
                  <a:cubicBezTo>
                    <a:pt x="11" y="0"/>
                    <a:pt x="5" y="0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ṧlïḑe">
              <a:extLst>
                <a:ext uri="{FF2B5EF4-FFF2-40B4-BE49-F238E27FC236}">
                  <a16:creationId xmlns:a16="http://schemas.microsoft.com/office/drawing/2014/main" id="{D23E20D2-DB1F-45DC-8037-4F48C3FA59F3}"/>
                </a:ext>
              </a:extLst>
            </p:cNvPr>
            <p:cNvSpPr/>
            <p:nvPr/>
          </p:nvSpPr>
          <p:spPr bwMode="auto">
            <a:xfrm>
              <a:off x="6191070" y="3958395"/>
              <a:ext cx="92727" cy="85595"/>
            </a:xfrm>
            <a:custGeom>
              <a:avLst/>
              <a:gdLst>
                <a:gd name="T0" fmla="*/ 49 w 54"/>
                <a:gd name="T1" fmla="*/ 0 h 49"/>
                <a:gd name="T2" fmla="*/ 1 w 54"/>
                <a:gd name="T3" fmla="*/ 49 h 49"/>
                <a:gd name="T4" fmla="*/ 52 w 54"/>
                <a:gd name="T5" fmla="*/ 1 h 49"/>
                <a:gd name="T6" fmla="*/ 54 w 54"/>
                <a:gd name="T7" fmla="*/ 2 h 49"/>
                <a:gd name="T8" fmla="*/ 49 w 54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49" y="0"/>
                  </a:moveTo>
                  <a:cubicBezTo>
                    <a:pt x="17" y="1"/>
                    <a:pt x="0" y="25"/>
                    <a:pt x="1" y="49"/>
                  </a:cubicBezTo>
                  <a:cubicBezTo>
                    <a:pt x="1" y="25"/>
                    <a:pt x="19" y="1"/>
                    <a:pt x="52" y="1"/>
                  </a:cubicBezTo>
                  <a:cubicBezTo>
                    <a:pt x="53" y="1"/>
                    <a:pt x="53" y="1"/>
                    <a:pt x="54" y="2"/>
                  </a:cubicBezTo>
                  <a:cubicBezTo>
                    <a:pt x="49" y="0"/>
                    <a:pt x="49" y="0"/>
                    <a:pt x="4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ṧļïḑe">
              <a:extLst>
                <a:ext uri="{FF2B5EF4-FFF2-40B4-BE49-F238E27FC236}">
                  <a16:creationId xmlns:a16="http://schemas.microsoft.com/office/drawing/2014/main" id="{6B1FB6A6-085E-416F-B4B3-DE7542DFF766}"/>
                </a:ext>
              </a:extLst>
            </p:cNvPr>
            <p:cNvSpPr/>
            <p:nvPr/>
          </p:nvSpPr>
          <p:spPr bwMode="auto">
            <a:xfrm>
              <a:off x="6275475" y="3957206"/>
              <a:ext cx="22588" cy="4756"/>
            </a:xfrm>
            <a:custGeom>
              <a:avLst/>
              <a:gdLst>
                <a:gd name="T0" fmla="*/ 3 w 13"/>
                <a:gd name="T1" fmla="*/ 0 h 3"/>
                <a:gd name="T2" fmla="*/ 0 w 13"/>
                <a:gd name="T3" fmla="*/ 1 h 3"/>
                <a:gd name="T4" fmla="*/ 5 w 13"/>
                <a:gd name="T5" fmla="*/ 3 h 3"/>
                <a:gd name="T6" fmla="*/ 6 w 13"/>
                <a:gd name="T7" fmla="*/ 3 h 3"/>
                <a:gd name="T8" fmla="*/ 13 w 13"/>
                <a:gd name="T9" fmla="*/ 1 h 3"/>
                <a:gd name="T10" fmla="*/ 3 w 13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"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8" y="2"/>
                    <a:pt x="11" y="2"/>
                    <a:pt x="13" y="1"/>
                  </a:cubicBezTo>
                  <a:cubicBezTo>
                    <a:pt x="9" y="1"/>
                    <a:pt x="6" y="0"/>
                    <a:pt x="3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ṩḻiḑe">
              <a:extLst>
                <a:ext uri="{FF2B5EF4-FFF2-40B4-BE49-F238E27FC236}">
                  <a16:creationId xmlns:a16="http://schemas.microsoft.com/office/drawing/2014/main" id="{68D6B442-CB23-443F-BB50-D1089C6937DD}"/>
                </a:ext>
              </a:extLst>
            </p:cNvPr>
            <p:cNvSpPr/>
            <p:nvPr/>
          </p:nvSpPr>
          <p:spPr bwMode="auto">
            <a:xfrm>
              <a:off x="6192259" y="3960772"/>
              <a:ext cx="149790" cy="602727"/>
            </a:xfrm>
            <a:custGeom>
              <a:avLst/>
              <a:gdLst>
                <a:gd name="T0" fmla="*/ 51 w 86"/>
                <a:gd name="T1" fmla="*/ 0 h 347"/>
                <a:gd name="T2" fmla="*/ 0 w 86"/>
                <a:gd name="T3" fmla="*/ 48 h 347"/>
                <a:gd name="T4" fmla="*/ 14 w 86"/>
                <a:gd name="T5" fmla="*/ 77 h 347"/>
                <a:gd name="T6" fmla="*/ 66 w 86"/>
                <a:gd name="T7" fmla="*/ 347 h 347"/>
                <a:gd name="T8" fmla="*/ 86 w 86"/>
                <a:gd name="T9" fmla="*/ 347 h 347"/>
                <a:gd name="T10" fmla="*/ 33 w 86"/>
                <a:gd name="T11" fmla="*/ 77 h 347"/>
                <a:gd name="T12" fmla="*/ 54 w 86"/>
                <a:gd name="T13" fmla="*/ 1 h 347"/>
                <a:gd name="T14" fmla="*/ 53 w 86"/>
                <a:gd name="T15" fmla="*/ 1 h 347"/>
                <a:gd name="T16" fmla="*/ 51 w 86"/>
                <a:gd name="T17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347">
                  <a:moveTo>
                    <a:pt x="51" y="0"/>
                  </a:moveTo>
                  <a:cubicBezTo>
                    <a:pt x="18" y="0"/>
                    <a:pt x="0" y="24"/>
                    <a:pt x="0" y="48"/>
                  </a:cubicBezTo>
                  <a:cubicBezTo>
                    <a:pt x="1" y="58"/>
                    <a:pt x="5" y="69"/>
                    <a:pt x="14" y="77"/>
                  </a:cubicBezTo>
                  <a:cubicBezTo>
                    <a:pt x="37" y="101"/>
                    <a:pt x="66" y="347"/>
                    <a:pt x="66" y="347"/>
                  </a:cubicBezTo>
                  <a:cubicBezTo>
                    <a:pt x="86" y="347"/>
                    <a:pt x="86" y="347"/>
                    <a:pt x="86" y="347"/>
                  </a:cubicBezTo>
                  <a:cubicBezTo>
                    <a:pt x="86" y="347"/>
                    <a:pt x="57" y="101"/>
                    <a:pt x="33" y="77"/>
                  </a:cubicBezTo>
                  <a:cubicBezTo>
                    <a:pt x="9" y="53"/>
                    <a:pt x="19" y="10"/>
                    <a:pt x="54" y="1"/>
                  </a:cubicBezTo>
                  <a:cubicBezTo>
                    <a:pt x="54" y="1"/>
                    <a:pt x="53" y="1"/>
                    <a:pt x="53" y="1"/>
                  </a:cubicBezTo>
                  <a:cubicBezTo>
                    <a:pt x="52" y="0"/>
                    <a:pt x="52" y="0"/>
                    <a:pt x="51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ŝ1ïḓè">
              <a:extLst>
                <a:ext uri="{FF2B5EF4-FFF2-40B4-BE49-F238E27FC236}">
                  <a16:creationId xmlns:a16="http://schemas.microsoft.com/office/drawing/2014/main" id="{4811C979-0822-415D-91FE-2906E6A0F10F}"/>
                </a:ext>
              </a:extLst>
            </p:cNvPr>
            <p:cNvSpPr/>
            <p:nvPr/>
          </p:nvSpPr>
          <p:spPr bwMode="auto">
            <a:xfrm>
              <a:off x="6161351" y="4608674"/>
              <a:ext cx="332866" cy="103427"/>
            </a:xfrm>
            <a:custGeom>
              <a:avLst/>
              <a:gdLst>
                <a:gd name="T0" fmla="*/ 192 w 192"/>
                <a:gd name="T1" fmla="*/ 0 h 60"/>
                <a:gd name="T2" fmla="*/ 0 w 192"/>
                <a:gd name="T3" fmla="*/ 24 h 60"/>
                <a:gd name="T4" fmla="*/ 24 w 192"/>
                <a:gd name="T5" fmla="*/ 60 h 60"/>
                <a:gd name="T6" fmla="*/ 192 w 192"/>
                <a:gd name="T7" fmla="*/ 60 h 60"/>
                <a:gd name="T8" fmla="*/ 192 w 192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60">
                  <a:moveTo>
                    <a:pt x="192" y="0"/>
                  </a:moveTo>
                  <a:cubicBezTo>
                    <a:pt x="192" y="0"/>
                    <a:pt x="0" y="0"/>
                    <a:pt x="0" y="24"/>
                  </a:cubicBezTo>
                  <a:cubicBezTo>
                    <a:pt x="0" y="48"/>
                    <a:pt x="24" y="60"/>
                    <a:pt x="24" y="60"/>
                  </a:cubicBezTo>
                  <a:cubicBezTo>
                    <a:pt x="192" y="60"/>
                    <a:pt x="192" y="60"/>
                    <a:pt x="192" y="60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ś1idê">
              <a:extLst>
                <a:ext uri="{FF2B5EF4-FFF2-40B4-BE49-F238E27FC236}">
                  <a16:creationId xmlns:a16="http://schemas.microsoft.com/office/drawing/2014/main" id="{15B11CC0-4E4E-4CE4-9938-9D045960C1E5}"/>
                </a:ext>
              </a:extLst>
            </p:cNvPr>
            <p:cNvSpPr/>
            <p:nvPr/>
          </p:nvSpPr>
          <p:spPr bwMode="auto">
            <a:xfrm>
              <a:off x="6157783" y="4606296"/>
              <a:ext cx="332866" cy="95105"/>
            </a:xfrm>
            <a:custGeom>
              <a:avLst/>
              <a:gdLst>
                <a:gd name="T0" fmla="*/ 98 w 192"/>
                <a:gd name="T1" fmla="*/ 3 h 55"/>
                <a:gd name="T2" fmla="*/ 0 w 192"/>
                <a:gd name="T3" fmla="*/ 24 h 55"/>
                <a:gd name="T4" fmla="*/ 16 w 192"/>
                <a:gd name="T5" fmla="*/ 55 h 55"/>
                <a:gd name="T6" fmla="*/ 14 w 192"/>
                <a:gd name="T7" fmla="*/ 52 h 55"/>
                <a:gd name="T8" fmla="*/ 2 w 192"/>
                <a:gd name="T9" fmla="*/ 25 h 55"/>
                <a:gd name="T10" fmla="*/ 98 w 192"/>
                <a:gd name="T11" fmla="*/ 4 h 55"/>
                <a:gd name="T12" fmla="*/ 98 w 192"/>
                <a:gd name="T13" fmla="*/ 3 h 55"/>
                <a:gd name="T14" fmla="*/ 192 w 192"/>
                <a:gd name="T15" fmla="*/ 0 h 55"/>
                <a:gd name="T16" fmla="*/ 170 w 192"/>
                <a:gd name="T17" fmla="*/ 1 h 55"/>
                <a:gd name="T18" fmla="*/ 170 w 192"/>
                <a:gd name="T19" fmla="*/ 2 h 55"/>
                <a:gd name="T20" fmla="*/ 192 w 192"/>
                <a:gd name="T21" fmla="*/ 1 h 55"/>
                <a:gd name="T22" fmla="*/ 192 w 192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2" h="55">
                  <a:moveTo>
                    <a:pt x="98" y="3"/>
                  </a:moveTo>
                  <a:cubicBezTo>
                    <a:pt x="50" y="6"/>
                    <a:pt x="0" y="12"/>
                    <a:pt x="0" y="24"/>
                  </a:cubicBezTo>
                  <a:cubicBezTo>
                    <a:pt x="1" y="36"/>
                    <a:pt x="7" y="47"/>
                    <a:pt x="16" y="55"/>
                  </a:cubicBezTo>
                  <a:cubicBezTo>
                    <a:pt x="15" y="54"/>
                    <a:pt x="14" y="53"/>
                    <a:pt x="14" y="52"/>
                  </a:cubicBezTo>
                  <a:cubicBezTo>
                    <a:pt x="8" y="46"/>
                    <a:pt x="2" y="37"/>
                    <a:pt x="2" y="25"/>
                  </a:cubicBezTo>
                  <a:cubicBezTo>
                    <a:pt x="2" y="13"/>
                    <a:pt x="50" y="7"/>
                    <a:pt x="98" y="4"/>
                  </a:cubicBezTo>
                  <a:cubicBezTo>
                    <a:pt x="98" y="3"/>
                    <a:pt x="98" y="3"/>
                    <a:pt x="98" y="3"/>
                  </a:cubicBezTo>
                  <a:moveTo>
                    <a:pt x="192" y="0"/>
                  </a:moveTo>
                  <a:cubicBezTo>
                    <a:pt x="192" y="0"/>
                    <a:pt x="183" y="0"/>
                    <a:pt x="170" y="1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81" y="1"/>
                    <a:pt x="189" y="1"/>
                    <a:pt x="192" y="1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ṡļíḑê">
              <a:extLst>
                <a:ext uri="{FF2B5EF4-FFF2-40B4-BE49-F238E27FC236}">
                  <a16:creationId xmlns:a16="http://schemas.microsoft.com/office/drawing/2014/main" id="{20D36FE1-DDA0-4E4C-9558-DDDCE44A238A}"/>
                </a:ext>
              </a:extLst>
            </p:cNvPr>
            <p:cNvSpPr/>
            <p:nvPr/>
          </p:nvSpPr>
          <p:spPr bwMode="auto">
            <a:xfrm>
              <a:off x="6327783" y="4608674"/>
              <a:ext cx="124825" cy="4756"/>
            </a:xfrm>
            <a:custGeom>
              <a:avLst/>
              <a:gdLst>
                <a:gd name="T0" fmla="*/ 72 w 72"/>
                <a:gd name="T1" fmla="*/ 0 h 3"/>
                <a:gd name="T2" fmla="*/ 0 w 72"/>
                <a:gd name="T3" fmla="*/ 2 h 3"/>
                <a:gd name="T4" fmla="*/ 0 w 72"/>
                <a:gd name="T5" fmla="*/ 3 h 3"/>
                <a:gd name="T6" fmla="*/ 72 w 72"/>
                <a:gd name="T7" fmla="*/ 1 h 3"/>
                <a:gd name="T8" fmla="*/ 72 w 7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">
                  <a:moveTo>
                    <a:pt x="72" y="0"/>
                  </a:moveTo>
                  <a:cubicBezTo>
                    <a:pt x="54" y="0"/>
                    <a:pt x="27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7" y="2"/>
                    <a:pt x="54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ṡľíḍe">
              <a:extLst>
                <a:ext uri="{FF2B5EF4-FFF2-40B4-BE49-F238E27FC236}">
                  <a16:creationId xmlns:a16="http://schemas.microsoft.com/office/drawing/2014/main" id="{7CA19CF3-9E8F-4A3E-9AC3-B3D3821D92E5}"/>
                </a:ext>
              </a:extLst>
            </p:cNvPr>
            <p:cNvSpPr/>
            <p:nvPr/>
          </p:nvSpPr>
          <p:spPr bwMode="auto">
            <a:xfrm>
              <a:off x="6161351" y="4608674"/>
              <a:ext cx="329301" cy="87971"/>
            </a:xfrm>
            <a:custGeom>
              <a:avLst/>
              <a:gdLst>
                <a:gd name="T0" fmla="*/ 190 w 190"/>
                <a:gd name="T1" fmla="*/ 0 h 51"/>
                <a:gd name="T2" fmla="*/ 168 w 190"/>
                <a:gd name="T3" fmla="*/ 1 h 51"/>
                <a:gd name="T4" fmla="*/ 96 w 190"/>
                <a:gd name="T5" fmla="*/ 3 h 51"/>
                <a:gd name="T6" fmla="*/ 0 w 190"/>
                <a:gd name="T7" fmla="*/ 24 h 51"/>
                <a:gd name="T8" fmla="*/ 12 w 190"/>
                <a:gd name="T9" fmla="*/ 51 h 51"/>
                <a:gd name="T10" fmla="*/ 5 w 190"/>
                <a:gd name="T11" fmla="*/ 30 h 51"/>
                <a:gd name="T12" fmla="*/ 143 w 190"/>
                <a:gd name="T13" fmla="*/ 7 h 51"/>
                <a:gd name="T14" fmla="*/ 190 w 190"/>
                <a:gd name="T15" fmla="*/ 3 h 51"/>
                <a:gd name="T16" fmla="*/ 190 w 190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51">
                  <a:moveTo>
                    <a:pt x="190" y="0"/>
                  </a:moveTo>
                  <a:cubicBezTo>
                    <a:pt x="187" y="0"/>
                    <a:pt x="179" y="0"/>
                    <a:pt x="168" y="1"/>
                  </a:cubicBezTo>
                  <a:cubicBezTo>
                    <a:pt x="150" y="1"/>
                    <a:pt x="123" y="2"/>
                    <a:pt x="96" y="3"/>
                  </a:cubicBezTo>
                  <a:cubicBezTo>
                    <a:pt x="48" y="6"/>
                    <a:pt x="0" y="12"/>
                    <a:pt x="0" y="24"/>
                  </a:cubicBezTo>
                  <a:cubicBezTo>
                    <a:pt x="0" y="36"/>
                    <a:pt x="6" y="45"/>
                    <a:pt x="12" y="51"/>
                  </a:cubicBezTo>
                  <a:cubicBezTo>
                    <a:pt x="7" y="45"/>
                    <a:pt x="5" y="38"/>
                    <a:pt x="5" y="30"/>
                  </a:cubicBezTo>
                  <a:cubicBezTo>
                    <a:pt x="5" y="14"/>
                    <a:pt x="86" y="9"/>
                    <a:pt x="143" y="7"/>
                  </a:cubicBezTo>
                  <a:cubicBezTo>
                    <a:pt x="157" y="5"/>
                    <a:pt x="174" y="4"/>
                    <a:pt x="190" y="3"/>
                  </a:cubicBezTo>
                  <a:cubicBezTo>
                    <a:pt x="190" y="0"/>
                    <a:pt x="190" y="0"/>
                    <a:pt x="19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śḷiďê">
              <a:extLst>
                <a:ext uri="{FF2B5EF4-FFF2-40B4-BE49-F238E27FC236}">
                  <a16:creationId xmlns:a16="http://schemas.microsoft.com/office/drawing/2014/main" id="{943E63D4-08C7-4689-B493-D095B32608FC}"/>
                </a:ext>
              </a:extLst>
            </p:cNvPr>
            <p:cNvSpPr/>
            <p:nvPr/>
          </p:nvSpPr>
          <p:spPr bwMode="auto">
            <a:xfrm>
              <a:off x="6327783" y="3922731"/>
              <a:ext cx="769160" cy="645524"/>
            </a:xfrm>
            <a:custGeom>
              <a:avLst/>
              <a:gdLst>
                <a:gd name="T0" fmla="*/ 395 w 443"/>
                <a:gd name="T1" fmla="*/ 0 h 372"/>
                <a:gd name="T2" fmla="*/ 407 w 443"/>
                <a:gd name="T3" fmla="*/ 84 h 372"/>
                <a:gd name="T4" fmla="*/ 132 w 443"/>
                <a:gd name="T5" fmla="*/ 120 h 372"/>
                <a:gd name="T6" fmla="*/ 180 w 443"/>
                <a:gd name="T7" fmla="*/ 372 h 372"/>
                <a:gd name="T8" fmla="*/ 84 w 443"/>
                <a:gd name="T9" fmla="*/ 372 h 372"/>
                <a:gd name="T10" fmla="*/ 36 w 443"/>
                <a:gd name="T11" fmla="*/ 96 h 372"/>
                <a:gd name="T12" fmla="*/ 84 w 443"/>
                <a:gd name="T13" fmla="*/ 24 h 372"/>
                <a:gd name="T14" fmla="*/ 395 w 443"/>
                <a:gd name="T15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3" h="372">
                  <a:moveTo>
                    <a:pt x="395" y="0"/>
                  </a:moveTo>
                  <a:cubicBezTo>
                    <a:pt x="395" y="0"/>
                    <a:pt x="443" y="24"/>
                    <a:pt x="407" y="84"/>
                  </a:cubicBezTo>
                  <a:cubicBezTo>
                    <a:pt x="371" y="144"/>
                    <a:pt x="132" y="120"/>
                    <a:pt x="132" y="120"/>
                  </a:cubicBezTo>
                  <a:cubicBezTo>
                    <a:pt x="132" y="120"/>
                    <a:pt x="192" y="264"/>
                    <a:pt x="180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4" y="372"/>
                    <a:pt x="72" y="120"/>
                    <a:pt x="36" y="96"/>
                  </a:cubicBezTo>
                  <a:cubicBezTo>
                    <a:pt x="0" y="72"/>
                    <a:pt x="24" y="12"/>
                    <a:pt x="84" y="24"/>
                  </a:cubicBezTo>
                  <a:cubicBezTo>
                    <a:pt x="144" y="36"/>
                    <a:pt x="395" y="0"/>
                    <a:pt x="395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śḻîḋe">
              <a:extLst>
                <a:ext uri="{FF2B5EF4-FFF2-40B4-BE49-F238E27FC236}">
                  <a16:creationId xmlns:a16="http://schemas.microsoft.com/office/drawing/2014/main" id="{1DBD7B53-97E6-41BA-8F47-868FF0C67334}"/>
                </a:ext>
              </a:extLst>
            </p:cNvPr>
            <p:cNvSpPr/>
            <p:nvPr/>
          </p:nvSpPr>
          <p:spPr bwMode="auto">
            <a:xfrm>
              <a:off x="6327783" y="4608674"/>
              <a:ext cx="334056" cy="103427"/>
            </a:xfrm>
            <a:custGeom>
              <a:avLst/>
              <a:gdLst>
                <a:gd name="T0" fmla="*/ 192 w 192"/>
                <a:gd name="T1" fmla="*/ 0 h 60"/>
                <a:gd name="T2" fmla="*/ 0 w 192"/>
                <a:gd name="T3" fmla="*/ 24 h 60"/>
                <a:gd name="T4" fmla="*/ 24 w 192"/>
                <a:gd name="T5" fmla="*/ 60 h 60"/>
                <a:gd name="T6" fmla="*/ 192 w 192"/>
                <a:gd name="T7" fmla="*/ 60 h 60"/>
                <a:gd name="T8" fmla="*/ 192 w 192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60">
                  <a:moveTo>
                    <a:pt x="192" y="0"/>
                  </a:moveTo>
                  <a:cubicBezTo>
                    <a:pt x="192" y="0"/>
                    <a:pt x="0" y="0"/>
                    <a:pt x="0" y="24"/>
                  </a:cubicBezTo>
                  <a:cubicBezTo>
                    <a:pt x="0" y="48"/>
                    <a:pt x="24" y="60"/>
                    <a:pt x="24" y="60"/>
                  </a:cubicBezTo>
                  <a:cubicBezTo>
                    <a:pt x="192" y="60"/>
                    <a:pt x="192" y="60"/>
                    <a:pt x="192" y="60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ṧ1ïḑè">
              <a:extLst>
                <a:ext uri="{FF2B5EF4-FFF2-40B4-BE49-F238E27FC236}">
                  <a16:creationId xmlns:a16="http://schemas.microsoft.com/office/drawing/2014/main" id="{3640E887-4429-48FC-AA36-2CD40170474A}"/>
                </a:ext>
              </a:extLst>
            </p:cNvPr>
            <p:cNvSpPr/>
            <p:nvPr/>
          </p:nvSpPr>
          <p:spPr bwMode="auto">
            <a:xfrm>
              <a:off x="6546525" y="3403220"/>
              <a:ext cx="549230" cy="570628"/>
            </a:xfrm>
            <a:custGeom>
              <a:avLst/>
              <a:gdLst>
                <a:gd name="T0" fmla="*/ 108 w 316"/>
                <a:gd name="T1" fmla="*/ 0 h 329"/>
                <a:gd name="T2" fmla="*/ 138 w 316"/>
                <a:gd name="T3" fmla="*/ 0 h 329"/>
                <a:gd name="T4" fmla="*/ 166 w 316"/>
                <a:gd name="T5" fmla="*/ 37 h 329"/>
                <a:gd name="T6" fmla="*/ 222 w 316"/>
                <a:gd name="T7" fmla="*/ 183 h 329"/>
                <a:gd name="T8" fmla="*/ 300 w 316"/>
                <a:gd name="T9" fmla="*/ 297 h 329"/>
                <a:gd name="T10" fmla="*/ 18 w 316"/>
                <a:gd name="T11" fmla="*/ 328 h 329"/>
                <a:gd name="T12" fmla="*/ 30 w 316"/>
                <a:gd name="T13" fmla="*/ 223 h 329"/>
                <a:gd name="T14" fmla="*/ 31 w 316"/>
                <a:gd name="T15" fmla="*/ 68 h 329"/>
                <a:gd name="T16" fmla="*/ 108 w 316"/>
                <a:gd name="T1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29">
                  <a:moveTo>
                    <a:pt x="108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49" y="0"/>
                    <a:pt x="157" y="29"/>
                    <a:pt x="166" y="37"/>
                  </a:cubicBezTo>
                  <a:cubicBezTo>
                    <a:pt x="184" y="55"/>
                    <a:pt x="172" y="87"/>
                    <a:pt x="222" y="183"/>
                  </a:cubicBezTo>
                  <a:cubicBezTo>
                    <a:pt x="268" y="274"/>
                    <a:pt x="284" y="266"/>
                    <a:pt x="300" y="297"/>
                  </a:cubicBezTo>
                  <a:cubicBezTo>
                    <a:pt x="316" y="329"/>
                    <a:pt x="18" y="328"/>
                    <a:pt x="18" y="328"/>
                  </a:cubicBezTo>
                  <a:cubicBezTo>
                    <a:pt x="18" y="328"/>
                    <a:pt x="33" y="267"/>
                    <a:pt x="30" y="223"/>
                  </a:cubicBezTo>
                  <a:cubicBezTo>
                    <a:pt x="23" y="132"/>
                    <a:pt x="0" y="100"/>
                    <a:pt x="31" y="68"/>
                  </a:cubicBezTo>
                  <a:cubicBezTo>
                    <a:pt x="31" y="68"/>
                    <a:pt x="65" y="0"/>
                    <a:pt x="108" y="0"/>
                  </a:cubicBezTo>
                </a:path>
              </a:pathLst>
            </a:custGeom>
            <a:solidFill>
              <a:srgbClr val="FF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şḷîḓe">
              <a:extLst>
                <a:ext uri="{FF2B5EF4-FFF2-40B4-BE49-F238E27FC236}">
                  <a16:creationId xmlns:a16="http://schemas.microsoft.com/office/drawing/2014/main" id="{CFD30D46-129C-48B3-9DBD-C49E37553E26}"/>
                </a:ext>
              </a:extLst>
            </p:cNvPr>
            <p:cNvSpPr/>
            <p:nvPr/>
          </p:nvSpPr>
          <p:spPr bwMode="auto">
            <a:xfrm>
              <a:off x="6252887" y="3677836"/>
              <a:ext cx="112937" cy="170000"/>
            </a:xfrm>
            <a:custGeom>
              <a:avLst/>
              <a:gdLst>
                <a:gd name="T0" fmla="*/ 57 w 95"/>
                <a:gd name="T1" fmla="*/ 0 h 143"/>
                <a:gd name="T2" fmla="*/ 0 w 95"/>
                <a:gd name="T3" fmla="*/ 124 h 143"/>
                <a:gd name="T4" fmla="*/ 38 w 95"/>
                <a:gd name="T5" fmla="*/ 143 h 143"/>
                <a:gd name="T6" fmla="*/ 95 w 95"/>
                <a:gd name="T7" fmla="*/ 19 h 143"/>
                <a:gd name="T8" fmla="*/ 57 w 95"/>
                <a:gd name="T9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43">
                  <a:moveTo>
                    <a:pt x="57" y="0"/>
                  </a:moveTo>
                  <a:lnTo>
                    <a:pt x="0" y="124"/>
                  </a:lnTo>
                  <a:lnTo>
                    <a:pt x="38" y="143"/>
                  </a:lnTo>
                  <a:lnTo>
                    <a:pt x="95" y="19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ṥḷïďe">
              <a:extLst>
                <a:ext uri="{FF2B5EF4-FFF2-40B4-BE49-F238E27FC236}">
                  <a16:creationId xmlns:a16="http://schemas.microsoft.com/office/drawing/2014/main" id="{C9895484-6935-4DF8-B895-C7F8E49E5B74}"/>
                </a:ext>
              </a:extLst>
            </p:cNvPr>
            <p:cNvSpPr/>
            <p:nvPr/>
          </p:nvSpPr>
          <p:spPr bwMode="auto">
            <a:xfrm>
              <a:off x="6441910" y="3230844"/>
              <a:ext cx="168811" cy="172378"/>
            </a:xfrm>
            <a:custGeom>
              <a:avLst/>
              <a:gdLst>
                <a:gd name="T0" fmla="*/ 0 w 97"/>
                <a:gd name="T1" fmla="*/ 0 h 99"/>
                <a:gd name="T2" fmla="*/ 0 w 97"/>
                <a:gd name="T3" fmla="*/ 4 h 99"/>
                <a:gd name="T4" fmla="*/ 95 w 97"/>
                <a:gd name="T5" fmla="*/ 99 h 99"/>
                <a:gd name="T6" fmla="*/ 96 w 97"/>
                <a:gd name="T7" fmla="*/ 99 h 99"/>
                <a:gd name="T8" fmla="*/ 97 w 97"/>
                <a:gd name="T9" fmla="*/ 99 h 99"/>
                <a:gd name="T10" fmla="*/ 97 w 97"/>
                <a:gd name="T11" fmla="*/ 98 h 99"/>
                <a:gd name="T12" fmla="*/ 75 w 97"/>
                <a:gd name="T13" fmla="*/ 90 h 99"/>
                <a:gd name="T14" fmla="*/ 0 w 97"/>
                <a:gd name="T15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99">
                  <a:moveTo>
                    <a:pt x="0" y="0"/>
                  </a:moveTo>
                  <a:cubicBezTo>
                    <a:pt x="0" y="1"/>
                    <a:pt x="0" y="2"/>
                    <a:pt x="0" y="4"/>
                  </a:cubicBezTo>
                  <a:cubicBezTo>
                    <a:pt x="0" y="56"/>
                    <a:pt x="43" y="99"/>
                    <a:pt x="95" y="99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96" y="99"/>
                    <a:pt x="97" y="99"/>
                    <a:pt x="97" y="99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89" y="96"/>
                    <a:pt x="82" y="94"/>
                    <a:pt x="75" y="90"/>
                  </a:cubicBezTo>
                  <a:cubicBezTo>
                    <a:pt x="33" y="81"/>
                    <a:pt x="1" y="44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ṧlïďè">
              <a:extLst>
                <a:ext uri="{FF2B5EF4-FFF2-40B4-BE49-F238E27FC236}">
                  <a16:creationId xmlns:a16="http://schemas.microsoft.com/office/drawing/2014/main" id="{DA818537-C520-476D-8703-6F485507192E}"/>
                </a:ext>
              </a:extLst>
            </p:cNvPr>
            <p:cNvSpPr/>
            <p:nvPr/>
          </p:nvSpPr>
          <p:spPr bwMode="auto">
            <a:xfrm>
              <a:off x="6441910" y="3133361"/>
              <a:ext cx="130769" cy="254405"/>
            </a:xfrm>
            <a:custGeom>
              <a:avLst/>
              <a:gdLst>
                <a:gd name="T0" fmla="*/ 20 w 75"/>
                <a:gd name="T1" fmla="*/ 0 h 146"/>
                <a:gd name="T2" fmla="*/ 0 w 75"/>
                <a:gd name="T3" fmla="*/ 56 h 146"/>
                <a:gd name="T4" fmla="*/ 75 w 75"/>
                <a:gd name="T5" fmla="*/ 146 h 146"/>
                <a:gd name="T6" fmla="*/ 20 w 75"/>
                <a:gd name="T7" fmla="*/ 69 h 146"/>
                <a:gd name="T8" fmla="*/ 37 w 75"/>
                <a:gd name="T9" fmla="*/ 3 h 146"/>
                <a:gd name="T10" fmla="*/ 20 w 75"/>
                <a:gd name="T11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46">
                  <a:moveTo>
                    <a:pt x="20" y="0"/>
                  </a:moveTo>
                  <a:cubicBezTo>
                    <a:pt x="8" y="16"/>
                    <a:pt x="1" y="35"/>
                    <a:pt x="0" y="56"/>
                  </a:cubicBezTo>
                  <a:cubicBezTo>
                    <a:pt x="1" y="100"/>
                    <a:pt x="33" y="137"/>
                    <a:pt x="75" y="146"/>
                  </a:cubicBezTo>
                  <a:cubicBezTo>
                    <a:pt x="45" y="133"/>
                    <a:pt x="23" y="104"/>
                    <a:pt x="20" y="69"/>
                  </a:cubicBezTo>
                  <a:cubicBezTo>
                    <a:pt x="17" y="45"/>
                    <a:pt x="24" y="22"/>
                    <a:pt x="37" y="3"/>
                  </a:cubicBezTo>
                  <a:cubicBezTo>
                    <a:pt x="31" y="3"/>
                    <a:pt x="26" y="2"/>
                    <a:pt x="20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Sliḋê">
              <a:extLst>
                <a:ext uri="{FF2B5EF4-FFF2-40B4-BE49-F238E27FC236}">
                  <a16:creationId xmlns:a16="http://schemas.microsoft.com/office/drawing/2014/main" id="{D7E397AE-7BEC-44C5-B209-A2CC3F83ABD6}"/>
                </a:ext>
              </a:extLst>
            </p:cNvPr>
            <p:cNvSpPr/>
            <p:nvPr/>
          </p:nvSpPr>
          <p:spPr bwMode="auto">
            <a:xfrm>
              <a:off x="6610720" y="3400843"/>
              <a:ext cx="14266" cy="2378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0 w 8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1"/>
                    <a:pt x="8" y="1"/>
                  </a:cubicBezTo>
                  <a:cubicBezTo>
                    <a:pt x="5" y="1"/>
                    <a:pt x="3" y="0"/>
                    <a:pt x="0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ŝlídê">
              <a:extLst>
                <a:ext uri="{FF2B5EF4-FFF2-40B4-BE49-F238E27FC236}">
                  <a16:creationId xmlns:a16="http://schemas.microsoft.com/office/drawing/2014/main" id="{F1EFC3C5-9153-4EC6-8496-6A796E8A0159}"/>
                </a:ext>
              </a:extLst>
            </p:cNvPr>
            <p:cNvSpPr/>
            <p:nvPr/>
          </p:nvSpPr>
          <p:spPr bwMode="auto">
            <a:xfrm>
              <a:off x="6402678" y="2951473"/>
              <a:ext cx="569440" cy="411328"/>
            </a:xfrm>
            <a:custGeom>
              <a:avLst/>
              <a:gdLst>
                <a:gd name="T0" fmla="*/ 14 w 328"/>
                <a:gd name="T1" fmla="*/ 53 h 237"/>
                <a:gd name="T2" fmla="*/ 50 w 328"/>
                <a:gd name="T3" fmla="*/ 37 h 237"/>
                <a:gd name="T4" fmla="*/ 108 w 328"/>
                <a:gd name="T5" fmla="*/ 21 h 237"/>
                <a:gd name="T6" fmla="*/ 160 w 328"/>
                <a:gd name="T7" fmla="*/ 12 h 237"/>
                <a:gd name="T8" fmla="*/ 192 w 328"/>
                <a:gd name="T9" fmla="*/ 17 h 237"/>
                <a:gd name="T10" fmla="*/ 206 w 328"/>
                <a:gd name="T11" fmla="*/ 12 h 237"/>
                <a:gd name="T12" fmla="*/ 251 w 328"/>
                <a:gd name="T13" fmla="*/ 2 h 237"/>
                <a:gd name="T14" fmla="*/ 295 w 328"/>
                <a:gd name="T15" fmla="*/ 11 h 237"/>
                <a:gd name="T16" fmla="*/ 312 w 328"/>
                <a:gd name="T17" fmla="*/ 86 h 237"/>
                <a:gd name="T18" fmla="*/ 299 w 328"/>
                <a:gd name="T19" fmla="*/ 99 h 237"/>
                <a:gd name="T20" fmla="*/ 268 w 328"/>
                <a:gd name="T21" fmla="*/ 113 h 237"/>
                <a:gd name="T22" fmla="*/ 261 w 328"/>
                <a:gd name="T23" fmla="*/ 167 h 237"/>
                <a:gd name="T24" fmla="*/ 235 w 328"/>
                <a:gd name="T25" fmla="*/ 210 h 237"/>
                <a:gd name="T26" fmla="*/ 210 w 328"/>
                <a:gd name="T27" fmla="*/ 232 h 237"/>
                <a:gd name="T28" fmla="*/ 179 w 328"/>
                <a:gd name="T29" fmla="*/ 228 h 237"/>
                <a:gd name="T30" fmla="*/ 169 w 328"/>
                <a:gd name="T31" fmla="*/ 206 h 237"/>
                <a:gd name="T32" fmla="*/ 129 w 328"/>
                <a:gd name="T33" fmla="*/ 119 h 237"/>
                <a:gd name="T34" fmla="*/ 73 w 328"/>
                <a:gd name="T35" fmla="*/ 109 h 237"/>
                <a:gd name="T36" fmla="*/ 22 w 328"/>
                <a:gd name="T37" fmla="*/ 98 h 237"/>
                <a:gd name="T38" fmla="*/ 9 w 328"/>
                <a:gd name="T39" fmla="*/ 89 h 237"/>
                <a:gd name="T40" fmla="*/ 14 w 328"/>
                <a:gd name="T41" fmla="*/ 53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8" h="237">
                  <a:moveTo>
                    <a:pt x="14" y="53"/>
                  </a:moveTo>
                  <a:cubicBezTo>
                    <a:pt x="24" y="44"/>
                    <a:pt x="37" y="40"/>
                    <a:pt x="50" y="37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25" y="17"/>
                    <a:pt x="143" y="12"/>
                    <a:pt x="160" y="12"/>
                  </a:cubicBezTo>
                  <a:cubicBezTo>
                    <a:pt x="171" y="12"/>
                    <a:pt x="182" y="14"/>
                    <a:pt x="192" y="17"/>
                  </a:cubicBezTo>
                  <a:cubicBezTo>
                    <a:pt x="197" y="15"/>
                    <a:pt x="203" y="14"/>
                    <a:pt x="206" y="12"/>
                  </a:cubicBezTo>
                  <a:cubicBezTo>
                    <a:pt x="221" y="7"/>
                    <a:pt x="235" y="4"/>
                    <a:pt x="251" y="2"/>
                  </a:cubicBezTo>
                  <a:cubicBezTo>
                    <a:pt x="266" y="0"/>
                    <a:pt x="281" y="3"/>
                    <a:pt x="295" y="11"/>
                  </a:cubicBezTo>
                  <a:cubicBezTo>
                    <a:pt x="320" y="27"/>
                    <a:pt x="328" y="60"/>
                    <a:pt x="312" y="86"/>
                  </a:cubicBezTo>
                  <a:cubicBezTo>
                    <a:pt x="309" y="91"/>
                    <a:pt x="304" y="96"/>
                    <a:pt x="299" y="99"/>
                  </a:cubicBezTo>
                  <a:cubicBezTo>
                    <a:pt x="290" y="106"/>
                    <a:pt x="279" y="111"/>
                    <a:pt x="268" y="113"/>
                  </a:cubicBezTo>
                  <a:cubicBezTo>
                    <a:pt x="270" y="131"/>
                    <a:pt x="267" y="149"/>
                    <a:pt x="261" y="167"/>
                  </a:cubicBezTo>
                  <a:cubicBezTo>
                    <a:pt x="255" y="182"/>
                    <a:pt x="246" y="197"/>
                    <a:pt x="235" y="210"/>
                  </a:cubicBezTo>
                  <a:cubicBezTo>
                    <a:pt x="228" y="219"/>
                    <a:pt x="221" y="228"/>
                    <a:pt x="210" y="232"/>
                  </a:cubicBezTo>
                  <a:cubicBezTo>
                    <a:pt x="200" y="237"/>
                    <a:pt x="187" y="236"/>
                    <a:pt x="179" y="228"/>
                  </a:cubicBezTo>
                  <a:cubicBezTo>
                    <a:pt x="173" y="222"/>
                    <a:pt x="171" y="214"/>
                    <a:pt x="169" y="206"/>
                  </a:cubicBezTo>
                  <a:cubicBezTo>
                    <a:pt x="163" y="173"/>
                    <a:pt x="157" y="136"/>
                    <a:pt x="129" y="119"/>
                  </a:cubicBezTo>
                  <a:cubicBezTo>
                    <a:pt x="112" y="108"/>
                    <a:pt x="92" y="109"/>
                    <a:pt x="73" y="109"/>
                  </a:cubicBezTo>
                  <a:cubicBezTo>
                    <a:pt x="55" y="109"/>
                    <a:pt x="38" y="105"/>
                    <a:pt x="22" y="98"/>
                  </a:cubicBezTo>
                  <a:cubicBezTo>
                    <a:pt x="17" y="96"/>
                    <a:pt x="13" y="93"/>
                    <a:pt x="9" y="89"/>
                  </a:cubicBezTo>
                  <a:cubicBezTo>
                    <a:pt x="0" y="79"/>
                    <a:pt x="4" y="62"/>
                    <a:pt x="14" y="53"/>
                  </a:cubicBezTo>
                </a:path>
              </a:pathLst>
            </a:custGeom>
            <a:solidFill>
              <a:srgbClr val="FCCC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$ḷiḋé">
              <a:extLst>
                <a:ext uri="{FF2B5EF4-FFF2-40B4-BE49-F238E27FC236}">
                  <a16:creationId xmlns:a16="http://schemas.microsoft.com/office/drawing/2014/main" id="{F5E69C02-B700-42F8-B099-FA0BAEB5FBF9}"/>
                </a:ext>
              </a:extLst>
            </p:cNvPr>
            <p:cNvSpPr/>
            <p:nvPr/>
          </p:nvSpPr>
          <p:spPr bwMode="auto">
            <a:xfrm>
              <a:off x="6682049" y="2953852"/>
              <a:ext cx="278181" cy="103427"/>
            </a:xfrm>
            <a:custGeom>
              <a:avLst/>
              <a:gdLst>
                <a:gd name="T0" fmla="*/ 155 w 160"/>
                <a:gd name="T1" fmla="*/ 36 h 60"/>
                <a:gd name="T2" fmla="*/ 159 w 160"/>
                <a:gd name="T3" fmla="*/ 60 h 60"/>
                <a:gd name="T4" fmla="*/ 159 w 160"/>
                <a:gd name="T5" fmla="*/ 53 h 60"/>
                <a:gd name="T6" fmla="*/ 155 w 160"/>
                <a:gd name="T7" fmla="*/ 36 h 60"/>
                <a:gd name="T8" fmla="*/ 0 w 160"/>
                <a:gd name="T9" fmla="*/ 11 h 60"/>
                <a:gd name="T10" fmla="*/ 0 w 160"/>
                <a:gd name="T11" fmla="*/ 11 h 60"/>
                <a:gd name="T12" fmla="*/ 31 w 160"/>
                <a:gd name="T13" fmla="*/ 16 h 60"/>
                <a:gd name="T14" fmla="*/ 32 w 160"/>
                <a:gd name="T15" fmla="*/ 16 h 60"/>
                <a:gd name="T16" fmla="*/ 0 w 160"/>
                <a:gd name="T17" fmla="*/ 11 h 60"/>
                <a:gd name="T18" fmla="*/ 98 w 160"/>
                <a:gd name="T19" fmla="*/ 0 h 60"/>
                <a:gd name="T20" fmla="*/ 98 w 160"/>
                <a:gd name="T21" fmla="*/ 0 h 60"/>
                <a:gd name="T22" fmla="*/ 134 w 160"/>
                <a:gd name="T23" fmla="*/ 10 h 60"/>
                <a:gd name="T24" fmla="*/ 141 w 160"/>
                <a:gd name="T25" fmla="*/ 16 h 60"/>
                <a:gd name="T26" fmla="*/ 134 w 160"/>
                <a:gd name="T27" fmla="*/ 10 h 60"/>
                <a:gd name="T28" fmla="*/ 98 w 160"/>
                <a:gd name="T2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" h="60">
                  <a:moveTo>
                    <a:pt x="155" y="36"/>
                  </a:moveTo>
                  <a:cubicBezTo>
                    <a:pt x="158" y="44"/>
                    <a:pt x="160" y="52"/>
                    <a:pt x="159" y="60"/>
                  </a:cubicBezTo>
                  <a:cubicBezTo>
                    <a:pt x="159" y="58"/>
                    <a:pt x="159" y="55"/>
                    <a:pt x="159" y="53"/>
                  </a:cubicBezTo>
                  <a:cubicBezTo>
                    <a:pt x="159" y="47"/>
                    <a:pt x="157" y="41"/>
                    <a:pt x="155" y="36"/>
                  </a:cubicBezTo>
                  <a:moveTo>
                    <a:pt x="0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0" y="11"/>
                    <a:pt x="21" y="13"/>
                    <a:pt x="31" y="16"/>
                  </a:cubicBezTo>
                  <a:cubicBezTo>
                    <a:pt x="31" y="16"/>
                    <a:pt x="32" y="16"/>
                    <a:pt x="32" y="16"/>
                  </a:cubicBezTo>
                  <a:cubicBezTo>
                    <a:pt x="21" y="13"/>
                    <a:pt x="10" y="11"/>
                    <a:pt x="0" y="11"/>
                  </a:cubicBezTo>
                  <a:moveTo>
                    <a:pt x="98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110" y="0"/>
                    <a:pt x="123" y="4"/>
                    <a:pt x="134" y="10"/>
                  </a:cubicBezTo>
                  <a:cubicBezTo>
                    <a:pt x="137" y="12"/>
                    <a:pt x="139" y="14"/>
                    <a:pt x="141" y="16"/>
                  </a:cubicBezTo>
                  <a:cubicBezTo>
                    <a:pt x="139" y="14"/>
                    <a:pt x="137" y="12"/>
                    <a:pt x="134" y="10"/>
                  </a:cubicBezTo>
                  <a:cubicBezTo>
                    <a:pt x="123" y="4"/>
                    <a:pt x="110" y="0"/>
                    <a:pt x="9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ṡļîḑè">
              <a:extLst>
                <a:ext uri="{FF2B5EF4-FFF2-40B4-BE49-F238E27FC236}">
                  <a16:creationId xmlns:a16="http://schemas.microsoft.com/office/drawing/2014/main" id="{D4A9404A-0D88-4DF5-9440-804367D0DE23}"/>
                </a:ext>
              </a:extLst>
            </p:cNvPr>
            <p:cNvSpPr/>
            <p:nvPr/>
          </p:nvSpPr>
          <p:spPr bwMode="auto">
            <a:xfrm>
              <a:off x="6407434" y="2953852"/>
              <a:ext cx="552797" cy="140280"/>
            </a:xfrm>
            <a:custGeom>
              <a:avLst/>
              <a:gdLst>
                <a:gd name="T0" fmla="*/ 256 w 318"/>
                <a:gd name="T1" fmla="*/ 0 h 81"/>
                <a:gd name="T2" fmla="*/ 248 w 318"/>
                <a:gd name="T3" fmla="*/ 1 h 81"/>
                <a:gd name="T4" fmla="*/ 203 w 318"/>
                <a:gd name="T5" fmla="*/ 11 h 81"/>
                <a:gd name="T6" fmla="*/ 190 w 318"/>
                <a:gd name="T7" fmla="*/ 16 h 81"/>
                <a:gd name="T8" fmla="*/ 190 w 318"/>
                <a:gd name="T9" fmla="*/ 16 h 81"/>
                <a:gd name="T10" fmla="*/ 189 w 318"/>
                <a:gd name="T11" fmla="*/ 16 h 81"/>
                <a:gd name="T12" fmla="*/ 158 w 318"/>
                <a:gd name="T13" fmla="*/ 11 h 81"/>
                <a:gd name="T14" fmla="*/ 105 w 318"/>
                <a:gd name="T15" fmla="*/ 20 h 81"/>
                <a:gd name="T16" fmla="*/ 47 w 318"/>
                <a:gd name="T17" fmla="*/ 36 h 81"/>
                <a:gd name="T18" fmla="*/ 11 w 318"/>
                <a:gd name="T19" fmla="*/ 52 h 81"/>
                <a:gd name="T20" fmla="*/ 2 w 318"/>
                <a:gd name="T21" fmla="*/ 81 h 81"/>
                <a:gd name="T22" fmla="*/ 11 w 318"/>
                <a:gd name="T23" fmla="*/ 65 h 81"/>
                <a:gd name="T24" fmla="*/ 47 w 318"/>
                <a:gd name="T25" fmla="*/ 49 h 81"/>
                <a:gd name="T26" fmla="*/ 105 w 318"/>
                <a:gd name="T27" fmla="*/ 33 h 81"/>
                <a:gd name="T28" fmla="*/ 158 w 318"/>
                <a:gd name="T29" fmla="*/ 24 h 81"/>
                <a:gd name="T30" fmla="*/ 190 w 318"/>
                <a:gd name="T31" fmla="*/ 29 h 81"/>
                <a:gd name="T32" fmla="*/ 203 w 318"/>
                <a:gd name="T33" fmla="*/ 25 h 81"/>
                <a:gd name="T34" fmla="*/ 248 w 318"/>
                <a:gd name="T35" fmla="*/ 14 h 81"/>
                <a:gd name="T36" fmla="*/ 256 w 318"/>
                <a:gd name="T37" fmla="*/ 13 h 81"/>
                <a:gd name="T38" fmla="*/ 292 w 318"/>
                <a:gd name="T39" fmla="*/ 23 h 81"/>
                <a:gd name="T40" fmla="*/ 317 w 318"/>
                <a:gd name="T41" fmla="*/ 62 h 81"/>
                <a:gd name="T42" fmla="*/ 317 w 318"/>
                <a:gd name="T43" fmla="*/ 60 h 81"/>
                <a:gd name="T44" fmla="*/ 313 w 318"/>
                <a:gd name="T45" fmla="*/ 36 h 81"/>
                <a:gd name="T46" fmla="*/ 299 w 318"/>
                <a:gd name="T47" fmla="*/ 16 h 81"/>
                <a:gd name="T48" fmla="*/ 292 w 318"/>
                <a:gd name="T49" fmla="*/ 10 h 81"/>
                <a:gd name="T50" fmla="*/ 256 w 318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8" h="81">
                  <a:moveTo>
                    <a:pt x="256" y="0"/>
                  </a:moveTo>
                  <a:cubicBezTo>
                    <a:pt x="253" y="0"/>
                    <a:pt x="250" y="0"/>
                    <a:pt x="248" y="1"/>
                  </a:cubicBezTo>
                  <a:cubicBezTo>
                    <a:pt x="233" y="3"/>
                    <a:pt x="218" y="6"/>
                    <a:pt x="203" y="11"/>
                  </a:cubicBezTo>
                  <a:cubicBezTo>
                    <a:pt x="200" y="13"/>
                    <a:pt x="194" y="14"/>
                    <a:pt x="190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89" y="16"/>
                    <a:pt x="189" y="16"/>
                  </a:cubicBezTo>
                  <a:cubicBezTo>
                    <a:pt x="179" y="13"/>
                    <a:pt x="168" y="11"/>
                    <a:pt x="158" y="11"/>
                  </a:cubicBezTo>
                  <a:cubicBezTo>
                    <a:pt x="140" y="11"/>
                    <a:pt x="122" y="16"/>
                    <a:pt x="105" y="20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34" y="39"/>
                    <a:pt x="21" y="43"/>
                    <a:pt x="11" y="52"/>
                  </a:cubicBezTo>
                  <a:cubicBezTo>
                    <a:pt x="3" y="60"/>
                    <a:pt x="0" y="70"/>
                    <a:pt x="2" y="81"/>
                  </a:cubicBezTo>
                  <a:cubicBezTo>
                    <a:pt x="4" y="75"/>
                    <a:pt x="7" y="70"/>
                    <a:pt x="11" y="65"/>
                  </a:cubicBezTo>
                  <a:cubicBezTo>
                    <a:pt x="21" y="56"/>
                    <a:pt x="34" y="52"/>
                    <a:pt x="47" y="49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22" y="29"/>
                    <a:pt x="140" y="24"/>
                    <a:pt x="158" y="24"/>
                  </a:cubicBezTo>
                  <a:cubicBezTo>
                    <a:pt x="168" y="24"/>
                    <a:pt x="179" y="26"/>
                    <a:pt x="190" y="29"/>
                  </a:cubicBezTo>
                  <a:cubicBezTo>
                    <a:pt x="194" y="27"/>
                    <a:pt x="200" y="26"/>
                    <a:pt x="203" y="25"/>
                  </a:cubicBezTo>
                  <a:cubicBezTo>
                    <a:pt x="218" y="19"/>
                    <a:pt x="233" y="16"/>
                    <a:pt x="248" y="14"/>
                  </a:cubicBezTo>
                  <a:cubicBezTo>
                    <a:pt x="250" y="14"/>
                    <a:pt x="253" y="13"/>
                    <a:pt x="256" y="13"/>
                  </a:cubicBezTo>
                  <a:cubicBezTo>
                    <a:pt x="268" y="13"/>
                    <a:pt x="281" y="17"/>
                    <a:pt x="292" y="23"/>
                  </a:cubicBezTo>
                  <a:cubicBezTo>
                    <a:pt x="305" y="32"/>
                    <a:pt x="315" y="46"/>
                    <a:pt x="317" y="62"/>
                  </a:cubicBezTo>
                  <a:cubicBezTo>
                    <a:pt x="317" y="62"/>
                    <a:pt x="317" y="61"/>
                    <a:pt x="317" y="60"/>
                  </a:cubicBezTo>
                  <a:cubicBezTo>
                    <a:pt x="318" y="52"/>
                    <a:pt x="316" y="44"/>
                    <a:pt x="313" y="36"/>
                  </a:cubicBezTo>
                  <a:cubicBezTo>
                    <a:pt x="310" y="28"/>
                    <a:pt x="306" y="21"/>
                    <a:pt x="299" y="16"/>
                  </a:cubicBezTo>
                  <a:cubicBezTo>
                    <a:pt x="297" y="14"/>
                    <a:pt x="295" y="12"/>
                    <a:pt x="292" y="10"/>
                  </a:cubicBezTo>
                  <a:cubicBezTo>
                    <a:pt x="281" y="4"/>
                    <a:pt x="268" y="0"/>
                    <a:pt x="256" y="0"/>
                  </a:cubicBezTo>
                </a:path>
              </a:pathLst>
            </a:custGeom>
            <a:solidFill>
              <a:srgbClr val="FDD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şľîḓè">
              <a:extLst>
                <a:ext uri="{FF2B5EF4-FFF2-40B4-BE49-F238E27FC236}">
                  <a16:creationId xmlns:a16="http://schemas.microsoft.com/office/drawing/2014/main" id="{219D026B-256C-48CE-A514-53A56B7B9CDE}"/>
                </a:ext>
              </a:extLst>
            </p:cNvPr>
            <p:cNvSpPr/>
            <p:nvPr/>
          </p:nvSpPr>
          <p:spPr bwMode="auto">
            <a:xfrm>
              <a:off x="6868691" y="3170214"/>
              <a:ext cx="0" cy="8322"/>
            </a:xfrm>
            <a:custGeom>
              <a:avLst/>
              <a:gdLst>
                <a:gd name="T0" fmla="*/ 0 h 5"/>
                <a:gd name="T1" fmla="*/ 0 h 5"/>
                <a:gd name="T2" fmla="*/ 2 h 5"/>
                <a:gd name="T3" fmla="*/ 5 h 5"/>
                <a:gd name="T4" fmla="*/ 0 h 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3"/>
                    <a:pt x="0" y="2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$ḻîḍé">
              <a:extLst>
                <a:ext uri="{FF2B5EF4-FFF2-40B4-BE49-F238E27FC236}">
                  <a16:creationId xmlns:a16="http://schemas.microsoft.com/office/drawing/2014/main" id="{6EC836AB-0D33-4B9F-A142-85AD97CC9566}"/>
                </a:ext>
              </a:extLst>
            </p:cNvPr>
            <p:cNvSpPr/>
            <p:nvPr/>
          </p:nvSpPr>
          <p:spPr bwMode="auto">
            <a:xfrm>
              <a:off x="6868691" y="3170214"/>
              <a:ext cx="0" cy="3567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FDD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şḷïḍe">
              <a:extLst>
                <a:ext uri="{FF2B5EF4-FFF2-40B4-BE49-F238E27FC236}">
                  <a16:creationId xmlns:a16="http://schemas.microsoft.com/office/drawing/2014/main" id="{F582A103-E378-4126-830D-3BDABAF5FD4A}"/>
                </a:ext>
              </a:extLst>
            </p:cNvPr>
            <p:cNvSpPr/>
            <p:nvPr/>
          </p:nvSpPr>
          <p:spPr bwMode="auto">
            <a:xfrm>
              <a:off x="6572678" y="3591052"/>
              <a:ext cx="17832" cy="126014"/>
            </a:xfrm>
            <a:custGeom>
              <a:avLst/>
              <a:gdLst>
                <a:gd name="T0" fmla="*/ 0 w 10"/>
                <a:gd name="T1" fmla="*/ 0 h 73"/>
                <a:gd name="T2" fmla="*/ 10 w 10"/>
                <a:gd name="T3" fmla="*/ 73 h 73"/>
                <a:gd name="T4" fmla="*/ 10 w 10"/>
                <a:gd name="T5" fmla="*/ 73 h 73"/>
                <a:gd name="T6" fmla="*/ 0 w 10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3">
                  <a:moveTo>
                    <a:pt x="0" y="0"/>
                  </a:moveTo>
                  <a:cubicBezTo>
                    <a:pt x="0" y="18"/>
                    <a:pt x="6" y="41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6" y="41"/>
                    <a:pt x="0" y="18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Sľïďé">
              <a:extLst>
                <a:ext uri="{FF2B5EF4-FFF2-40B4-BE49-F238E27FC236}">
                  <a16:creationId xmlns:a16="http://schemas.microsoft.com/office/drawing/2014/main" id="{27955438-150D-46F2-AF80-338AC84CB1C6}"/>
                </a:ext>
              </a:extLst>
            </p:cNvPr>
            <p:cNvSpPr/>
            <p:nvPr/>
          </p:nvSpPr>
          <p:spPr bwMode="auto">
            <a:xfrm>
              <a:off x="6590510" y="3717066"/>
              <a:ext cx="8322" cy="99860"/>
            </a:xfrm>
            <a:custGeom>
              <a:avLst/>
              <a:gdLst>
                <a:gd name="T0" fmla="*/ 0 w 5"/>
                <a:gd name="T1" fmla="*/ 0 h 57"/>
                <a:gd name="T2" fmla="*/ 5 w 5"/>
                <a:gd name="T3" fmla="*/ 43 h 57"/>
                <a:gd name="T4" fmla="*/ 5 w 5"/>
                <a:gd name="T5" fmla="*/ 57 h 57"/>
                <a:gd name="T6" fmla="*/ 5 w 5"/>
                <a:gd name="T7" fmla="*/ 42 h 57"/>
                <a:gd name="T8" fmla="*/ 0 w 5"/>
                <a:gd name="T9" fmla="*/ 0 h 57"/>
                <a:gd name="T10" fmla="*/ 0 w 5"/>
                <a:gd name="T1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7">
                  <a:moveTo>
                    <a:pt x="0" y="0"/>
                  </a:moveTo>
                  <a:cubicBezTo>
                    <a:pt x="2" y="13"/>
                    <a:pt x="4" y="27"/>
                    <a:pt x="5" y="43"/>
                  </a:cubicBezTo>
                  <a:cubicBezTo>
                    <a:pt x="5" y="47"/>
                    <a:pt x="5" y="52"/>
                    <a:pt x="5" y="57"/>
                  </a:cubicBezTo>
                  <a:cubicBezTo>
                    <a:pt x="5" y="52"/>
                    <a:pt x="5" y="47"/>
                    <a:pt x="5" y="42"/>
                  </a:cubicBezTo>
                  <a:cubicBezTo>
                    <a:pt x="4" y="26"/>
                    <a:pt x="2" y="1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ṧļïḍè">
              <a:extLst>
                <a:ext uri="{FF2B5EF4-FFF2-40B4-BE49-F238E27FC236}">
                  <a16:creationId xmlns:a16="http://schemas.microsoft.com/office/drawing/2014/main" id="{69330838-86BB-4A02-B2D7-149CE48A6973}"/>
                </a:ext>
              </a:extLst>
            </p:cNvPr>
            <p:cNvSpPr/>
            <p:nvPr/>
          </p:nvSpPr>
          <p:spPr bwMode="auto">
            <a:xfrm>
              <a:off x="6572678" y="3404410"/>
              <a:ext cx="229440" cy="460069"/>
            </a:xfrm>
            <a:custGeom>
              <a:avLst/>
              <a:gdLst>
                <a:gd name="T0" fmla="*/ 123 w 132"/>
                <a:gd name="T1" fmla="*/ 0 h 265"/>
                <a:gd name="T2" fmla="*/ 93 w 132"/>
                <a:gd name="T3" fmla="*/ 0 h 265"/>
                <a:gd name="T4" fmla="*/ 16 w 132"/>
                <a:gd name="T5" fmla="*/ 69 h 265"/>
                <a:gd name="T6" fmla="*/ 0 w 132"/>
                <a:gd name="T7" fmla="*/ 107 h 265"/>
                <a:gd name="T8" fmla="*/ 10 w 132"/>
                <a:gd name="T9" fmla="*/ 180 h 265"/>
                <a:gd name="T10" fmla="*/ 15 w 132"/>
                <a:gd name="T11" fmla="*/ 222 h 265"/>
                <a:gd name="T12" fmla="*/ 15 w 132"/>
                <a:gd name="T13" fmla="*/ 237 h 265"/>
                <a:gd name="T14" fmla="*/ 14 w 132"/>
                <a:gd name="T15" fmla="*/ 265 h 265"/>
                <a:gd name="T16" fmla="*/ 35 w 132"/>
                <a:gd name="T17" fmla="*/ 231 h 265"/>
                <a:gd name="T18" fmla="*/ 34 w 132"/>
                <a:gd name="T19" fmla="*/ 230 h 265"/>
                <a:gd name="T20" fmla="*/ 26 w 132"/>
                <a:gd name="T21" fmla="*/ 164 h 265"/>
                <a:gd name="T22" fmla="*/ 25 w 132"/>
                <a:gd name="T23" fmla="*/ 164 h 265"/>
                <a:gd name="T24" fmla="*/ 25 w 132"/>
                <a:gd name="T25" fmla="*/ 156 h 265"/>
                <a:gd name="T26" fmla="*/ 36 w 132"/>
                <a:gd name="T27" fmla="*/ 75 h 265"/>
                <a:gd name="T28" fmla="*/ 113 w 132"/>
                <a:gd name="T29" fmla="*/ 7 h 265"/>
                <a:gd name="T30" fmla="*/ 132 w 132"/>
                <a:gd name="T31" fmla="*/ 7 h 265"/>
                <a:gd name="T32" fmla="*/ 123 w 132"/>
                <a:gd name="T3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265">
                  <a:moveTo>
                    <a:pt x="123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50" y="0"/>
                    <a:pt x="16" y="69"/>
                    <a:pt x="16" y="69"/>
                  </a:cubicBezTo>
                  <a:cubicBezTo>
                    <a:pt x="4" y="81"/>
                    <a:pt x="0" y="92"/>
                    <a:pt x="0" y="107"/>
                  </a:cubicBezTo>
                  <a:cubicBezTo>
                    <a:pt x="0" y="125"/>
                    <a:pt x="6" y="148"/>
                    <a:pt x="10" y="180"/>
                  </a:cubicBezTo>
                  <a:cubicBezTo>
                    <a:pt x="12" y="193"/>
                    <a:pt x="14" y="206"/>
                    <a:pt x="15" y="222"/>
                  </a:cubicBezTo>
                  <a:cubicBezTo>
                    <a:pt x="15" y="227"/>
                    <a:pt x="15" y="232"/>
                    <a:pt x="15" y="237"/>
                  </a:cubicBezTo>
                  <a:cubicBezTo>
                    <a:pt x="15" y="246"/>
                    <a:pt x="15" y="256"/>
                    <a:pt x="14" y="265"/>
                  </a:cubicBezTo>
                  <a:cubicBezTo>
                    <a:pt x="23" y="255"/>
                    <a:pt x="30" y="244"/>
                    <a:pt x="35" y="231"/>
                  </a:cubicBezTo>
                  <a:cubicBezTo>
                    <a:pt x="35" y="230"/>
                    <a:pt x="35" y="230"/>
                    <a:pt x="34" y="230"/>
                  </a:cubicBezTo>
                  <a:cubicBezTo>
                    <a:pt x="33" y="203"/>
                    <a:pt x="29" y="182"/>
                    <a:pt x="26" y="164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18" y="117"/>
                    <a:pt x="15" y="96"/>
                    <a:pt x="36" y="75"/>
                  </a:cubicBezTo>
                  <a:cubicBezTo>
                    <a:pt x="36" y="75"/>
                    <a:pt x="70" y="7"/>
                    <a:pt x="113" y="7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130" y="3"/>
                    <a:pt x="127" y="1"/>
                    <a:pt x="123" y="0"/>
                  </a:cubicBezTo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šľïdè">
              <a:extLst>
                <a:ext uri="{FF2B5EF4-FFF2-40B4-BE49-F238E27FC236}">
                  <a16:creationId xmlns:a16="http://schemas.microsoft.com/office/drawing/2014/main" id="{7460E637-985F-40D0-842F-E8323F28B89B}"/>
                </a:ext>
              </a:extLst>
            </p:cNvPr>
            <p:cNvSpPr/>
            <p:nvPr/>
          </p:nvSpPr>
          <p:spPr bwMode="auto">
            <a:xfrm>
              <a:off x="6616663" y="3564899"/>
              <a:ext cx="181888" cy="124825"/>
            </a:xfrm>
            <a:prstGeom prst="rect">
              <a:avLst/>
            </a:prstGeom>
            <a:solidFill>
              <a:srgbClr val="FF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ṩḻîḓê">
              <a:extLst>
                <a:ext uri="{FF2B5EF4-FFF2-40B4-BE49-F238E27FC236}">
                  <a16:creationId xmlns:a16="http://schemas.microsoft.com/office/drawing/2014/main" id="{D91F3B43-6AC5-46FA-8E5D-E33D87301C90}"/>
                </a:ext>
              </a:extLst>
            </p:cNvPr>
            <p:cNvSpPr/>
            <p:nvPr/>
          </p:nvSpPr>
          <p:spPr bwMode="auto">
            <a:xfrm>
              <a:off x="6616663" y="3564899"/>
              <a:ext cx="181888" cy="12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ṩḷídè">
              <a:extLst>
                <a:ext uri="{FF2B5EF4-FFF2-40B4-BE49-F238E27FC236}">
                  <a16:creationId xmlns:a16="http://schemas.microsoft.com/office/drawing/2014/main" id="{DFA83931-0965-4935-8C5F-80763DC87FE2}"/>
                </a:ext>
              </a:extLst>
            </p:cNvPr>
            <p:cNvSpPr/>
            <p:nvPr/>
          </p:nvSpPr>
          <p:spPr bwMode="auto">
            <a:xfrm>
              <a:off x="6730790" y="3919164"/>
              <a:ext cx="290069" cy="35664"/>
            </a:xfrm>
            <a:custGeom>
              <a:avLst/>
              <a:gdLst>
                <a:gd name="T0" fmla="*/ 163 w 167"/>
                <a:gd name="T1" fmla="*/ 0 h 21"/>
                <a:gd name="T2" fmla="*/ 3 w 167"/>
                <a:gd name="T3" fmla="*/ 19 h 21"/>
                <a:gd name="T4" fmla="*/ 0 w 167"/>
                <a:gd name="T5" fmla="*/ 21 h 21"/>
                <a:gd name="T6" fmla="*/ 167 w 167"/>
                <a:gd name="T7" fmla="*/ 2 h 21"/>
                <a:gd name="T8" fmla="*/ 163 w 16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21">
                  <a:moveTo>
                    <a:pt x="163" y="0"/>
                  </a:moveTo>
                  <a:cubicBezTo>
                    <a:pt x="163" y="0"/>
                    <a:pt x="83" y="12"/>
                    <a:pt x="3" y="19"/>
                  </a:cubicBezTo>
                  <a:cubicBezTo>
                    <a:pt x="2" y="20"/>
                    <a:pt x="1" y="21"/>
                    <a:pt x="0" y="21"/>
                  </a:cubicBezTo>
                  <a:cubicBezTo>
                    <a:pt x="66" y="16"/>
                    <a:pt x="136" y="7"/>
                    <a:pt x="167" y="2"/>
                  </a:cubicBezTo>
                  <a:cubicBezTo>
                    <a:pt x="166" y="2"/>
                    <a:pt x="164" y="1"/>
                    <a:pt x="163" y="0"/>
                  </a:cubicBezTo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ṥḻîḑé">
              <a:extLst>
                <a:ext uri="{FF2B5EF4-FFF2-40B4-BE49-F238E27FC236}">
                  <a16:creationId xmlns:a16="http://schemas.microsoft.com/office/drawing/2014/main" id="{26715A36-5019-46C5-897A-54FCBD447FF2}"/>
                </a:ext>
              </a:extLst>
            </p:cNvPr>
            <p:cNvSpPr/>
            <p:nvPr/>
          </p:nvSpPr>
          <p:spPr bwMode="auto">
            <a:xfrm>
              <a:off x="6361070" y="4032101"/>
              <a:ext cx="147412" cy="531398"/>
            </a:xfrm>
            <a:custGeom>
              <a:avLst/>
              <a:gdLst>
                <a:gd name="T0" fmla="*/ 0 w 85"/>
                <a:gd name="T1" fmla="*/ 0 h 306"/>
                <a:gd name="T2" fmla="*/ 17 w 85"/>
                <a:gd name="T3" fmla="*/ 31 h 306"/>
                <a:gd name="T4" fmla="*/ 65 w 85"/>
                <a:gd name="T5" fmla="*/ 306 h 306"/>
                <a:gd name="T6" fmla="*/ 85 w 85"/>
                <a:gd name="T7" fmla="*/ 306 h 306"/>
                <a:gd name="T8" fmla="*/ 37 w 85"/>
                <a:gd name="T9" fmla="*/ 31 h 306"/>
                <a:gd name="T10" fmla="*/ 20 w 85"/>
                <a:gd name="T11" fmla="*/ 1 h 306"/>
                <a:gd name="T12" fmla="*/ 10 w 85"/>
                <a:gd name="T13" fmla="*/ 3 h 306"/>
                <a:gd name="T14" fmla="*/ 0 w 85"/>
                <a:gd name="T15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06">
                  <a:moveTo>
                    <a:pt x="0" y="0"/>
                  </a:moveTo>
                  <a:cubicBezTo>
                    <a:pt x="0" y="12"/>
                    <a:pt x="5" y="23"/>
                    <a:pt x="17" y="31"/>
                  </a:cubicBezTo>
                  <a:cubicBezTo>
                    <a:pt x="53" y="55"/>
                    <a:pt x="65" y="306"/>
                    <a:pt x="65" y="306"/>
                  </a:cubicBezTo>
                  <a:cubicBezTo>
                    <a:pt x="85" y="306"/>
                    <a:pt x="85" y="306"/>
                    <a:pt x="85" y="306"/>
                  </a:cubicBezTo>
                  <a:cubicBezTo>
                    <a:pt x="85" y="306"/>
                    <a:pt x="73" y="55"/>
                    <a:pt x="37" y="31"/>
                  </a:cubicBezTo>
                  <a:cubicBezTo>
                    <a:pt x="25" y="23"/>
                    <a:pt x="20" y="12"/>
                    <a:pt x="20" y="1"/>
                  </a:cubicBezTo>
                  <a:cubicBezTo>
                    <a:pt x="17" y="2"/>
                    <a:pt x="13" y="3"/>
                    <a:pt x="10" y="3"/>
                  </a:cubicBezTo>
                  <a:cubicBezTo>
                    <a:pt x="7" y="3"/>
                    <a:pt x="3" y="2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s1îḋê">
              <a:extLst>
                <a:ext uri="{FF2B5EF4-FFF2-40B4-BE49-F238E27FC236}">
                  <a16:creationId xmlns:a16="http://schemas.microsoft.com/office/drawing/2014/main" id="{88BEB59D-7A8E-489F-91FF-B8BF6223DDFB}"/>
                </a:ext>
              </a:extLst>
            </p:cNvPr>
            <p:cNvSpPr/>
            <p:nvPr/>
          </p:nvSpPr>
          <p:spPr bwMode="auto">
            <a:xfrm>
              <a:off x="6590510" y="4127206"/>
              <a:ext cx="162867" cy="8322"/>
            </a:xfrm>
            <a:custGeom>
              <a:avLst/>
              <a:gdLst>
                <a:gd name="T0" fmla="*/ 0 w 94"/>
                <a:gd name="T1" fmla="*/ 0 h 5"/>
                <a:gd name="T2" fmla="*/ 1 w 94"/>
                <a:gd name="T3" fmla="*/ 2 h 5"/>
                <a:gd name="T4" fmla="*/ 84 w 94"/>
                <a:gd name="T5" fmla="*/ 5 h 5"/>
                <a:gd name="T6" fmla="*/ 94 w 94"/>
                <a:gd name="T7" fmla="*/ 5 h 5"/>
                <a:gd name="T8" fmla="*/ 0 w 9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5">
                  <a:moveTo>
                    <a:pt x="0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20" y="3"/>
                    <a:pt x="50" y="5"/>
                    <a:pt x="84" y="5"/>
                  </a:cubicBezTo>
                  <a:cubicBezTo>
                    <a:pt x="87" y="5"/>
                    <a:pt x="91" y="5"/>
                    <a:pt x="94" y="5"/>
                  </a:cubicBezTo>
                  <a:cubicBezTo>
                    <a:pt x="42" y="4"/>
                    <a:pt x="0" y="0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ḷíḓé">
              <a:extLst>
                <a:ext uri="{FF2B5EF4-FFF2-40B4-BE49-F238E27FC236}">
                  <a16:creationId xmlns:a16="http://schemas.microsoft.com/office/drawing/2014/main" id="{AAB2AEBF-7762-4C0F-AE83-DCF60D99FE0E}"/>
                </a:ext>
              </a:extLst>
            </p:cNvPr>
            <p:cNvSpPr/>
            <p:nvPr/>
          </p:nvSpPr>
          <p:spPr bwMode="auto">
            <a:xfrm>
              <a:off x="6345614" y="3652871"/>
              <a:ext cx="441049" cy="388741"/>
            </a:xfrm>
            <a:custGeom>
              <a:avLst/>
              <a:gdLst>
                <a:gd name="T0" fmla="*/ 253 w 254"/>
                <a:gd name="T1" fmla="*/ 0 h 224"/>
                <a:gd name="T2" fmla="*/ 253 w 254"/>
                <a:gd name="T3" fmla="*/ 114 h 224"/>
                <a:gd name="T4" fmla="*/ 180 w 254"/>
                <a:gd name="T5" fmla="*/ 187 h 224"/>
                <a:gd name="T6" fmla="*/ 177 w 254"/>
                <a:gd name="T7" fmla="*/ 187 h 224"/>
                <a:gd name="T8" fmla="*/ 62 w 254"/>
                <a:gd name="T9" fmla="*/ 191 h 224"/>
                <a:gd name="T10" fmla="*/ 30 w 254"/>
                <a:gd name="T11" fmla="*/ 217 h 224"/>
                <a:gd name="T12" fmla="*/ 4 w 254"/>
                <a:gd name="T13" fmla="*/ 214 h 224"/>
                <a:gd name="T14" fmla="*/ 1 w 254"/>
                <a:gd name="T15" fmla="*/ 201 h 224"/>
                <a:gd name="T16" fmla="*/ 26 w 254"/>
                <a:gd name="T17" fmla="*/ 155 h 224"/>
                <a:gd name="T18" fmla="*/ 91 w 254"/>
                <a:gd name="T19" fmla="*/ 146 h 224"/>
                <a:gd name="T20" fmla="*/ 170 w 254"/>
                <a:gd name="T21" fmla="*/ 62 h 224"/>
                <a:gd name="T22" fmla="*/ 170 w 254"/>
                <a:gd name="T23" fmla="*/ 0 h 224"/>
                <a:gd name="T24" fmla="*/ 253 w 254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4" h="224">
                  <a:moveTo>
                    <a:pt x="253" y="0"/>
                  </a:moveTo>
                  <a:cubicBezTo>
                    <a:pt x="253" y="114"/>
                    <a:pt x="253" y="114"/>
                    <a:pt x="253" y="114"/>
                  </a:cubicBezTo>
                  <a:cubicBezTo>
                    <a:pt x="254" y="155"/>
                    <a:pt x="221" y="187"/>
                    <a:pt x="180" y="187"/>
                  </a:cubicBezTo>
                  <a:cubicBezTo>
                    <a:pt x="179" y="187"/>
                    <a:pt x="178" y="187"/>
                    <a:pt x="177" y="187"/>
                  </a:cubicBezTo>
                  <a:cubicBezTo>
                    <a:pt x="127" y="185"/>
                    <a:pt x="69" y="185"/>
                    <a:pt x="62" y="191"/>
                  </a:cubicBezTo>
                  <a:cubicBezTo>
                    <a:pt x="56" y="197"/>
                    <a:pt x="43" y="208"/>
                    <a:pt x="30" y="217"/>
                  </a:cubicBezTo>
                  <a:cubicBezTo>
                    <a:pt x="22" y="224"/>
                    <a:pt x="11" y="222"/>
                    <a:pt x="4" y="214"/>
                  </a:cubicBezTo>
                  <a:cubicBezTo>
                    <a:pt x="1" y="210"/>
                    <a:pt x="0" y="206"/>
                    <a:pt x="1" y="201"/>
                  </a:cubicBezTo>
                  <a:cubicBezTo>
                    <a:pt x="2" y="182"/>
                    <a:pt x="8" y="161"/>
                    <a:pt x="26" y="155"/>
                  </a:cubicBezTo>
                  <a:cubicBezTo>
                    <a:pt x="40" y="151"/>
                    <a:pt x="66" y="148"/>
                    <a:pt x="91" y="146"/>
                  </a:cubicBezTo>
                  <a:cubicBezTo>
                    <a:pt x="135" y="143"/>
                    <a:pt x="170" y="106"/>
                    <a:pt x="170" y="62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sḻíḑê">
              <a:extLst>
                <a:ext uri="{FF2B5EF4-FFF2-40B4-BE49-F238E27FC236}">
                  <a16:creationId xmlns:a16="http://schemas.microsoft.com/office/drawing/2014/main" id="{158BA9EF-4842-4DD1-899C-9419D9D4A22C}"/>
                </a:ext>
              </a:extLst>
            </p:cNvPr>
            <p:cNvSpPr/>
            <p:nvPr/>
          </p:nvSpPr>
          <p:spPr bwMode="auto">
            <a:xfrm>
              <a:off x="6640439" y="3652871"/>
              <a:ext cx="146224" cy="10700"/>
            </a:xfrm>
            <a:custGeom>
              <a:avLst/>
              <a:gdLst>
                <a:gd name="T0" fmla="*/ 123 w 123"/>
                <a:gd name="T1" fmla="*/ 0 h 9"/>
                <a:gd name="T2" fmla="*/ 0 w 123"/>
                <a:gd name="T3" fmla="*/ 0 h 9"/>
                <a:gd name="T4" fmla="*/ 121 w 123"/>
                <a:gd name="T5" fmla="*/ 0 h 9"/>
                <a:gd name="T6" fmla="*/ 121 w 123"/>
                <a:gd name="T7" fmla="*/ 9 h 9"/>
                <a:gd name="T8" fmla="*/ 123 w 123"/>
                <a:gd name="T9" fmla="*/ 9 h 9"/>
                <a:gd name="T10" fmla="*/ 123 w 12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">
                  <a:moveTo>
                    <a:pt x="123" y="0"/>
                  </a:moveTo>
                  <a:lnTo>
                    <a:pt x="0" y="0"/>
                  </a:lnTo>
                  <a:lnTo>
                    <a:pt x="121" y="0"/>
                  </a:lnTo>
                  <a:lnTo>
                    <a:pt x="121" y="9"/>
                  </a:lnTo>
                  <a:lnTo>
                    <a:pt x="123" y="9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$líďè">
              <a:extLst>
                <a:ext uri="{FF2B5EF4-FFF2-40B4-BE49-F238E27FC236}">
                  <a16:creationId xmlns:a16="http://schemas.microsoft.com/office/drawing/2014/main" id="{A9B4621C-2C53-4232-8CA9-F384772B1268}"/>
                </a:ext>
              </a:extLst>
            </p:cNvPr>
            <p:cNvSpPr/>
            <p:nvPr/>
          </p:nvSpPr>
          <p:spPr bwMode="auto">
            <a:xfrm>
              <a:off x="6640439" y="3652871"/>
              <a:ext cx="146224" cy="10700"/>
            </a:xfrm>
            <a:custGeom>
              <a:avLst/>
              <a:gdLst>
                <a:gd name="T0" fmla="*/ 123 w 123"/>
                <a:gd name="T1" fmla="*/ 0 h 9"/>
                <a:gd name="T2" fmla="*/ 0 w 123"/>
                <a:gd name="T3" fmla="*/ 0 h 9"/>
                <a:gd name="T4" fmla="*/ 121 w 123"/>
                <a:gd name="T5" fmla="*/ 0 h 9"/>
                <a:gd name="T6" fmla="*/ 121 w 123"/>
                <a:gd name="T7" fmla="*/ 9 h 9"/>
                <a:gd name="T8" fmla="*/ 123 w 123"/>
                <a:gd name="T9" fmla="*/ 9 h 9"/>
                <a:gd name="T10" fmla="*/ 123 w 12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">
                  <a:moveTo>
                    <a:pt x="123" y="0"/>
                  </a:moveTo>
                  <a:lnTo>
                    <a:pt x="0" y="0"/>
                  </a:lnTo>
                  <a:lnTo>
                    <a:pt x="121" y="0"/>
                  </a:lnTo>
                  <a:lnTo>
                    <a:pt x="121" y="9"/>
                  </a:lnTo>
                  <a:lnTo>
                    <a:pt x="123" y="9"/>
                  </a:lnTo>
                  <a:lnTo>
                    <a:pt x="12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sḷíďê">
              <a:extLst>
                <a:ext uri="{FF2B5EF4-FFF2-40B4-BE49-F238E27FC236}">
                  <a16:creationId xmlns:a16="http://schemas.microsoft.com/office/drawing/2014/main" id="{E14FB14E-ACC1-4FDF-A20D-478621670E8E}"/>
                </a:ext>
              </a:extLst>
            </p:cNvPr>
            <p:cNvSpPr/>
            <p:nvPr/>
          </p:nvSpPr>
          <p:spPr bwMode="auto">
            <a:xfrm>
              <a:off x="6377714" y="3883500"/>
              <a:ext cx="194964" cy="45175"/>
            </a:xfrm>
            <a:custGeom>
              <a:avLst/>
              <a:gdLst>
                <a:gd name="T0" fmla="*/ 112 w 112"/>
                <a:gd name="T1" fmla="*/ 0 h 26"/>
                <a:gd name="T2" fmla="*/ 73 w 112"/>
                <a:gd name="T3" fmla="*/ 13 h 26"/>
                <a:gd name="T4" fmla="*/ 7 w 112"/>
                <a:gd name="T5" fmla="*/ 22 h 26"/>
                <a:gd name="T6" fmla="*/ 0 w 112"/>
                <a:gd name="T7" fmla="*/ 26 h 26"/>
                <a:gd name="T8" fmla="*/ 7 w 112"/>
                <a:gd name="T9" fmla="*/ 22 h 26"/>
                <a:gd name="T10" fmla="*/ 72 w 112"/>
                <a:gd name="T11" fmla="*/ 13 h 26"/>
                <a:gd name="T12" fmla="*/ 112 w 112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26">
                  <a:moveTo>
                    <a:pt x="112" y="0"/>
                  </a:moveTo>
                  <a:cubicBezTo>
                    <a:pt x="101" y="7"/>
                    <a:pt x="87" y="12"/>
                    <a:pt x="73" y="13"/>
                  </a:cubicBezTo>
                  <a:cubicBezTo>
                    <a:pt x="47" y="15"/>
                    <a:pt x="21" y="18"/>
                    <a:pt x="7" y="22"/>
                  </a:cubicBezTo>
                  <a:cubicBezTo>
                    <a:pt x="5" y="23"/>
                    <a:pt x="2" y="24"/>
                    <a:pt x="0" y="26"/>
                  </a:cubicBezTo>
                  <a:cubicBezTo>
                    <a:pt x="2" y="24"/>
                    <a:pt x="4" y="23"/>
                    <a:pt x="7" y="22"/>
                  </a:cubicBezTo>
                  <a:cubicBezTo>
                    <a:pt x="21" y="18"/>
                    <a:pt x="47" y="15"/>
                    <a:pt x="72" y="13"/>
                  </a:cubicBezTo>
                  <a:cubicBezTo>
                    <a:pt x="87" y="12"/>
                    <a:pt x="101" y="7"/>
                    <a:pt x="112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$lïḓê">
              <a:extLst>
                <a:ext uri="{FF2B5EF4-FFF2-40B4-BE49-F238E27FC236}">
                  <a16:creationId xmlns:a16="http://schemas.microsoft.com/office/drawing/2014/main" id="{BECFD27E-8AA7-40D6-A4EB-90DFFCC0B214}"/>
                </a:ext>
              </a:extLst>
            </p:cNvPr>
            <p:cNvSpPr/>
            <p:nvPr/>
          </p:nvSpPr>
          <p:spPr bwMode="auto">
            <a:xfrm>
              <a:off x="6345614" y="3652871"/>
              <a:ext cx="438671" cy="383986"/>
            </a:xfrm>
            <a:custGeom>
              <a:avLst/>
              <a:gdLst>
                <a:gd name="T0" fmla="*/ 253 w 253"/>
                <a:gd name="T1" fmla="*/ 0 h 221"/>
                <a:gd name="T2" fmla="*/ 170 w 253"/>
                <a:gd name="T3" fmla="*/ 0 h 221"/>
                <a:gd name="T4" fmla="*/ 170 w 253"/>
                <a:gd name="T5" fmla="*/ 62 h 221"/>
                <a:gd name="T6" fmla="*/ 131 w 253"/>
                <a:gd name="T7" fmla="*/ 133 h 221"/>
                <a:gd name="T8" fmla="*/ 91 w 253"/>
                <a:gd name="T9" fmla="*/ 146 h 221"/>
                <a:gd name="T10" fmla="*/ 26 w 253"/>
                <a:gd name="T11" fmla="*/ 155 h 221"/>
                <a:gd name="T12" fmla="*/ 19 w 253"/>
                <a:gd name="T13" fmla="*/ 159 h 221"/>
                <a:gd name="T14" fmla="*/ 1 w 253"/>
                <a:gd name="T15" fmla="*/ 201 h 221"/>
                <a:gd name="T16" fmla="*/ 1 w 253"/>
                <a:gd name="T17" fmla="*/ 201 h 221"/>
                <a:gd name="T18" fmla="*/ 18 w 253"/>
                <a:gd name="T19" fmla="*/ 221 h 221"/>
                <a:gd name="T20" fmla="*/ 14 w 253"/>
                <a:gd name="T21" fmla="*/ 207 h 221"/>
                <a:gd name="T22" fmla="*/ 39 w 253"/>
                <a:gd name="T23" fmla="*/ 162 h 221"/>
                <a:gd name="T24" fmla="*/ 105 w 253"/>
                <a:gd name="T25" fmla="*/ 152 h 221"/>
                <a:gd name="T26" fmla="*/ 183 w 253"/>
                <a:gd name="T27" fmla="*/ 68 h 221"/>
                <a:gd name="T28" fmla="*/ 183 w 253"/>
                <a:gd name="T29" fmla="*/ 6 h 221"/>
                <a:gd name="T30" fmla="*/ 253 w 253"/>
                <a:gd name="T31" fmla="*/ 6 h 221"/>
                <a:gd name="T32" fmla="*/ 253 w 253"/>
                <a:gd name="T3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3" h="221">
                  <a:moveTo>
                    <a:pt x="253" y="0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170" y="62"/>
                    <a:pt x="170" y="62"/>
                    <a:pt x="170" y="62"/>
                  </a:cubicBezTo>
                  <a:cubicBezTo>
                    <a:pt x="170" y="91"/>
                    <a:pt x="155" y="118"/>
                    <a:pt x="131" y="133"/>
                  </a:cubicBezTo>
                  <a:cubicBezTo>
                    <a:pt x="120" y="140"/>
                    <a:pt x="106" y="145"/>
                    <a:pt x="91" y="146"/>
                  </a:cubicBezTo>
                  <a:cubicBezTo>
                    <a:pt x="66" y="148"/>
                    <a:pt x="40" y="151"/>
                    <a:pt x="26" y="155"/>
                  </a:cubicBezTo>
                  <a:cubicBezTo>
                    <a:pt x="23" y="156"/>
                    <a:pt x="21" y="157"/>
                    <a:pt x="19" y="159"/>
                  </a:cubicBezTo>
                  <a:cubicBezTo>
                    <a:pt x="7" y="167"/>
                    <a:pt x="2" y="184"/>
                    <a:pt x="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12"/>
                    <a:pt x="8" y="221"/>
                    <a:pt x="18" y="221"/>
                  </a:cubicBezTo>
                  <a:cubicBezTo>
                    <a:pt x="15" y="217"/>
                    <a:pt x="13" y="212"/>
                    <a:pt x="14" y="207"/>
                  </a:cubicBezTo>
                  <a:cubicBezTo>
                    <a:pt x="15" y="188"/>
                    <a:pt x="21" y="168"/>
                    <a:pt x="39" y="162"/>
                  </a:cubicBezTo>
                  <a:cubicBezTo>
                    <a:pt x="53" y="157"/>
                    <a:pt x="79" y="154"/>
                    <a:pt x="105" y="152"/>
                  </a:cubicBezTo>
                  <a:cubicBezTo>
                    <a:pt x="149" y="149"/>
                    <a:pt x="183" y="113"/>
                    <a:pt x="183" y="68"/>
                  </a:cubicBezTo>
                  <a:cubicBezTo>
                    <a:pt x="183" y="6"/>
                    <a:pt x="183" y="6"/>
                    <a:pt x="183" y="6"/>
                  </a:cubicBezTo>
                  <a:cubicBezTo>
                    <a:pt x="253" y="6"/>
                    <a:pt x="253" y="6"/>
                    <a:pt x="253" y="6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ṧliďé">
              <a:extLst>
                <a:ext uri="{FF2B5EF4-FFF2-40B4-BE49-F238E27FC236}">
                  <a16:creationId xmlns:a16="http://schemas.microsoft.com/office/drawing/2014/main" id="{59449BD9-35B1-4F62-BC1B-2368C305A1C3}"/>
                </a:ext>
              </a:extLst>
            </p:cNvPr>
            <p:cNvSpPr/>
            <p:nvPr/>
          </p:nvSpPr>
          <p:spPr bwMode="auto">
            <a:xfrm>
              <a:off x="6494217" y="4606296"/>
              <a:ext cx="167623" cy="11888"/>
            </a:xfrm>
            <a:custGeom>
              <a:avLst/>
              <a:gdLst>
                <a:gd name="T0" fmla="*/ 0 w 96"/>
                <a:gd name="T1" fmla="*/ 3 h 7"/>
                <a:gd name="T2" fmla="*/ 0 w 96"/>
                <a:gd name="T3" fmla="*/ 3 h 7"/>
                <a:gd name="T4" fmla="*/ 0 w 96"/>
                <a:gd name="T5" fmla="*/ 4 h 7"/>
                <a:gd name="T6" fmla="*/ 0 w 96"/>
                <a:gd name="T7" fmla="*/ 4 h 7"/>
                <a:gd name="T8" fmla="*/ 0 w 96"/>
                <a:gd name="T9" fmla="*/ 3 h 7"/>
                <a:gd name="T10" fmla="*/ 96 w 96"/>
                <a:gd name="T11" fmla="*/ 0 h 7"/>
                <a:gd name="T12" fmla="*/ 87 w 96"/>
                <a:gd name="T13" fmla="*/ 0 h 7"/>
                <a:gd name="T14" fmla="*/ 87 w 96"/>
                <a:gd name="T15" fmla="*/ 1 h 7"/>
                <a:gd name="T16" fmla="*/ 96 w 96"/>
                <a:gd name="T17" fmla="*/ 1 h 7"/>
                <a:gd name="T18" fmla="*/ 96 w 96"/>
                <a:gd name="T19" fmla="*/ 7 h 7"/>
                <a:gd name="T20" fmla="*/ 96 w 96"/>
                <a:gd name="T21" fmla="*/ 7 h 7"/>
                <a:gd name="T22" fmla="*/ 96 w 96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7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96" y="0"/>
                  </a:moveTo>
                  <a:cubicBezTo>
                    <a:pt x="96" y="0"/>
                    <a:pt x="93" y="0"/>
                    <a:pt x="87" y="0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92" y="1"/>
                    <a:pt x="96" y="1"/>
                    <a:pt x="96" y="1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0"/>
                    <a:pt x="96" y="0"/>
                    <a:pt x="9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ṥḷídê">
              <a:extLst>
                <a:ext uri="{FF2B5EF4-FFF2-40B4-BE49-F238E27FC236}">
                  <a16:creationId xmlns:a16="http://schemas.microsoft.com/office/drawing/2014/main" id="{7379A279-2163-4A67-93B0-F6B2AE3B00AB}"/>
                </a:ext>
              </a:extLst>
            </p:cNvPr>
            <p:cNvSpPr/>
            <p:nvPr/>
          </p:nvSpPr>
          <p:spPr bwMode="auto">
            <a:xfrm>
              <a:off x="6620230" y="4606296"/>
              <a:ext cx="24966" cy="3567"/>
            </a:xfrm>
            <a:custGeom>
              <a:avLst/>
              <a:gdLst>
                <a:gd name="T0" fmla="*/ 15 w 15"/>
                <a:gd name="T1" fmla="*/ 0 h 2"/>
                <a:gd name="T2" fmla="*/ 0 w 15"/>
                <a:gd name="T3" fmla="*/ 1 h 2"/>
                <a:gd name="T4" fmla="*/ 0 w 15"/>
                <a:gd name="T5" fmla="*/ 2 h 2"/>
                <a:gd name="T6" fmla="*/ 15 w 15"/>
                <a:gd name="T7" fmla="*/ 1 h 2"/>
                <a:gd name="T8" fmla="*/ 15 w 1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">
                  <a:moveTo>
                    <a:pt x="15" y="0"/>
                  </a:moveTo>
                  <a:cubicBezTo>
                    <a:pt x="11" y="1"/>
                    <a:pt x="6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6" y="2"/>
                    <a:pt x="11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ṩḻiḑè">
              <a:extLst>
                <a:ext uri="{FF2B5EF4-FFF2-40B4-BE49-F238E27FC236}">
                  <a16:creationId xmlns:a16="http://schemas.microsoft.com/office/drawing/2014/main" id="{26A9EB15-2041-4F64-ACEF-5C3DE8D08CCC}"/>
                </a:ext>
              </a:extLst>
            </p:cNvPr>
            <p:cNvSpPr/>
            <p:nvPr/>
          </p:nvSpPr>
          <p:spPr bwMode="auto">
            <a:xfrm>
              <a:off x="6494217" y="4608674"/>
              <a:ext cx="126014" cy="4756"/>
            </a:xfrm>
            <a:custGeom>
              <a:avLst/>
              <a:gdLst>
                <a:gd name="T0" fmla="*/ 72 w 72"/>
                <a:gd name="T1" fmla="*/ 0 h 3"/>
                <a:gd name="T2" fmla="*/ 0 w 72"/>
                <a:gd name="T3" fmla="*/ 2 h 3"/>
                <a:gd name="T4" fmla="*/ 0 w 72"/>
                <a:gd name="T5" fmla="*/ 3 h 3"/>
                <a:gd name="T6" fmla="*/ 72 w 72"/>
                <a:gd name="T7" fmla="*/ 1 h 3"/>
                <a:gd name="T8" fmla="*/ 72 w 7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">
                  <a:moveTo>
                    <a:pt x="72" y="0"/>
                  </a:moveTo>
                  <a:cubicBezTo>
                    <a:pt x="53" y="0"/>
                    <a:pt x="27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7" y="2"/>
                    <a:pt x="53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ṣ1îḓe">
              <a:extLst>
                <a:ext uri="{FF2B5EF4-FFF2-40B4-BE49-F238E27FC236}">
                  <a16:creationId xmlns:a16="http://schemas.microsoft.com/office/drawing/2014/main" id="{AEFCCCE5-3150-4C79-AB40-E2E7329FB01D}"/>
                </a:ext>
              </a:extLst>
            </p:cNvPr>
            <p:cNvSpPr/>
            <p:nvPr/>
          </p:nvSpPr>
          <p:spPr bwMode="auto">
            <a:xfrm>
              <a:off x="6328972" y="4611051"/>
              <a:ext cx="165245" cy="36854"/>
            </a:xfrm>
            <a:custGeom>
              <a:avLst/>
              <a:gdLst>
                <a:gd name="T0" fmla="*/ 56 w 95"/>
                <a:gd name="T1" fmla="*/ 5 h 21"/>
                <a:gd name="T2" fmla="*/ 46 w 95"/>
                <a:gd name="T3" fmla="*/ 5 h 21"/>
                <a:gd name="T4" fmla="*/ 0 w 95"/>
                <a:gd name="T5" fmla="*/ 21 h 21"/>
                <a:gd name="T6" fmla="*/ 56 w 95"/>
                <a:gd name="T7" fmla="*/ 5 h 21"/>
                <a:gd name="T8" fmla="*/ 95 w 95"/>
                <a:gd name="T9" fmla="*/ 0 h 21"/>
                <a:gd name="T10" fmla="*/ 93 w 95"/>
                <a:gd name="T11" fmla="*/ 1 h 21"/>
                <a:gd name="T12" fmla="*/ 93 w 95"/>
                <a:gd name="T13" fmla="*/ 1 h 21"/>
                <a:gd name="T14" fmla="*/ 95 w 95"/>
                <a:gd name="T15" fmla="*/ 1 h 21"/>
                <a:gd name="T16" fmla="*/ 95 w 95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" h="21">
                  <a:moveTo>
                    <a:pt x="56" y="5"/>
                  </a:moveTo>
                  <a:cubicBezTo>
                    <a:pt x="53" y="5"/>
                    <a:pt x="49" y="5"/>
                    <a:pt x="46" y="5"/>
                  </a:cubicBezTo>
                  <a:cubicBezTo>
                    <a:pt x="20" y="8"/>
                    <a:pt x="1" y="13"/>
                    <a:pt x="0" y="21"/>
                  </a:cubicBezTo>
                  <a:cubicBezTo>
                    <a:pt x="2" y="13"/>
                    <a:pt x="26" y="8"/>
                    <a:pt x="56" y="5"/>
                  </a:cubicBezTo>
                  <a:moveTo>
                    <a:pt x="95" y="0"/>
                  </a:moveTo>
                  <a:cubicBezTo>
                    <a:pt x="94" y="1"/>
                    <a:pt x="94" y="1"/>
                    <a:pt x="93" y="1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4" y="1"/>
                    <a:pt x="94" y="1"/>
                    <a:pt x="95" y="1"/>
                  </a:cubicBezTo>
                  <a:cubicBezTo>
                    <a:pt x="95" y="0"/>
                    <a:pt x="95" y="0"/>
                    <a:pt x="95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ṣ1ïďè">
              <a:extLst>
                <a:ext uri="{FF2B5EF4-FFF2-40B4-BE49-F238E27FC236}">
                  <a16:creationId xmlns:a16="http://schemas.microsoft.com/office/drawing/2014/main" id="{B3B92ECD-8469-4F4B-9B67-1385D4B73596}"/>
                </a:ext>
              </a:extLst>
            </p:cNvPr>
            <p:cNvSpPr/>
            <p:nvPr/>
          </p:nvSpPr>
          <p:spPr bwMode="auto">
            <a:xfrm>
              <a:off x="6409811" y="4613428"/>
              <a:ext cx="80839" cy="7132"/>
            </a:xfrm>
            <a:custGeom>
              <a:avLst/>
              <a:gdLst>
                <a:gd name="T0" fmla="*/ 47 w 47"/>
                <a:gd name="T1" fmla="*/ 0 h 4"/>
                <a:gd name="T2" fmla="*/ 0 w 47"/>
                <a:gd name="T3" fmla="*/ 4 h 4"/>
                <a:gd name="T4" fmla="*/ 10 w 47"/>
                <a:gd name="T5" fmla="*/ 4 h 4"/>
                <a:gd name="T6" fmla="*/ 47 w 47"/>
                <a:gd name="T7" fmla="*/ 0 h 4"/>
                <a:gd name="T8" fmla="*/ 47 w 4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">
                  <a:moveTo>
                    <a:pt x="47" y="0"/>
                  </a:moveTo>
                  <a:cubicBezTo>
                    <a:pt x="31" y="1"/>
                    <a:pt x="14" y="2"/>
                    <a:pt x="0" y="4"/>
                  </a:cubicBezTo>
                  <a:cubicBezTo>
                    <a:pt x="3" y="4"/>
                    <a:pt x="7" y="4"/>
                    <a:pt x="10" y="4"/>
                  </a:cubicBezTo>
                  <a:cubicBezTo>
                    <a:pt x="21" y="2"/>
                    <a:pt x="34" y="1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</a:path>
              </a:pathLst>
            </a:custGeom>
            <a:solidFill>
              <a:srgbClr val="747C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śľidé">
              <a:extLst>
                <a:ext uri="{FF2B5EF4-FFF2-40B4-BE49-F238E27FC236}">
                  <a16:creationId xmlns:a16="http://schemas.microsoft.com/office/drawing/2014/main" id="{2B072DC5-AA75-4CE1-9627-BFE59278CC16}"/>
                </a:ext>
              </a:extLst>
            </p:cNvPr>
            <p:cNvSpPr/>
            <p:nvPr/>
          </p:nvSpPr>
          <p:spPr bwMode="auto">
            <a:xfrm>
              <a:off x="6328972" y="4608674"/>
              <a:ext cx="332866" cy="92727"/>
            </a:xfrm>
            <a:custGeom>
              <a:avLst/>
              <a:gdLst>
                <a:gd name="T0" fmla="*/ 191 w 191"/>
                <a:gd name="T1" fmla="*/ 0 h 54"/>
                <a:gd name="T2" fmla="*/ 182 w 191"/>
                <a:gd name="T3" fmla="*/ 0 h 54"/>
                <a:gd name="T4" fmla="*/ 167 w 191"/>
                <a:gd name="T5" fmla="*/ 1 h 54"/>
                <a:gd name="T6" fmla="*/ 95 w 191"/>
                <a:gd name="T7" fmla="*/ 3 h 54"/>
                <a:gd name="T8" fmla="*/ 95 w 191"/>
                <a:gd name="T9" fmla="*/ 3 h 54"/>
                <a:gd name="T10" fmla="*/ 93 w 191"/>
                <a:gd name="T11" fmla="*/ 3 h 54"/>
                <a:gd name="T12" fmla="*/ 56 w 191"/>
                <a:gd name="T13" fmla="*/ 7 h 54"/>
                <a:gd name="T14" fmla="*/ 0 w 191"/>
                <a:gd name="T15" fmla="*/ 23 h 54"/>
                <a:gd name="T16" fmla="*/ 0 w 191"/>
                <a:gd name="T17" fmla="*/ 23 h 54"/>
                <a:gd name="T18" fmla="*/ 15 w 191"/>
                <a:gd name="T19" fmla="*/ 54 h 54"/>
                <a:gd name="T20" fmla="*/ 6 w 191"/>
                <a:gd name="T21" fmla="*/ 30 h 54"/>
                <a:gd name="T22" fmla="*/ 191 w 191"/>
                <a:gd name="T23" fmla="*/ 6 h 54"/>
                <a:gd name="T24" fmla="*/ 191 w 191"/>
                <a:gd name="T25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1" h="54">
                  <a:moveTo>
                    <a:pt x="191" y="0"/>
                  </a:moveTo>
                  <a:cubicBezTo>
                    <a:pt x="191" y="0"/>
                    <a:pt x="187" y="0"/>
                    <a:pt x="182" y="0"/>
                  </a:cubicBezTo>
                  <a:cubicBezTo>
                    <a:pt x="178" y="0"/>
                    <a:pt x="173" y="1"/>
                    <a:pt x="167" y="1"/>
                  </a:cubicBezTo>
                  <a:cubicBezTo>
                    <a:pt x="148" y="1"/>
                    <a:pt x="122" y="2"/>
                    <a:pt x="95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4" y="3"/>
                    <a:pt x="94" y="3"/>
                    <a:pt x="93" y="3"/>
                  </a:cubicBezTo>
                  <a:cubicBezTo>
                    <a:pt x="80" y="4"/>
                    <a:pt x="67" y="5"/>
                    <a:pt x="56" y="7"/>
                  </a:cubicBezTo>
                  <a:cubicBezTo>
                    <a:pt x="26" y="10"/>
                    <a:pt x="2" y="15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5"/>
                    <a:pt x="6" y="46"/>
                    <a:pt x="15" y="54"/>
                  </a:cubicBezTo>
                  <a:cubicBezTo>
                    <a:pt x="9" y="47"/>
                    <a:pt x="6" y="39"/>
                    <a:pt x="6" y="30"/>
                  </a:cubicBezTo>
                  <a:cubicBezTo>
                    <a:pt x="6" y="9"/>
                    <a:pt x="157" y="6"/>
                    <a:pt x="191" y="6"/>
                  </a:cubicBezTo>
                  <a:cubicBezTo>
                    <a:pt x="191" y="0"/>
                    <a:pt x="191" y="0"/>
                    <a:pt x="191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şľîḍè">
              <a:extLst>
                <a:ext uri="{FF2B5EF4-FFF2-40B4-BE49-F238E27FC236}">
                  <a16:creationId xmlns:a16="http://schemas.microsoft.com/office/drawing/2014/main" id="{DBA9450F-4DF2-431D-9E87-2441B27E3845}"/>
                </a:ext>
              </a:extLst>
            </p:cNvPr>
            <p:cNvSpPr/>
            <p:nvPr/>
          </p:nvSpPr>
          <p:spPr bwMode="auto">
            <a:xfrm>
              <a:off x="4454220" y="3750353"/>
              <a:ext cx="2753283" cy="1972236"/>
            </a:xfrm>
            <a:custGeom>
              <a:avLst/>
              <a:gdLst>
                <a:gd name="T0" fmla="*/ 0 w 2316"/>
                <a:gd name="T1" fmla="*/ 386 h 1659"/>
                <a:gd name="T2" fmla="*/ 0 w 2316"/>
                <a:gd name="T3" fmla="*/ 1659 h 1659"/>
                <a:gd name="T4" fmla="*/ 2251 w 2316"/>
                <a:gd name="T5" fmla="*/ 1659 h 1659"/>
                <a:gd name="T6" fmla="*/ 2251 w 2316"/>
                <a:gd name="T7" fmla="*/ 0 h 1659"/>
                <a:gd name="T8" fmla="*/ 2316 w 2316"/>
                <a:gd name="T9" fmla="*/ 0 h 1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6" h="1659">
                  <a:moveTo>
                    <a:pt x="0" y="386"/>
                  </a:moveTo>
                  <a:lnTo>
                    <a:pt x="0" y="1659"/>
                  </a:lnTo>
                  <a:lnTo>
                    <a:pt x="2251" y="1659"/>
                  </a:lnTo>
                  <a:lnTo>
                    <a:pt x="2251" y="0"/>
                  </a:lnTo>
                  <a:lnTo>
                    <a:pt x="2316" y="0"/>
                  </a:lnTo>
                </a:path>
              </a:pathLst>
            </a:custGeom>
            <a:noFill/>
            <a:ln w="28575" cap="flat">
              <a:solidFill>
                <a:srgbClr val="4748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ṣḻîďè">
              <a:extLst>
                <a:ext uri="{FF2B5EF4-FFF2-40B4-BE49-F238E27FC236}">
                  <a16:creationId xmlns:a16="http://schemas.microsoft.com/office/drawing/2014/main" id="{87E60140-C3FD-4A56-BDBA-D5465F3E3DA1}"/>
                </a:ext>
              </a:extLst>
            </p:cNvPr>
            <p:cNvSpPr/>
            <p:nvPr/>
          </p:nvSpPr>
          <p:spPr bwMode="auto">
            <a:xfrm>
              <a:off x="3431492" y="1218950"/>
              <a:ext cx="2118207" cy="29884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ṥļïḍe">
              <a:extLst>
                <a:ext uri="{FF2B5EF4-FFF2-40B4-BE49-F238E27FC236}">
                  <a16:creationId xmlns:a16="http://schemas.microsoft.com/office/drawing/2014/main" id="{3CB8BBDD-D10C-4944-88A2-F78997498FC4}"/>
                </a:ext>
              </a:extLst>
            </p:cNvPr>
            <p:cNvSpPr/>
            <p:nvPr/>
          </p:nvSpPr>
          <p:spPr bwMode="auto">
            <a:xfrm>
              <a:off x="3431492" y="1218950"/>
              <a:ext cx="2118207" cy="29884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ṧ1iḓè">
              <a:extLst>
                <a:ext uri="{FF2B5EF4-FFF2-40B4-BE49-F238E27FC236}">
                  <a16:creationId xmlns:a16="http://schemas.microsoft.com/office/drawing/2014/main" id="{0102F56F-D2CA-4BC4-A7CA-8FC18A0B37DF}"/>
                </a:ext>
              </a:extLst>
            </p:cNvPr>
            <p:cNvSpPr/>
            <p:nvPr/>
          </p:nvSpPr>
          <p:spPr bwMode="auto">
            <a:xfrm>
              <a:off x="3330758" y="1218950"/>
              <a:ext cx="100734" cy="298843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śḷídê">
              <a:extLst>
                <a:ext uri="{FF2B5EF4-FFF2-40B4-BE49-F238E27FC236}">
                  <a16:creationId xmlns:a16="http://schemas.microsoft.com/office/drawing/2014/main" id="{C58ECA14-C19F-486C-8E3E-F4F39A54752A}"/>
                </a:ext>
              </a:extLst>
            </p:cNvPr>
            <p:cNvSpPr/>
            <p:nvPr/>
          </p:nvSpPr>
          <p:spPr bwMode="auto">
            <a:xfrm>
              <a:off x="3781262" y="3433693"/>
              <a:ext cx="1420067" cy="34977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$ľíḋé">
              <a:extLst>
                <a:ext uri="{FF2B5EF4-FFF2-40B4-BE49-F238E27FC236}">
                  <a16:creationId xmlns:a16="http://schemas.microsoft.com/office/drawing/2014/main" id="{AE0FA14F-F3CB-49C2-AA16-5F13343B8C4F}"/>
                </a:ext>
              </a:extLst>
            </p:cNvPr>
            <p:cNvSpPr/>
            <p:nvPr/>
          </p:nvSpPr>
          <p:spPr bwMode="auto">
            <a:xfrm>
              <a:off x="3781262" y="3569406"/>
              <a:ext cx="1420067" cy="36376"/>
            </a:xfrm>
            <a:prstGeom prst="rect">
              <a:avLst/>
            </a:prstGeom>
            <a:solidFill>
              <a:srgbClr val="69F0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ṧlîḓe">
              <a:extLst>
                <a:ext uri="{FF2B5EF4-FFF2-40B4-BE49-F238E27FC236}">
                  <a16:creationId xmlns:a16="http://schemas.microsoft.com/office/drawing/2014/main" id="{9B5661AE-772C-43D1-9072-6ED7799A5F37}"/>
                </a:ext>
              </a:extLst>
            </p:cNvPr>
            <p:cNvSpPr/>
            <p:nvPr/>
          </p:nvSpPr>
          <p:spPr bwMode="auto">
            <a:xfrm>
              <a:off x="3781262" y="3705116"/>
              <a:ext cx="1420067" cy="36376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ṥļîďè">
              <a:extLst>
                <a:ext uri="{FF2B5EF4-FFF2-40B4-BE49-F238E27FC236}">
                  <a16:creationId xmlns:a16="http://schemas.microsoft.com/office/drawing/2014/main" id="{7D6889EE-D5CE-4042-86AF-6F74E51E5820}"/>
                </a:ext>
              </a:extLst>
            </p:cNvPr>
            <p:cNvSpPr/>
            <p:nvPr/>
          </p:nvSpPr>
          <p:spPr bwMode="auto">
            <a:xfrm>
              <a:off x="3781262" y="3840826"/>
              <a:ext cx="1420067" cy="36376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ṩḻíḍè">
              <a:extLst>
                <a:ext uri="{FF2B5EF4-FFF2-40B4-BE49-F238E27FC236}">
                  <a16:creationId xmlns:a16="http://schemas.microsoft.com/office/drawing/2014/main" id="{2D7EE366-1BDC-4B8C-98A6-32797943538E}"/>
                </a:ext>
              </a:extLst>
            </p:cNvPr>
            <p:cNvSpPr/>
            <p:nvPr/>
          </p:nvSpPr>
          <p:spPr bwMode="auto">
            <a:xfrm>
              <a:off x="3781262" y="3976537"/>
              <a:ext cx="1420067" cy="36376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ṥliďe">
              <a:extLst>
                <a:ext uri="{FF2B5EF4-FFF2-40B4-BE49-F238E27FC236}">
                  <a16:creationId xmlns:a16="http://schemas.microsoft.com/office/drawing/2014/main" id="{DF0D5B19-35A8-4FA0-8883-815AA98D04EF}"/>
                </a:ext>
              </a:extLst>
            </p:cNvPr>
            <p:cNvSpPr/>
            <p:nvPr/>
          </p:nvSpPr>
          <p:spPr bwMode="auto">
            <a:xfrm>
              <a:off x="3809244" y="1460992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ṥļiḋê">
              <a:extLst>
                <a:ext uri="{FF2B5EF4-FFF2-40B4-BE49-F238E27FC236}">
                  <a16:creationId xmlns:a16="http://schemas.microsoft.com/office/drawing/2014/main" id="{61F58896-3CC9-4EF6-99E3-7255D22C6754}"/>
                </a:ext>
              </a:extLst>
            </p:cNvPr>
            <p:cNvSpPr/>
            <p:nvPr/>
          </p:nvSpPr>
          <p:spPr bwMode="auto">
            <a:xfrm>
              <a:off x="4080666" y="1868124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ṣliḓé">
              <a:extLst>
                <a:ext uri="{FF2B5EF4-FFF2-40B4-BE49-F238E27FC236}">
                  <a16:creationId xmlns:a16="http://schemas.microsoft.com/office/drawing/2014/main" id="{8CFE56D2-FF1B-4B2A-B6DA-4BAF9BA17165}"/>
                </a:ext>
              </a:extLst>
            </p:cNvPr>
            <p:cNvSpPr/>
            <p:nvPr/>
          </p:nvSpPr>
          <p:spPr bwMode="auto">
            <a:xfrm>
              <a:off x="4359082" y="1460992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1idè">
              <a:extLst>
                <a:ext uri="{FF2B5EF4-FFF2-40B4-BE49-F238E27FC236}">
                  <a16:creationId xmlns:a16="http://schemas.microsoft.com/office/drawing/2014/main" id="{4BAE89C6-6638-4B52-A367-F936A93768F7}"/>
                </a:ext>
              </a:extLst>
            </p:cNvPr>
            <p:cNvSpPr/>
            <p:nvPr/>
          </p:nvSpPr>
          <p:spPr bwMode="auto">
            <a:xfrm>
              <a:off x="4696260" y="1868124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sľíḍé">
              <a:extLst>
                <a:ext uri="{FF2B5EF4-FFF2-40B4-BE49-F238E27FC236}">
                  <a16:creationId xmlns:a16="http://schemas.microsoft.com/office/drawing/2014/main" id="{415EB404-7B7D-48BD-8D22-23EBC168F7D5}"/>
                </a:ext>
              </a:extLst>
            </p:cNvPr>
            <p:cNvSpPr/>
            <p:nvPr/>
          </p:nvSpPr>
          <p:spPr bwMode="auto">
            <a:xfrm>
              <a:off x="3922569" y="2742549"/>
              <a:ext cx="1775434" cy="419724"/>
            </a:xfrm>
            <a:prstGeom prst="rect">
              <a:avLst/>
            </a:pr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Sḷiḓé">
              <a:extLst>
                <a:ext uri="{FF2B5EF4-FFF2-40B4-BE49-F238E27FC236}">
                  <a16:creationId xmlns:a16="http://schemas.microsoft.com/office/drawing/2014/main" id="{5D1BB6DE-0EF8-4557-95BE-3E5B3CBF983D}"/>
                </a:ext>
              </a:extLst>
            </p:cNvPr>
            <p:cNvSpPr/>
            <p:nvPr/>
          </p:nvSpPr>
          <p:spPr bwMode="auto">
            <a:xfrm>
              <a:off x="3922569" y="2742549"/>
              <a:ext cx="1775434" cy="4197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şḻiďe">
              <a:extLst>
                <a:ext uri="{FF2B5EF4-FFF2-40B4-BE49-F238E27FC236}">
                  <a16:creationId xmlns:a16="http://schemas.microsoft.com/office/drawing/2014/main" id="{5FEB5D23-9E33-4A0A-BC60-5F19EABE7E94}"/>
                </a:ext>
              </a:extLst>
            </p:cNvPr>
            <p:cNvSpPr/>
            <p:nvPr/>
          </p:nvSpPr>
          <p:spPr bwMode="auto">
            <a:xfrm>
              <a:off x="4395458" y="2843283"/>
              <a:ext cx="521858" cy="237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şlïḍe">
              <a:extLst>
                <a:ext uri="{FF2B5EF4-FFF2-40B4-BE49-F238E27FC236}">
                  <a16:creationId xmlns:a16="http://schemas.microsoft.com/office/drawing/2014/main" id="{67E2E0A7-77AB-47ED-9519-7DDAA6F93CC8}"/>
                </a:ext>
              </a:extLst>
            </p:cNvPr>
            <p:cNvSpPr/>
            <p:nvPr/>
          </p:nvSpPr>
          <p:spPr bwMode="auto">
            <a:xfrm>
              <a:off x="4395458" y="2896448"/>
              <a:ext cx="521858" cy="23784"/>
            </a:xfrm>
            <a:prstGeom prst="rect">
              <a:avLst/>
            </a:pr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ŝḷiḑè">
              <a:extLst>
                <a:ext uri="{FF2B5EF4-FFF2-40B4-BE49-F238E27FC236}">
                  <a16:creationId xmlns:a16="http://schemas.microsoft.com/office/drawing/2014/main" id="{C6411E3B-86D4-4BEE-90B2-259739E5586E}"/>
                </a:ext>
              </a:extLst>
            </p:cNvPr>
            <p:cNvSpPr/>
            <p:nvPr/>
          </p:nvSpPr>
          <p:spPr bwMode="auto">
            <a:xfrm>
              <a:off x="4395458" y="2896448"/>
              <a:ext cx="521858" cy="23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ṡļïḍé">
              <a:extLst>
                <a:ext uri="{FF2B5EF4-FFF2-40B4-BE49-F238E27FC236}">
                  <a16:creationId xmlns:a16="http://schemas.microsoft.com/office/drawing/2014/main" id="{49F929E4-778A-48DF-A1B5-904855C30C97}"/>
                </a:ext>
              </a:extLst>
            </p:cNvPr>
            <p:cNvSpPr/>
            <p:nvPr/>
          </p:nvSpPr>
          <p:spPr bwMode="auto">
            <a:xfrm>
              <a:off x="4395458" y="2984590"/>
              <a:ext cx="1018531" cy="2378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ṩ1ïḋe">
              <a:extLst>
                <a:ext uri="{FF2B5EF4-FFF2-40B4-BE49-F238E27FC236}">
                  <a16:creationId xmlns:a16="http://schemas.microsoft.com/office/drawing/2014/main" id="{59EE7930-5FFB-4532-9379-E29764ACF2B9}"/>
                </a:ext>
              </a:extLst>
            </p:cNvPr>
            <p:cNvSpPr/>
            <p:nvPr/>
          </p:nvSpPr>
          <p:spPr bwMode="auto">
            <a:xfrm>
              <a:off x="4012110" y="2837686"/>
              <a:ext cx="223853" cy="223853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Sḻíḓê">
              <a:extLst>
                <a:ext uri="{FF2B5EF4-FFF2-40B4-BE49-F238E27FC236}">
                  <a16:creationId xmlns:a16="http://schemas.microsoft.com/office/drawing/2014/main" id="{7F9DAFB1-BED9-4715-AFD5-AB1F7B4C729C}"/>
                </a:ext>
              </a:extLst>
            </p:cNvPr>
            <p:cNvSpPr/>
            <p:nvPr/>
          </p:nvSpPr>
          <p:spPr bwMode="auto">
            <a:xfrm>
              <a:off x="4012110" y="2837686"/>
              <a:ext cx="223853" cy="22385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98" name="ïṣḻïḑe">
              <a:extLst>
                <a:ext uri="{FF2B5EF4-FFF2-40B4-BE49-F238E27FC236}">
                  <a16:creationId xmlns:a16="http://schemas.microsoft.com/office/drawing/2014/main" id="{8DEBB854-6F55-4009-8A97-0CB1ACDB03FB}"/>
                </a:ext>
              </a:extLst>
            </p:cNvPr>
            <p:cNvGrpSpPr/>
            <p:nvPr/>
          </p:nvGrpSpPr>
          <p:grpSpPr>
            <a:xfrm>
              <a:off x="3641354" y="1433853"/>
              <a:ext cx="849241" cy="839788"/>
              <a:chOff x="2928938" y="714375"/>
              <a:chExt cx="963612" cy="839788"/>
            </a:xfrm>
          </p:grpSpPr>
          <p:cxnSp>
            <p:nvCxnSpPr>
              <p:cNvPr id="102" name="直接连接符 101">
                <a:extLst>
                  <a:ext uri="{FF2B5EF4-FFF2-40B4-BE49-F238E27FC236}">
                    <a16:creationId xmlns:a16="http://schemas.microsoft.com/office/drawing/2014/main" id="{8568C648-1FAE-4A39-8298-918EF1FF8A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4375"/>
                <a:ext cx="963612" cy="0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>
                <a:extLst>
                  <a:ext uri="{FF2B5EF4-FFF2-40B4-BE49-F238E27FC236}">
                    <a16:creationId xmlns:a16="http://schemas.microsoft.com/office/drawing/2014/main" id="{779BAD9D-045A-4801-9619-4841A3191C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6756"/>
                <a:ext cx="0" cy="837407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ïṧļiḋé">
              <a:extLst>
                <a:ext uri="{FF2B5EF4-FFF2-40B4-BE49-F238E27FC236}">
                  <a16:creationId xmlns:a16="http://schemas.microsoft.com/office/drawing/2014/main" id="{3B9F39C0-59B2-47B5-956A-4B3AD419FB25}"/>
                </a:ext>
              </a:extLst>
            </p:cNvPr>
            <p:cNvGrpSpPr/>
            <p:nvPr/>
          </p:nvGrpSpPr>
          <p:grpSpPr>
            <a:xfrm flipH="1" flipV="1">
              <a:off x="4444427" y="1500753"/>
              <a:ext cx="849241" cy="839788"/>
              <a:chOff x="2928938" y="714375"/>
              <a:chExt cx="963612" cy="839788"/>
            </a:xfrm>
          </p:grpSpPr>
          <p:cxnSp>
            <p:nvCxnSpPr>
              <p:cNvPr id="100" name="直接连接符 99">
                <a:extLst>
                  <a:ext uri="{FF2B5EF4-FFF2-40B4-BE49-F238E27FC236}">
                    <a16:creationId xmlns:a16="http://schemas.microsoft.com/office/drawing/2014/main" id="{9E8925BC-4216-41D8-9F51-9B6F44B20A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4375"/>
                <a:ext cx="963612" cy="0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>
                <a:extLst>
                  <a:ext uri="{FF2B5EF4-FFF2-40B4-BE49-F238E27FC236}">
                    <a16:creationId xmlns:a16="http://schemas.microsoft.com/office/drawing/2014/main" id="{96DCBD32-A71F-4A85-A3B5-98B2105BA4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6756"/>
                <a:ext cx="0" cy="837407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4" name="TextBox 6">
            <a:extLst>
              <a:ext uri="{FF2B5EF4-FFF2-40B4-BE49-F238E27FC236}">
                <a16:creationId xmlns:a16="http://schemas.microsoft.com/office/drawing/2014/main" id="{2981605C-796A-4015-9619-FD37E13BC32D}"/>
              </a:ext>
            </a:extLst>
          </p:cNvPr>
          <p:cNvSpPr txBox="1"/>
          <p:nvPr/>
        </p:nvSpPr>
        <p:spPr>
          <a:xfrm>
            <a:off x="1125190" y="2123854"/>
            <a:ext cx="4207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dirty="0">
                <a:latin typeface="张海山锐谐体" panose="02000000000000000000" pitchFamily="2" charset="-122"/>
                <a:ea typeface="张海山锐谐体" panose="02000000000000000000" pitchFamily="2" charset="-122"/>
              </a:rPr>
              <a:t>簡報問題答復一</a:t>
            </a:r>
            <a:endParaRPr lang="id-ID" sz="4400" dirty="0">
              <a:latin typeface="张海山锐谐体" panose="02000000000000000000" pitchFamily="2" charset="-122"/>
              <a:ea typeface="张海山锐谐体" panose="02000000000000000000" pitchFamily="2" charset="-122"/>
            </a:endParaRPr>
          </a:p>
        </p:txBody>
      </p:sp>
      <p:sp>
        <p:nvSpPr>
          <p:cNvPr id="105" name="Rectangle: Rounded Corners 7">
            <a:extLst>
              <a:ext uri="{FF2B5EF4-FFF2-40B4-BE49-F238E27FC236}">
                <a16:creationId xmlns:a16="http://schemas.microsoft.com/office/drawing/2014/main" id="{3BA2DF51-B127-4FDE-8298-F6EC7B2E33A4}"/>
              </a:ext>
            </a:extLst>
          </p:cNvPr>
          <p:cNvSpPr/>
          <p:nvPr/>
        </p:nvSpPr>
        <p:spPr>
          <a:xfrm>
            <a:off x="1252984" y="2080455"/>
            <a:ext cx="347346" cy="36000"/>
          </a:xfrm>
          <a:prstGeom prst="roundRect">
            <a:avLst>
              <a:gd name="adj" fmla="val 6090"/>
            </a:avLst>
          </a:prstGeom>
          <a:solidFill>
            <a:srgbClr val="25E0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tx1"/>
              </a:solidFill>
            </a:endParaRPr>
          </a:p>
        </p:txBody>
      </p:sp>
      <p:sp>
        <p:nvSpPr>
          <p:cNvPr id="106" name="Rectangle 8">
            <a:extLst>
              <a:ext uri="{FF2B5EF4-FFF2-40B4-BE49-F238E27FC236}">
                <a16:creationId xmlns:a16="http://schemas.microsoft.com/office/drawing/2014/main" id="{A7318A95-89CD-44B0-B636-8B4D01CDCEAA}"/>
              </a:ext>
            </a:extLst>
          </p:cNvPr>
          <p:cNvSpPr/>
          <p:nvPr/>
        </p:nvSpPr>
        <p:spPr>
          <a:xfrm>
            <a:off x="1164842" y="3410960"/>
            <a:ext cx="11464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>
                <a:latin typeface="张海山锐线体2.0" panose="02000000000000000000" pitchFamily="2" charset="-122"/>
                <a:cs typeface="Segoe UI Light" panose="020B0502040204020203" pitchFamily="34" charset="0"/>
              </a:rPr>
              <a:t>Question</a:t>
            </a:r>
            <a:r>
              <a:rPr lang="zh-CN" altLang="en-US" sz="1400" dirty="0">
                <a:latin typeface="张海山锐线体2.0" panose="02000000000000000000" pitchFamily="2" charset="-122"/>
                <a:cs typeface="Segoe UI Light" panose="020B0502040204020203" pitchFamily="34" charset="0"/>
              </a:rPr>
              <a:t>：</a:t>
            </a:r>
            <a:endParaRPr lang="en-US" altLang="zh-CN" sz="1400" dirty="0">
              <a:latin typeface="张海山锐线体2.0" panose="02000000000000000000" pitchFamily="2" charset="-122"/>
              <a:cs typeface="Segoe UI Light" panose="020B0502040204020203" pitchFamily="34" charset="0"/>
            </a:endParaRPr>
          </a:p>
        </p:txBody>
      </p:sp>
      <p:cxnSp>
        <p:nvCxnSpPr>
          <p:cNvPr id="109" name="Straight Connector 5">
            <a:extLst>
              <a:ext uri="{FF2B5EF4-FFF2-40B4-BE49-F238E27FC236}">
                <a16:creationId xmlns:a16="http://schemas.microsoft.com/office/drawing/2014/main" id="{3AC255FB-13CF-48C6-9E36-C63405435E6C}"/>
              </a:ext>
            </a:extLst>
          </p:cNvPr>
          <p:cNvCxnSpPr>
            <a:cxnSpLocks/>
          </p:cNvCxnSpPr>
          <p:nvPr/>
        </p:nvCxnSpPr>
        <p:spPr>
          <a:xfrm>
            <a:off x="7979392" y="2370576"/>
            <a:ext cx="309454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1A2C727E-0B36-4F7D-8C21-60261FB2C82B}"/>
              </a:ext>
            </a:extLst>
          </p:cNvPr>
          <p:cNvSpPr txBox="1"/>
          <p:nvPr/>
        </p:nvSpPr>
        <p:spPr>
          <a:xfrm>
            <a:off x="1029263" y="3994651"/>
            <a:ext cx="570172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AutoNum type="arabicPeriod"/>
            </a:pPr>
            <a:r>
              <a:rPr lang="zh-CN" altLang="en-US" sz="2800" b="1" dirty="0">
                <a:latin typeface="张海山锐线体2.0" panose="02000000000000000000" pitchFamily="2" charset="-122"/>
              </a:rPr>
              <a:t>增加</a:t>
            </a:r>
            <a:r>
              <a:rPr lang="en-US" altLang="zh-CN" sz="2800" b="1" dirty="0">
                <a:latin typeface="张海山锐线体2.0" panose="02000000000000000000" pitchFamily="2" charset="-122"/>
              </a:rPr>
              <a:t>sampling rate</a:t>
            </a:r>
            <a:r>
              <a:rPr lang="zh-CN" altLang="en-US" sz="2800" b="1" dirty="0">
                <a:latin typeface="张海山锐线体2.0" panose="02000000000000000000" pitchFamily="2" charset="-122"/>
              </a:rPr>
              <a:t>实现动态手语识别</a:t>
            </a:r>
            <a:endParaRPr lang="en-US" altLang="zh-CN" sz="2800" b="1" dirty="0">
              <a:latin typeface="张海山锐线体2.0" panose="02000000000000000000" pitchFamily="2" charset="-122"/>
            </a:endParaRPr>
          </a:p>
          <a:p>
            <a:endParaRPr lang="en-US" altLang="zh-CN" sz="2800" b="1" dirty="0">
              <a:latin typeface="张海山锐线体2.0" panose="02000000000000000000" pitchFamily="2" charset="-122"/>
            </a:endParaRPr>
          </a:p>
          <a:p>
            <a:r>
              <a:rPr lang="en-US" altLang="zh-CN" sz="2800" b="1" dirty="0">
                <a:latin typeface="张海山锐线体2.0" panose="02000000000000000000" pitchFamily="2" charset="-122"/>
              </a:rPr>
              <a:t>2.  </a:t>
            </a:r>
            <a:r>
              <a:rPr lang="zh-CN" altLang="en-US" sz="2800" b="1" dirty="0">
                <a:latin typeface="张海山锐线体2.0" panose="02000000000000000000" pitchFamily="2" charset="-122"/>
              </a:rPr>
              <a:t>增加资料量（测试对象）</a:t>
            </a:r>
            <a:endParaRPr lang="en-US" altLang="zh-CN" sz="2800" b="1" dirty="0">
              <a:latin typeface="张海山锐线体2.0" panose="02000000000000000000" pitchFamily="2" charset="-122"/>
            </a:endParaRPr>
          </a:p>
          <a:p>
            <a:endParaRPr lang="en-US" sz="2800" dirty="0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5615E5C-17A7-43E2-837F-EEA7299966AD}"/>
              </a:ext>
            </a:extLst>
          </p:cNvPr>
          <p:cNvSpPr txBox="1"/>
          <p:nvPr/>
        </p:nvSpPr>
        <p:spPr>
          <a:xfrm>
            <a:off x="3574473" y="4846320"/>
            <a:ext cx="2542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64times/seconds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434E750-2960-4DF2-B740-06CE2CB5983A}"/>
              </a:ext>
            </a:extLst>
          </p:cNvPr>
          <p:cNvSpPr txBox="1"/>
          <p:nvPr/>
        </p:nvSpPr>
        <p:spPr>
          <a:xfrm>
            <a:off x="3049349" y="5779013"/>
            <a:ext cx="5477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</a:t>
            </a:r>
            <a:r>
              <a:rPr lang="zh-CN" altLang="en-US" dirty="0"/>
              <a:t>個人</a:t>
            </a:r>
            <a:r>
              <a:rPr lang="en-US" altLang="zh-CN" dirty="0"/>
              <a:t>*30</a:t>
            </a:r>
            <a:r>
              <a:rPr lang="zh-CN" altLang="en-US" dirty="0"/>
              <a:t>個動作</a:t>
            </a:r>
            <a:r>
              <a:rPr lang="en-US" altLang="zh-CN" dirty="0"/>
              <a:t>*10</a:t>
            </a:r>
            <a:r>
              <a:rPr lang="zh-CN" altLang="en-US" dirty="0"/>
              <a:t>次</a:t>
            </a:r>
            <a:r>
              <a:rPr lang="en-US" altLang="zh-CN" dirty="0"/>
              <a:t>*2</a:t>
            </a:r>
            <a:r>
              <a:rPr lang="zh-CN" altLang="en-US" dirty="0"/>
              <a:t>秒</a:t>
            </a:r>
            <a:r>
              <a:rPr lang="en-US" altLang="zh-CN" dirty="0"/>
              <a:t>*64</a:t>
            </a:r>
            <a:r>
              <a:rPr lang="zh-CN" altLang="en-US" dirty="0"/>
              <a:t>筆數據 </a:t>
            </a:r>
            <a:r>
              <a:rPr lang="en-US" altLang="zh-CN" dirty="0"/>
              <a:t>= 115200</a:t>
            </a:r>
            <a:r>
              <a:rPr lang="zh-CN" altLang="en-US" dirty="0"/>
              <a:t>筆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7157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6" presetClass="entr" presetSubtype="37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4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/>
      <p:bldP spid="105" grpId="0" animBg="1"/>
      <p:bldP spid="10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8D537F49-6596-4036-872E-7FACCD9552F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37"/>
          <a:stretch/>
        </p:blipFill>
        <p:spPr>
          <a:xfrm>
            <a:off x="-97398" y="0"/>
            <a:ext cx="12289397" cy="6915150"/>
          </a:xfrm>
          <a:prstGeom prst="rect">
            <a:avLst/>
          </a:prstGeom>
        </p:spPr>
      </p:pic>
      <p:sp>
        <p:nvSpPr>
          <p:cNvPr id="3" name="圆角矩形 3">
            <a:extLst>
              <a:ext uri="{FF2B5EF4-FFF2-40B4-BE49-F238E27FC236}">
                <a16:creationId xmlns:a16="http://schemas.microsoft.com/office/drawing/2014/main" id="{496C21AC-103A-41FE-A900-0AAD150EED14}"/>
              </a:ext>
            </a:extLst>
          </p:cNvPr>
          <p:cNvSpPr/>
          <p:nvPr/>
        </p:nvSpPr>
        <p:spPr>
          <a:xfrm>
            <a:off x="694502" y="568339"/>
            <a:ext cx="10802533" cy="5694503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ln w="12700">
            <a:noFill/>
          </a:ln>
          <a:effectLst>
            <a:outerShdw blurRad="381000" dist="38100" dir="5400000" algn="t" rotWithShape="0">
              <a:srgbClr val="B8B8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prstClr val="white"/>
              </a:solidFill>
            </a:endParaRPr>
          </a:p>
        </p:txBody>
      </p:sp>
      <p:grpSp>
        <p:nvGrpSpPr>
          <p:cNvPr id="4" name="c14c19f6-979a-41d9-8fd9-c37f22741f3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8C2DE36-B47E-43FD-8001-AF19B25F56D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632553" y="1416553"/>
            <a:ext cx="5046115" cy="4082043"/>
            <a:chOff x="3260725" y="1135411"/>
            <a:chExt cx="5670550" cy="4587178"/>
          </a:xfrm>
        </p:grpSpPr>
        <p:sp>
          <p:nvSpPr>
            <p:cNvPr id="5" name="iṣlidê">
              <a:extLst>
                <a:ext uri="{FF2B5EF4-FFF2-40B4-BE49-F238E27FC236}">
                  <a16:creationId xmlns:a16="http://schemas.microsoft.com/office/drawing/2014/main" id="{A36E0343-DE59-4918-92C4-3CF2E02CB067}"/>
                </a:ext>
              </a:extLst>
            </p:cNvPr>
            <p:cNvSpPr/>
            <p:nvPr/>
          </p:nvSpPr>
          <p:spPr bwMode="auto">
            <a:xfrm>
              <a:off x="3260725" y="1135411"/>
              <a:ext cx="2385286" cy="314549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îṣliḋè">
              <a:extLst>
                <a:ext uri="{FF2B5EF4-FFF2-40B4-BE49-F238E27FC236}">
                  <a16:creationId xmlns:a16="http://schemas.microsoft.com/office/drawing/2014/main" id="{C28083AB-64BB-4FE0-BBD2-055981F9AC33}"/>
                </a:ext>
              </a:extLst>
            </p:cNvPr>
            <p:cNvSpPr/>
            <p:nvPr/>
          </p:nvSpPr>
          <p:spPr bwMode="auto">
            <a:xfrm>
              <a:off x="6490649" y="4167626"/>
              <a:ext cx="202098" cy="1097272"/>
            </a:xfrm>
            <a:custGeom>
              <a:avLst/>
              <a:gdLst>
                <a:gd name="T0" fmla="*/ 71 w 170"/>
                <a:gd name="T1" fmla="*/ 0 h 923"/>
                <a:gd name="T2" fmla="*/ 0 w 170"/>
                <a:gd name="T3" fmla="*/ 923 h 923"/>
                <a:gd name="T4" fmla="*/ 71 w 170"/>
                <a:gd name="T5" fmla="*/ 923 h 923"/>
                <a:gd name="T6" fmla="*/ 170 w 170"/>
                <a:gd name="T7" fmla="*/ 0 h 923"/>
                <a:gd name="T8" fmla="*/ 71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1" y="0"/>
                  </a:moveTo>
                  <a:lnTo>
                    <a:pt x="0" y="923"/>
                  </a:lnTo>
                  <a:lnTo>
                    <a:pt x="71" y="923"/>
                  </a:lnTo>
                  <a:lnTo>
                    <a:pt x="170" y="0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íṧļiḓè">
              <a:extLst>
                <a:ext uri="{FF2B5EF4-FFF2-40B4-BE49-F238E27FC236}">
                  <a16:creationId xmlns:a16="http://schemas.microsoft.com/office/drawing/2014/main" id="{02C3D017-4D0F-4054-931C-99A4A3A45EB1}"/>
                </a:ext>
              </a:extLst>
            </p:cNvPr>
            <p:cNvSpPr/>
            <p:nvPr/>
          </p:nvSpPr>
          <p:spPr bwMode="auto">
            <a:xfrm>
              <a:off x="6490649" y="4167626"/>
              <a:ext cx="202098" cy="1097272"/>
            </a:xfrm>
            <a:custGeom>
              <a:avLst/>
              <a:gdLst>
                <a:gd name="T0" fmla="*/ 71 w 170"/>
                <a:gd name="T1" fmla="*/ 0 h 923"/>
                <a:gd name="T2" fmla="*/ 0 w 170"/>
                <a:gd name="T3" fmla="*/ 923 h 923"/>
                <a:gd name="T4" fmla="*/ 71 w 170"/>
                <a:gd name="T5" fmla="*/ 923 h 923"/>
                <a:gd name="T6" fmla="*/ 170 w 170"/>
                <a:gd name="T7" fmla="*/ 0 h 923"/>
                <a:gd name="T8" fmla="*/ 71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1" y="0"/>
                  </a:moveTo>
                  <a:lnTo>
                    <a:pt x="0" y="923"/>
                  </a:lnTo>
                  <a:lnTo>
                    <a:pt x="71" y="923"/>
                  </a:lnTo>
                  <a:lnTo>
                    <a:pt x="170" y="0"/>
                  </a:lnTo>
                  <a:lnTo>
                    <a:pt x="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í$ḻiďé">
              <a:extLst>
                <a:ext uri="{FF2B5EF4-FFF2-40B4-BE49-F238E27FC236}">
                  <a16:creationId xmlns:a16="http://schemas.microsoft.com/office/drawing/2014/main" id="{5981D908-CBDC-48BA-B642-22C42E1FCFF3}"/>
                </a:ext>
              </a:extLst>
            </p:cNvPr>
            <p:cNvSpPr/>
            <p:nvPr/>
          </p:nvSpPr>
          <p:spPr bwMode="auto">
            <a:xfrm>
              <a:off x="8729177" y="4131961"/>
              <a:ext cx="202098" cy="1097272"/>
            </a:xfrm>
            <a:custGeom>
              <a:avLst/>
              <a:gdLst>
                <a:gd name="T0" fmla="*/ 99 w 170"/>
                <a:gd name="T1" fmla="*/ 0 h 923"/>
                <a:gd name="T2" fmla="*/ 170 w 170"/>
                <a:gd name="T3" fmla="*/ 923 h 923"/>
                <a:gd name="T4" fmla="*/ 99 w 170"/>
                <a:gd name="T5" fmla="*/ 923 h 923"/>
                <a:gd name="T6" fmla="*/ 0 w 170"/>
                <a:gd name="T7" fmla="*/ 0 h 923"/>
                <a:gd name="T8" fmla="*/ 99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99" y="0"/>
                  </a:moveTo>
                  <a:lnTo>
                    <a:pt x="170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$ḻïḓè">
              <a:extLst>
                <a:ext uri="{FF2B5EF4-FFF2-40B4-BE49-F238E27FC236}">
                  <a16:creationId xmlns:a16="http://schemas.microsoft.com/office/drawing/2014/main" id="{32F6E5DE-C819-4F71-B571-F48F30F4EB48}"/>
                </a:ext>
              </a:extLst>
            </p:cNvPr>
            <p:cNvSpPr/>
            <p:nvPr/>
          </p:nvSpPr>
          <p:spPr bwMode="auto">
            <a:xfrm>
              <a:off x="8729176" y="4131961"/>
              <a:ext cx="202098" cy="1097272"/>
            </a:xfrm>
            <a:custGeom>
              <a:avLst/>
              <a:gdLst>
                <a:gd name="T0" fmla="*/ 99 w 170"/>
                <a:gd name="T1" fmla="*/ 0 h 923"/>
                <a:gd name="T2" fmla="*/ 170 w 170"/>
                <a:gd name="T3" fmla="*/ 923 h 923"/>
                <a:gd name="T4" fmla="*/ 99 w 170"/>
                <a:gd name="T5" fmla="*/ 923 h 923"/>
                <a:gd name="T6" fmla="*/ 0 w 170"/>
                <a:gd name="T7" fmla="*/ 0 h 923"/>
                <a:gd name="T8" fmla="*/ 99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99" y="0"/>
                  </a:moveTo>
                  <a:lnTo>
                    <a:pt x="170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slíḋe">
              <a:extLst>
                <a:ext uri="{FF2B5EF4-FFF2-40B4-BE49-F238E27FC236}">
                  <a16:creationId xmlns:a16="http://schemas.microsoft.com/office/drawing/2014/main" id="{DE103C51-0BFB-43F3-AB7F-2769A52891B4}"/>
                </a:ext>
              </a:extLst>
            </p:cNvPr>
            <p:cNvSpPr/>
            <p:nvPr/>
          </p:nvSpPr>
          <p:spPr bwMode="auto">
            <a:xfrm>
              <a:off x="6817572" y="4118884"/>
              <a:ext cx="202098" cy="1097272"/>
            </a:xfrm>
            <a:custGeom>
              <a:avLst/>
              <a:gdLst>
                <a:gd name="T0" fmla="*/ 70 w 170"/>
                <a:gd name="T1" fmla="*/ 0 h 923"/>
                <a:gd name="T2" fmla="*/ 0 w 170"/>
                <a:gd name="T3" fmla="*/ 923 h 923"/>
                <a:gd name="T4" fmla="*/ 70 w 170"/>
                <a:gd name="T5" fmla="*/ 923 h 923"/>
                <a:gd name="T6" fmla="*/ 170 w 170"/>
                <a:gd name="T7" fmla="*/ 0 h 923"/>
                <a:gd name="T8" fmla="*/ 70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0" y="0"/>
                  </a:moveTo>
                  <a:lnTo>
                    <a:pt x="0" y="923"/>
                  </a:lnTo>
                  <a:lnTo>
                    <a:pt x="70" y="923"/>
                  </a:lnTo>
                  <a:lnTo>
                    <a:pt x="170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šlïdê">
              <a:extLst>
                <a:ext uri="{FF2B5EF4-FFF2-40B4-BE49-F238E27FC236}">
                  <a16:creationId xmlns:a16="http://schemas.microsoft.com/office/drawing/2014/main" id="{BA30FC56-D679-41AC-A059-916CB055D9B4}"/>
                </a:ext>
              </a:extLst>
            </p:cNvPr>
            <p:cNvSpPr/>
            <p:nvPr/>
          </p:nvSpPr>
          <p:spPr bwMode="auto">
            <a:xfrm>
              <a:off x="8423652" y="4167626"/>
              <a:ext cx="200909" cy="1097272"/>
            </a:xfrm>
            <a:custGeom>
              <a:avLst/>
              <a:gdLst>
                <a:gd name="T0" fmla="*/ 99 w 169"/>
                <a:gd name="T1" fmla="*/ 0 h 923"/>
                <a:gd name="T2" fmla="*/ 169 w 169"/>
                <a:gd name="T3" fmla="*/ 923 h 923"/>
                <a:gd name="T4" fmla="*/ 99 w 169"/>
                <a:gd name="T5" fmla="*/ 923 h 923"/>
                <a:gd name="T6" fmla="*/ 0 w 169"/>
                <a:gd name="T7" fmla="*/ 0 h 923"/>
                <a:gd name="T8" fmla="*/ 99 w 169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923">
                  <a:moveTo>
                    <a:pt x="99" y="0"/>
                  </a:moveTo>
                  <a:lnTo>
                    <a:pt x="169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ïṧľíḍê">
              <a:extLst>
                <a:ext uri="{FF2B5EF4-FFF2-40B4-BE49-F238E27FC236}">
                  <a16:creationId xmlns:a16="http://schemas.microsoft.com/office/drawing/2014/main" id="{77BF115E-C9B5-456C-ABE6-F95BB4A7AC9E}"/>
                </a:ext>
              </a:extLst>
            </p:cNvPr>
            <p:cNvSpPr/>
            <p:nvPr/>
          </p:nvSpPr>
          <p:spPr bwMode="auto">
            <a:xfrm>
              <a:off x="8423652" y="4167626"/>
              <a:ext cx="200909" cy="1097272"/>
            </a:xfrm>
            <a:custGeom>
              <a:avLst/>
              <a:gdLst>
                <a:gd name="T0" fmla="*/ 99 w 169"/>
                <a:gd name="T1" fmla="*/ 0 h 923"/>
                <a:gd name="T2" fmla="*/ 169 w 169"/>
                <a:gd name="T3" fmla="*/ 923 h 923"/>
                <a:gd name="T4" fmla="*/ 99 w 169"/>
                <a:gd name="T5" fmla="*/ 923 h 923"/>
                <a:gd name="T6" fmla="*/ 0 w 169"/>
                <a:gd name="T7" fmla="*/ 0 h 923"/>
                <a:gd name="T8" fmla="*/ 99 w 169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923">
                  <a:moveTo>
                    <a:pt x="99" y="0"/>
                  </a:moveTo>
                  <a:lnTo>
                    <a:pt x="169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šľiḓè">
              <a:extLst>
                <a:ext uri="{FF2B5EF4-FFF2-40B4-BE49-F238E27FC236}">
                  <a16:creationId xmlns:a16="http://schemas.microsoft.com/office/drawing/2014/main" id="{4564C047-F095-45AB-8B75-3EBB823B30BA}"/>
                </a:ext>
              </a:extLst>
            </p:cNvPr>
            <p:cNvSpPr/>
            <p:nvPr/>
          </p:nvSpPr>
          <p:spPr bwMode="auto">
            <a:xfrm>
              <a:off x="6421698" y="4104618"/>
              <a:ext cx="2001954" cy="104615"/>
            </a:xfrm>
            <a:prstGeom prst="rect">
              <a:avLst/>
            </a:pr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$ḷîḋê">
              <a:extLst>
                <a:ext uri="{FF2B5EF4-FFF2-40B4-BE49-F238E27FC236}">
                  <a16:creationId xmlns:a16="http://schemas.microsoft.com/office/drawing/2014/main" id="{09A8F721-4D76-4DCA-BC20-6EE5FBCCC90B}"/>
                </a:ext>
              </a:extLst>
            </p:cNvPr>
            <p:cNvSpPr/>
            <p:nvPr/>
          </p:nvSpPr>
          <p:spPr bwMode="auto">
            <a:xfrm>
              <a:off x="6421698" y="4104618"/>
              <a:ext cx="200195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šḻïde">
              <a:extLst>
                <a:ext uri="{FF2B5EF4-FFF2-40B4-BE49-F238E27FC236}">
                  <a16:creationId xmlns:a16="http://schemas.microsoft.com/office/drawing/2014/main" id="{D00A0659-8D51-4ACC-A79F-24F9FE9EC0A3}"/>
                </a:ext>
              </a:extLst>
            </p:cNvPr>
            <p:cNvSpPr/>
            <p:nvPr/>
          </p:nvSpPr>
          <p:spPr bwMode="auto">
            <a:xfrm>
              <a:off x="8423652" y="4104618"/>
              <a:ext cx="458881" cy="104615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išļíḍê">
              <a:extLst>
                <a:ext uri="{FF2B5EF4-FFF2-40B4-BE49-F238E27FC236}">
                  <a16:creationId xmlns:a16="http://schemas.microsoft.com/office/drawing/2014/main" id="{6B534724-0D51-4799-B878-DEF4C4FAA84E}"/>
                </a:ext>
              </a:extLst>
            </p:cNvPr>
            <p:cNvSpPr/>
            <p:nvPr/>
          </p:nvSpPr>
          <p:spPr bwMode="auto">
            <a:xfrm>
              <a:off x="8423652" y="4104618"/>
              <a:ext cx="458881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ṩ1iḋe">
              <a:extLst>
                <a:ext uri="{FF2B5EF4-FFF2-40B4-BE49-F238E27FC236}">
                  <a16:creationId xmlns:a16="http://schemas.microsoft.com/office/drawing/2014/main" id="{D089CF38-78A9-4D2F-ABCA-CE3AD9E97C80}"/>
                </a:ext>
              </a:extLst>
            </p:cNvPr>
            <p:cNvSpPr/>
            <p:nvPr/>
          </p:nvSpPr>
          <p:spPr bwMode="auto">
            <a:xfrm>
              <a:off x="8427220" y="4104618"/>
              <a:ext cx="458881" cy="104615"/>
            </a:xfrm>
            <a:custGeom>
              <a:avLst/>
              <a:gdLst>
                <a:gd name="T0" fmla="*/ 386 w 386"/>
                <a:gd name="T1" fmla="*/ 0 h 88"/>
                <a:gd name="T2" fmla="*/ 0 w 386"/>
                <a:gd name="T3" fmla="*/ 0 h 88"/>
                <a:gd name="T4" fmla="*/ 383 w 386"/>
                <a:gd name="T5" fmla="*/ 0 h 88"/>
                <a:gd name="T6" fmla="*/ 383 w 386"/>
                <a:gd name="T7" fmla="*/ 88 h 88"/>
                <a:gd name="T8" fmla="*/ 386 w 386"/>
                <a:gd name="T9" fmla="*/ 88 h 88"/>
                <a:gd name="T10" fmla="*/ 386 w 386"/>
                <a:gd name="T1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6" h="88">
                  <a:moveTo>
                    <a:pt x="386" y="0"/>
                  </a:moveTo>
                  <a:lnTo>
                    <a:pt x="0" y="0"/>
                  </a:lnTo>
                  <a:lnTo>
                    <a:pt x="383" y="0"/>
                  </a:lnTo>
                  <a:lnTo>
                    <a:pt x="383" y="88"/>
                  </a:lnTo>
                  <a:lnTo>
                    <a:pt x="386" y="88"/>
                  </a:lnTo>
                  <a:lnTo>
                    <a:pt x="38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ṣḷïḍê">
              <a:extLst>
                <a:ext uri="{FF2B5EF4-FFF2-40B4-BE49-F238E27FC236}">
                  <a16:creationId xmlns:a16="http://schemas.microsoft.com/office/drawing/2014/main" id="{7DBF0EC7-332B-466B-843E-E4E2FDDE6B0F}"/>
                </a:ext>
              </a:extLst>
            </p:cNvPr>
            <p:cNvSpPr/>
            <p:nvPr/>
          </p:nvSpPr>
          <p:spPr bwMode="auto">
            <a:xfrm>
              <a:off x="8427220" y="4104618"/>
              <a:ext cx="458881" cy="104615"/>
            </a:xfrm>
            <a:custGeom>
              <a:avLst/>
              <a:gdLst>
                <a:gd name="T0" fmla="*/ 386 w 386"/>
                <a:gd name="T1" fmla="*/ 0 h 88"/>
                <a:gd name="T2" fmla="*/ 0 w 386"/>
                <a:gd name="T3" fmla="*/ 0 h 88"/>
                <a:gd name="T4" fmla="*/ 383 w 386"/>
                <a:gd name="T5" fmla="*/ 0 h 88"/>
                <a:gd name="T6" fmla="*/ 383 w 386"/>
                <a:gd name="T7" fmla="*/ 88 h 88"/>
                <a:gd name="T8" fmla="*/ 386 w 386"/>
                <a:gd name="T9" fmla="*/ 88 h 88"/>
                <a:gd name="T10" fmla="*/ 386 w 386"/>
                <a:gd name="T1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6" h="88">
                  <a:moveTo>
                    <a:pt x="386" y="0"/>
                  </a:moveTo>
                  <a:lnTo>
                    <a:pt x="0" y="0"/>
                  </a:lnTo>
                  <a:lnTo>
                    <a:pt x="383" y="0"/>
                  </a:lnTo>
                  <a:lnTo>
                    <a:pt x="383" y="88"/>
                  </a:lnTo>
                  <a:lnTo>
                    <a:pt x="386" y="88"/>
                  </a:lnTo>
                  <a:lnTo>
                    <a:pt x="3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iSľïḑe">
              <a:extLst>
                <a:ext uri="{FF2B5EF4-FFF2-40B4-BE49-F238E27FC236}">
                  <a16:creationId xmlns:a16="http://schemas.microsoft.com/office/drawing/2014/main" id="{4CB01ECD-C664-48B6-B164-8ACCFEAF242C}"/>
                </a:ext>
              </a:extLst>
            </p:cNvPr>
            <p:cNvSpPr/>
            <p:nvPr/>
          </p:nvSpPr>
          <p:spPr bwMode="auto">
            <a:xfrm>
              <a:off x="8427220" y="4104618"/>
              <a:ext cx="455314" cy="104615"/>
            </a:xfrm>
            <a:prstGeom prst="rect">
              <a:avLst/>
            </a:pr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sļídè">
              <a:extLst>
                <a:ext uri="{FF2B5EF4-FFF2-40B4-BE49-F238E27FC236}">
                  <a16:creationId xmlns:a16="http://schemas.microsoft.com/office/drawing/2014/main" id="{AC31EB4A-803A-49F6-8B91-001E2EB17F59}"/>
                </a:ext>
              </a:extLst>
            </p:cNvPr>
            <p:cNvSpPr/>
            <p:nvPr/>
          </p:nvSpPr>
          <p:spPr bwMode="auto">
            <a:xfrm>
              <a:off x="8427220" y="4104618"/>
              <a:ext cx="45531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ïşḷiḋé">
              <a:extLst>
                <a:ext uri="{FF2B5EF4-FFF2-40B4-BE49-F238E27FC236}">
                  <a16:creationId xmlns:a16="http://schemas.microsoft.com/office/drawing/2014/main" id="{0AFA8C08-4691-478D-9276-460EA87F6AB3}"/>
                </a:ext>
              </a:extLst>
            </p:cNvPr>
            <p:cNvSpPr/>
            <p:nvPr/>
          </p:nvSpPr>
          <p:spPr bwMode="auto">
            <a:xfrm>
              <a:off x="7207502" y="3437696"/>
              <a:ext cx="937971" cy="59083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Sľîďe">
              <a:extLst>
                <a:ext uri="{FF2B5EF4-FFF2-40B4-BE49-F238E27FC236}">
                  <a16:creationId xmlns:a16="http://schemas.microsoft.com/office/drawing/2014/main" id="{F5576F20-4B8F-45CF-89B4-6FA7B4EA37AF}"/>
                </a:ext>
              </a:extLst>
            </p:cNvPr>
            <p:cNvSpPr/>
            <p:nvPr/>
          </p:nvSpPr>
          <p:spPr bwMode="auto">
            <a:xfrm>
              <a:off x="7227711" y="3459095"/>
              <a:ext cx="876153" cy="54804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ŝḻîḍé">
              <a:extLst>
                <a:ext uri="{FF2B5EF4-FFF2-40B4-BE49-F238E27FC236}">
                  <a16:creationId xmlns:a16="http://schemas.microsoft.com/office/drawing/2014/main" id="{BC8F9B22-E791-4764-BCCB-242094F98B2B}"/>
                </a:ext>
              </a:extLst>
            </p:cNvPr>
            <p:cNvSpPr/>
            <p:nvPr/>
          </p:nvSpPr>
          <p:spPr bwMode="auto">
            <a:xfrm>
              <a:off x="7533235" y="3958395"/>
              <a:ext cx="285314" cy="1462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şľiḓe">
              <a:extLst>
                <a:ext uri="{FF2B5EF4-FFF2-40B4-BE49-F238E27FC236}">
                  <a16:creationId xmlns:a16="http://schemas.microsoft.com/office/drawing/2014/main" id="{C70385A0-A7A4-4B5F-9026-38A5951F79FC}"/>
                </a:ext>
              </a:extLst>
            </p:cNvPr>
            <p:cNvSpPr/>
            <p:nvPr/>
          </p:nvSpPr>
          <p:spPr bwMode="auto">
            <a:xfrm>
              <a:off x="7543934" y="3958395"/>
              <a:ext cx="243706" cy="14622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ślíďè">
              <a:extLst>
                <a:ext uri="{FF2B5EF4-FFF2-40B4-BE49-F238E27FC236}">
                  <a16:creationId xmlns:a16="http://schemas.microsoft.com/office/drawing/2014/main" id="{C007093A-2428-4E17-8106-3868DB016466}"/>
                </a:ext>
              </a:extLst>
            </p:cNvPr>
            <p:cNvSpPr/>
            <p:nvPr/>
          </p:nvSpPr>
          <p:spPr bwMode="auto">
            <a:xfrm>
              <a:off x="8103864" y="3459095"/>
              <a:ext cx="27343" cy="548042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íŝľîḋè">
              <a:extLst>
                <a:ext uri="{FF2B5EF4-FFF2-40B4-BE49-F238E27FC236}">
                  <a16:creationId xmlns:a16="http://schemas.microsoft.com/office/drawing/2014/main" id="{C8A5A57D-C47B-4E92-BD15-99166315D2DE}"/>
                </a:ext>
              </a:extLst>
            </p:cNvPr>
            <p:cNvSpPr/>
            <p:nvPr/>
          </p:nvSpPr>
          <p:spPr bwMode="auto">
            <a:xfrm>
              <a:off x="7784074" y="3958395"/>
              <a:ext cx="20210" cy="146224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şľiḑè">
              <a:extLst>
                <a:ext uri="{FF2B5EF4-FFF2-40B4-BE49-F238E27FC236}">
                  <a16:creationId xmlns:a16="http://schemas.microsoft.com/office/drawing/2014/main" id="{F7B8FAD3-EC05-4CF8-8BDB-7752C10FF67D}"/>
                </a:ext>
              </a:extLst>
            </p:cNvPr>
            <p:cNvSpPr/>
            <p:nvPr/>
          </p:nvSpPr>
          <p:spPr bwMode="auto">
            <a:xfrm>
              <a:off x="7637851" y="3660003"/>
              <a:ext cx="55874" cy="55874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ṩ1iḍê">
              <a:extLst>
                <a:ext uri="{FF2B5EF4-FFF2-40B4-BE49-F238E27FC236}">
                  <a16:creationId xmlns:a16="http://schemas.microsoft.com/office/drawing/2014/main" id="{965BC1D9-542C-42E4-B519-5735546F4F15}"/>
                </a:ext>
              </a:extLst>
            </p:cNvPr>
            <p:cNvSpPr/>
            <p:nvPr/>
          </p:nvSpPr>
          <p:spPr bwMode="auto">
            <a:xfrm>
              <a:off x="6161351" y="3596998"/>
              <a:ext cx="602726" cy="485034"/>
            </a:xfrm>
            <a:custGeom>
              <a:avLst/>
              <a:gdLst>
                <a:gd name="T0" fmla="*/ 124 w 507"/>
                <a:gd name="T1" fmla="*/ 0 h 408"/>
                <a:gd name="T2" fmla="*/ 507 w 507"/>
                <a:gd name="T3" fmla="*/ 164 h 408"/>
                <a:gd name="T4" fmla="*/ 378 w 507"/>
                <a:gd name="T5" fmla="*/ 408 h 408"/>
                <a:gd name="T6" fmla="*/ 0 w 507"/>
                <a:gd name="T7" fmla="*/ 269 h 408"/>
                <a:gd name="T8" fmla="*/ 124 w 507"/>
                <a:gd name="T9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7" h="408">
                  <a:moveTo>
                    <a:pt x="124" y="0"/>
                  </a:moveTo>
                  <a:lnTo>
                    <a:pt x="507" y="164"/>
                  </a:lnTo>
                  <a:lnTo>
                    <a:pt x="378" y="408"/>
                  </a:lnTo>
                  <a:lnTo>
                    <a:pt x="0" y="269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šḷïḋe">
              <a:extLst>
                <a:ext uri="{FF2B5EF4-FFF2-40B4-BE49-F238E27FC236}">
                  <a16:creationId xmlns:a16="http://schemas.microsoft.com/office/drawing/2014/main" id="{DF2CD74C-FD9E-43A0-93A9-659906FCA525}"/>
                </a:ext>
              </a:extLst>
            </p:cNvPr>
            <p:cNvSpPr/>
            <p:nvPr/>
          </p:nvSpPr>
          <p:spPr bwMode="auto">
            <a:xfrm>
              <a:off x="6161351" y="3596998"/>
              <a:ext cx="602726" cy="485034"/>
            </a:xfrm>
            <a:custGeom>
              <a:avLst/>
              <a:gdLst>
                <a:gd name="T0" fmla="*/ 124 w 507"/>
                <a:gd name="T1" fmla="*/ 0 h 408"/>
                <a:gd name="T2" fmla="*/ 507 w 507"/>
                <a:gd name="T3" fmla="*/ 164 h 408"/>
                <a:gd name="T4" fmla="*/ 378 w 507"/>
                <a:gd name="T5" fmla="*/ 408 h 408"/>
                <a:gd name="T6" fmla="*/ 0 w 507"/>
                <a:gd name="T7" fmla="*/ 269 h 408"/>
                <a:gd name="T8" fmla="*/ 124 w 507"/>
                <a:gd name="T9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7" h="408">
                  <a:moveTo>
                    <a:pt x="124" y="0"/>
                  </a:moveTo>
                  <a:lnTo>
                    <a:pt x="507" y="164"/>
                  </a:lnTo>
                  <a:lnTo>
                    <a:pt x="378" y="408"/>
                  </a:lnTo>
                  <a:lnTo>
                    <a:pt x="0" y="269"/>
                  </a:lnTo>
                  <a:lnTo>
                    <a:pt x="1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š1îḑê">
              <a:extLst>
                <a:ext uri="{FF2B5EF4-FFF2-40B4-BE49-F238E27FC236}">
                  <a16:creationId xmlns:a16="http://schemas.microsoft.com/office/drawing/2014/main" id="{0BA013DB-D9DC-438C-A8DF-ADDC15CE506D}"/>
                </a:ext>
              </a:extLst>
            </p:cNvPr>
            <p:cNvSpPr/>
            <p:nvPr/>
          </p:nvSpPr>
          <p:spPr bwMode="auto">
            <a:xfrm>
              <a:off x="6327783" y="4524268"/>
              <a:ext cx="124825" cy="104615"/>
            </a:xfrm>
            <a:prstGeom prst="rect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ş1iḋè">
              <a:extLst>
                <a:ext uri="{FF2B5EF4-FFF2-40B4-BE49-F238E27FC236}">
                  <a16:creationId xmlns:a16="http://schemas.microsoft.com/office/drawing/2014/main" id="{B2FF22A6-F3BA-472B-8A4B-32F718762394}"/>
                </a:ext>
              </a:extLst>
            </p:cNvPr>
            <p:cNvSpPr/>
            <p:nvPr/>
          </p:nvSpPr>
          <p:spPr bwMode="auto">
            <a:xfrm>
              <a:off x="6327783" y="4524268"/>
              <a:ext cx="124825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ŝľîdè">
              <a:extLst>
                <a:ext uri="{FF2B5EF4-FFF2-40B4-BE49-F238E27FC236}">
                  <a16:creationId xmlns:a16="http://schemas.microsoft.com/office/drawing/2014/main" id="{C4F83D7C-DAFE-44E8-A9DC-BC52B185F226}"/>
                </a:ext>
              </a:extLst>
            </p:cNvPr>
            <p:cNvSpPr/>
            <p:nvPr/>
          </p:nvSpPr>
          <p:spPr bwMode="auto">
            <a:xfrm>
              <a:off x="6494217" y="4524268"/>
              <a:ext cx="126014" cy="104615"/>
            </a:xfrm>
            <a:prstGeom prst="rect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şľiḑè">
              <a:extLst>
                <a:ext uri="{FF2B5EF4-FFF2-40B4-BE49-F238E27FC236}">
                  <a16:creationId xmlns:a16="http://schemas.microsoft.com/office/drawing/2014/main" id="{AD496C00-D297-45B1-AFD1-7F7F5534DBEB}"/>
                </a:ext>
              </a:extLst>
            </p:cNvPr>
            <p:cNvSpPr/>
            <p:nvPr/>
          </p:nvSpPr>
          <p:spPr bwMode="auto">
            <a:xfrm>
              <a:off x="6494217" y="4524268"/>
              <a:ext cx="12601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iṩḻíḍe">
              <a:extLst>
                <a:ext uri="{FF2B5EF4-FFF2-40B4-BE49-F238E27FC236}">
                  <a16:creationId xmlns:a16="http://schemas.microsoft.com/office/drawing/2014/main" id="{7D86DF7F-0C05-425F-A4BA-EECDE3502E75}"/>
                </a:ext>
              </a:extLst>
            </p:cNvPr>
            <p:cNvSpPr/>
            <p:nvPr/>
          </p:nvSpPr>
          <p:spPr bwMode="auto">
            <a:xfrm>
              <a:off x="6441910" y="3059656"/>
              <a:ext cx="332866" cy="332866"/>
            </a:xfrm>
            <a:prstGeom prst="ellipse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śľíḓè">
              <a:extLst>
                <a:ext uri="{FF2B5EF4-FFF2-40B4-BE49-F238E27FC236}">
                  <a16:creationId xmlns:a16="http://schemas.microsoft.com/office/drawing/2014/main" id="{0E895F58-52C7-4798-B798-C2C786F6710C}"/>
                </a:ext>
              </a:extLst>
            </p:cNvPr>
            <p:cNvSpPr/>
            <p:nvPr/>
          </p:nvSpPr>
          <p:spPr bwMode="auto">
            <a:xfrm>
              <a:off x="6597643" y="3298605"/>
              <a:ext cx="166434" cy="166434"/>
            </a:xfrm>
            <a:custGeom>
              <a:avLst/>
              <a:gdLst>
                <a:gd name="T0" fmla="*/ 140 w 140"/>
                <a:gd name="T1" fmla="*/ 140 h 140"/>
                <a:gd name="T2" fmla="*/ 17 w 140"/>
                <a:gd name="T3" fmla="*/ 140 h 140"/>
                <a:gd name="T4" fmla="*/ 0 w 140"/>
                <a:gd name="T5" fmla="*/ 0 h 140"/>
                <a:gd name="T6" fmla="*/ 105 w 140"/>
                <a:gd name="T7" fmla="*/ 0 h 140"/>
                <a:gd name="T8" fmla="*/ 140 w 140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40">
                  <a:moveTo>
                    <a:pt x="140" y="140"/>
                  </a:moveTo>
                  <a:lnTo>
                    <a:pt x="17" y="140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40" y="140"/>
                  </a:lnTo>
                  <a:close/>
                </a:path>
              </a:pathLst>
            </a:cu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išľîďé">
              <a:extLst>
                <a:ext uri="{FF2B5EF4-FFF2-40B4-BE49-F238E27FC236}">
                  <a16:creationId xmlns:a16="http://schemas.microsoft.com/office/drawing/2014/main" id="{1E7E3D6D-7651-45D9-83D2-6CE005B2841B}"/>
                </a:ext>
              </a:extLst>
            </p:cNvPr>
            <p:cNvSpPr/>
            <p:nvPr/>
          </p:nvSpPr>
          <p:spPr bwMode="auto">
            <a:xfrm>
              <a:off x="6597643" y="3298605"/>
              <a:ext cx="166434" cy="166434"/>
            </a:xfrm>
            <a:custGeom>
              <a:avLst/>
              <a:gdLst>
                <a:gd name="T0" fmla="*/ 140 w 140"/>
                <a:gd name="T1" fmla="*/ 140 h 140"/>
                <a:gd name="T2" fmla="*/ 17 w 140"/>
                <a:gd name="T3" fmla="*/ 140 h 140"/>
                <a:gd name="T4" fmla="*/ 0 w 140"/>
                <a:gd name="T5" fmla="*/ 0 h 140"/>
                <a:gd name="T6" fmla="*/ 105 w 140"/>
                <a:gd name="T7" fmla="*/ 0 h 140"/>
                <a:gd name="T8" fmla="*/ 140 w 140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40">
                  <a:moveTo>
                    <a:pt x="140" y="140"/>
                  </a:moveTo>
                  <a:lnTo>
                    <a:pt x="17" y="140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40" y="1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ślïḍé">
              <a:extLst>
                <a:ext uri="{FF2B5EF4-FFF2-40B4-BE49-F238E27FC236}">
                  <a16:creationId xmlns:a16="http://schemas.microsoft.com/office/drawing/2014/main" id="{CB7E2B95-F15A-4E54-8A69-72DA14ABE0C3}"/>
                </a:ext>
              </a:extLst>
            </p:cNvPr>
            <p:cNvSpPr/>
            <p:nvPr/>
          </p:nvSpPr>
          <p:spPr bwMode="auto">
            <a:xfrm>
              <a:off x="6162539" y="3922731"/>
              <a:ext cx="767971" cy="645524"/>
            </a:xfrm>
            <a:custGeom>
              <a:avLst/>
              <a:gdLst>
                <a:gd name="T0" fmla="*/ 394 w 442"/>
                <a:gd name="T1" fmla="*/ 0 h 372"/>
                <a:gd name="T2" fmla="*/ 406 w 442"/>
                <a:gd name="T3" fmla="*/ 84 h 372"/>
                <a:gd name="T4" fmla="*/ 131 w 442"/>
                <a:gd name="T5" fmla="*/ 120 h 372"/>
                <a:gd name="T6" fmla="*/ 179 w 442"/>
                <a:gd name="T7" fmla="*/ 372 h 372"/>
                <a:gd name="T8" fmla="*/ 83 w 442"/>
                <a:gd name="T9" fmla="*/ 372 h 372"/>
                <a:gd name="T10" fmla="*/ 31 w 442"/>
                <a:gd name="T11" fmla="*/ 101 h 372"/>
                <a:gd name="T12" fmla="*/ 83 w 442"/>
                <a:gd name="T13" fmla="*/ 24 h 372"/>
                <a:gd name="T14" fmla="*/ 394 w 442"/>
                <a:gd name="T15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372">
                  <a:moveTo>
                    <a:pt x="394" y="0"/>
                  </a:moveTo>
                  <a:cubicBezTo>
                    <a:pt x="394" y="0"/>
                    <a:pt x="442" y="24"/>
                    <a:pt x="406" y="84"/>
                  </a:cubicBezTo>
                  <a:cubicBezTo>
                    <a:pt x="370" y="144"/>
                    <a:pt x="131" y="120"/>
                    <a:pt x="131" y="120"/>
                  </a:cubicBezTo>
                  <a:cubicBezTo>
                    <a:pt x="131" y="120"/>
                    <a:pt x="191" y="264"/>
                    <a:pt x="179" y="372"/>
                  </a:cubicBezTo>
                  <a:cubicBezTo>
                    <a:pt x="83" y="372"/>
                    <a:pt x="83" y="372"/>
                    <a:pt x="83" y="372"/>
                  </a:cubicBezTo>
                  <a:cubicBezTo>
                    <a:pt x="83" y="372"/>
                    <a:pt x="54" y="125"/>
                    <a:pt x="31" y="101"/>
                  </a:cubicBezTo>
                  <a:cubicBezTo>
                    <a:pt x="0" y="70"/>
                    <a:pt x="23" y="12"/>
                    <a:pt x="83" y="24"/>
                  </a:cubicBezTo>
                  <a:cubicBezTo>
                    <a:pt x="143" y="36"/>
                    <a:pt x="394" y="0"/>
                    <a:pt x="39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ṡḷiḓe">
              <a:extLst>
                <a:ext uri="{FF2B5EF4-FFF2-40B4-BE49-F238E27FC236}">
                  <a16:creationId xmlns:a16="http://schemas.microsoft.com/office/drawing/2014/main" id="{9A443A16-CD40-46F5-A6D9-BC012C79460C}"/>
                </a:ext>
              </a:extLst>
            </p:cNvPr>
            <p:cNvSpPr/>
            <p:nvPr/>
          </p:nvSpPr>
          <p:spPr bwMode="auto">
            <a:xfrm>
              <a:off x="6558413" y="4134338"/>
              <a:ext cx="28532" cy="1189"/>
            </a:xfrm>
            <a:custGeom>
              <a:avLst/>
              <a:gdLst>
                <a:gd name="T0" fmla="*/ 0 w 16"/>
                <a:gd name="T1" fmla="*/ 0 h 1"/>
                <a:gd name="T2" fmla="*/ 0 w 16"/>
                <a:gd name="T3" fmla="*/ 1 h 1"/>
                <a:gd name="T4" fmla="*/ 6 w 16"/>
                <a:gd name="T5" fmla="*/ 1 h 1"/>
                <a:gd name="T6" fmla="*/ 16 w 16"/>
                <a:gd name="T7" fmla="*/ 1 h 1"/>
                <a:gd name="T8" fmla="*/ 0 w 1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4" y="1"/>
                    <a:pt x="6" y="1"/>
                  </a:cubicBezTo>
                  <a:cubicBezTo>
                    <a:pt x="9" y="1"/>
                    <a:pt x="13" y="1"/>
                    <a:pt x="16" y="1"/>
                  </a:cubicBezTo>
                  <a:cubicBezTo>
                    <a:pt x="11" y="0"/>
                    <a:pt x="5" y="0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ṧlïḑe">
              <a:extLst>
                <a:ext uri="{FF2B5EF4-FFF2-40B4-BE49-F238E27FC236}">
                  <a16:creationId xmlns:a16="http://schemas.microsoft.com/office/drawing/2014/main" id="{D23E20D2-DB1F-45DC-8037-4F48C3FA59F3}"/>
                </a:ext>
              </a:extLst>
            </p:cNvPr>
            <p:cNvSpPr/>
            <p:nvPr/>
          </p:nvSpPr>
          <p:spPr bwMode="auto">
            <a:xfrm>
              <a:off x="6191070" y="3958395"/>
              <a:ext cx="92727" cy="85595"/>
            </a:xfrm>
            <a:custGeom>
              <a:avLst/>
              <a:gdLst>
                <a:gd name="T0" fmla="*/ 49 w 54"/>
                <a:gd name="T1" fmla="*/ 0 h 49"/>
                <a:gd name="T2" fmla="*/ 1 w 54"/>
                <a:gd name="T3" fmla="*/ 49 h 49"/>
                <a:gd name="T4" fmla="*/ 52 w 54"/>
                <a:gd name="T5" fmla="*/ 1 h 49"/>
                <a:gd name="T6" fmla="*/ 54 w 54"/>
                <a:gd name="T7" fmla="*/ 2 h 49"/>
                <a:gd name="T8" fmla="*/ 49 w 54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49" y="0"/>
                  </a:moveTo>
                  <a:cubicBezTo>
                    <a:pt x="17" y="1"/>
                    <a:pt x="0" y="25"/>
                    <a:pt x="1" y="49"/>
                  </a:cubicBezTo>
                  <a:cubicBezTo>
                    <a:pt x="1" y="25"/>
                    <a:pt x="19" y="1"/>
                    <a:pt x="52" y="1"/>
                  </a:cubicBezTo>
                  <a:cubicBezTo>
                    <a:pt x="53" y="1"/>
                    <a:pt x="53" y="1"/>
                    <a:pt x="54" y="2"/>
                  </a:cubicBezTo>
                  <a:cubicBezTo>
                    <a:pt x="49" y="0"/>
                    <a:pt x="49" y="0"/>
                    <a:pt x="4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ṧļïḑe">
              <a:extLst>
                <a:ext uri="{FF2B5EF4-FFF2-40B4-BE49-F238E27FC236}">
                  <a16:creationId xmlns:a16="http://schemas.microsoft.com/office/drawing/2014/main" id="{6B1FB6A6-085E-416F-B4B3-DE7542DFF766}"/>
                </a:ext>
              </a:extLst>
            </p:cNvPr>
            <p:cNvSpPr/>
            <p:nvPr/>
          </p:nvSpPr>
          <p:spPr bwMode="auto">
            <a:xfrm>
              <a:off x="6275475" y="3957206"/>
              <a:ext cx="22588" cy="4756"/>
            </a:xfrm>
            <a:custGeom>
              <a:avLst/>
              <a:gdLst>
                <a:gd name="T0" fmla="*/ 3 w 13"/>
                <a:gd name="T1" fmla="*/ 0 h 3"/>
                <a:gd name="T2" fmla="*/ 0 w 13"/>
                <a:gd name="T3" fmla="*/ 1 h 3"/>
                <a:gd name="T4" fmla="*/ 5 w 13"/>
                <a:gd name="T5" fmla="*/ 3 h 3"/>
                <a:gd name="T6" fmla="*/ 6 w 13"/>
                <a:gd name="T7" fmla="*/ 3 h 3"/>
                <a:gd name="T8" fmla="*/ 13 w 13"/>
                <a:gd name="T9" fmla="*/ 1 h 3"/>
                <a:gd name="T10" fmla="*/ 3 w 13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"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8" y="2"/>
                    <a:pt x="11" y="2"/>
                    <a:pt x="13" y="1"/>
                  </a:cubicBezTo>
                  <a:cubicBezTo>
                    <a:pt x="9" y="1"/>
                    <a:pt x="6" y="0"/>
                    <a:pt x="3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ṩḻiḑe">
              <a:extLst>
                <a:ext uri="{FF2B5EF4-FFF2-40B4-BE49-F238E27FC236}">
                  <a16:creationId xmlns:a16="http://schemas.microsoft.com/office/drawing/2014/main" id="{68D6B442-CB23-443F-BB50-D1089C6937DD}"/>
                </a:ext>
              </a:extLst>
            </p:cNvPr>
            <p:cNvSpPr/>
            <p:nvPr/>
          </p:nvSpPr>
          <p:spPr bwMode="auto">
            <a:xfrm>
              <a:off x="6192259" y="3960772"/>
              <a:ext cx="149790" cy="602727"/>
            </a:xfrm>
            <a:custGeom>
              <a:avLst/>
              <a:gdLst>
                <a:gd name="T0" fmla="*/ 51 w 86"/>
                <a:gd name="T1" fmla="*/ 0 h 347"/>
                <a:gd name="T2" fmla="*/ 0 w 86"/>
                <a:gd name="T3" fmla="*/ 48 h 347"/>
                <a:gd name="T4" fmla="*/ 14 w 86"/>
                <a:gd name="T5" fmla="*/ 77 h 347"/>
                <a:gd name="T6" fmla="*/ 66 w 86"/>
                <a:gd name="T7" fmla="*/ 347 h 347"/>
                <a:gd name="T8" fmla="*/ 86 w 86"/>
                <a:gd name="T9" fmla="*/ 347 h 347"/>
                <a:gd name="T10" fmla="*/ 33 w 86"/>
                <a:gd name="T11" fmla="*/ 77 h 347"/>
                <a:gd name="T12" fmla="*/ 54 w 86"/>
                <a:gd name="T13" fmla="*/ 1 h 347"/>
                <a:gd name="T14" fmla="*/ 53 w 86"/>
                <a:gd name="T15" fmla="*/ 1 h 347"/>
                <a:gd name="T16" fmla="*/ 51 w 86"/>
                <a:gd name="T17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347">
                  <a:moveTo>
                    <a:pt x="51" y="0"/>
                  </a:moveTo>
                  <a:cubicBezTo>
                    <a:pt x="18" y="0"/>
                    <a:pt x="0" y="24"/>
                    <a:pt x="0" y="48"/>
                  </a:cubicBezTo>
                  <a:cubicBezTo>
                    <a:pt x="1" y="58"/>
                    <a:pt x="5" y="69"/>
                    <a:pt x="14" y="77"/>
                  </a:cubicBezTo>
                  <a:cubicBezTo>
                    <a:pt x="37" y="101"/>
                    <a:pt x="66" y="347"/>
                    <a:pt x="66" y="347"/>
                  </a:cubicBezTo>
                  <a:cubicBezTo>
                    <a:pt x="86" y="347"/>
                    <a:pt x="86" y="347"/>
                    <a:pt x="86" y="347"/>
                  </a:cubicBezTo>
                  <a:cubicBezTo>
                    <a:pt x="86" y="347"/>
                    <a:pt x="57" y="101"/>
                    <a:pt x="33" y="77"/>
                  </a:cubicBezTo>
                  <a:cubicBezTo>
                    <a:pt x="9" y="53"/>
                    <a:pt x="19" y="10"/>
                    <a:pt x="54" y="1"/>
                  </a:cubicBezTo>
                  <a:cubicBezTo>
                    <a:pt x="54" y="1"/>
                    <a:pt x="53" y="1"/>
                    <a:pt x="53" y="1"/>
                  </a:cubicBezTo>
                  <a:cubicBezTo>
                    <a:pt x="52" y="0"/>
                    <a:pt x="52" y="0"/>
                    <a:pt x="51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ŝ1ïḓè">
              <a:extLst>
                <a:ext uri="{FF2B5EF4-FFF2-40B4-BE49-F238E27FC236}">
                  <a16:creationId xmlns:a16="http://schemas.microsoft.com/office/drawing/2014/main" id="{4811C979-0822-415D-91FE-2906E6A0F10F}"/>
                </a:ext>
              </a:extLst>
            </p:cNvPr>
            <p:cNvSpPr/>
            <p:nvPr/>
          </p:nvSpPr>
          <p:spPr bwMode="auto">
            <a:xfrm>
              <a:off x="6161351" y="4608674"/>
              <a:ext cx="332866" cy="103427"/>
            </a:xfrm>
            <a:custGeom>
              <a:avLst/>
              <a:gdLst>
                <a:gd name="T0" fmla="*/ 192 w 192"/>
                <a:gd name="T1" fmla="*/ 0 h 60"/>
                <a:gd name="T2" fmla="*/ 0 w 192"/>
                <a:gd name="T3" fmla="*/ 24 h 60"/>
                <a:gd name="T4" fmla="*/ 24 w 192"/>
                <a:gd name="T5" fmla="*/ 60 h 60"/>
                <a:gd name="T6" fmla="*/ 192 w 192"/>
                <a:gd name="T7" fmla="*/ 60 h 60"/>
                <a:gd name="T8" fmla="*/ 192 w 192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60">
                  <a:moveTo>
                    <a:pt x="192" y="0"/>
                  </a:moveTo>
                  <a:cubicBezTo>
                    <a:pt x="192" y="0"/>
                    <a:pt x="0" y="0"/>
                    <a:pt x="0" y="24"/>
                  </a:cubicBezTo>
                  <a:cubicBezTo>
                    <a:pt x="0" y="48"/>
                    <a:pt x="24" y="60"/>
                    <a:pt x="24" y="60"/>
                  </a:cubicBezTo>
                  <a:cubicBezTo>
                    <a:pt x="192" y="60"/>
                    <a:pt x="192" y="60"/>
                    <a:pt x="192" y="60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ś1idê">
              <a:extLst>
                <a:ext uri="{FF2B5EF4-FFF2-40B4-BE49-F238E27FC236}">
                  <a16:creationId xmlns:a16="http://schemas.microsoft.com/office/drawing/2014/main" id="{15B11CC0-4E4E-4CE4-9938-9D045960C1E5}"/>
                </a:ext>
              </a:extLst>
            </p:cNvPr>
            <p:cNvSpPr/>
            <p:nvPr/>
          </p:nvSpPr>
          <p:spPr bwMode="auto">
            <a:xfrm>
              <a:off x="6157783" y="4606296"/>
              <a:ext cx="332866" cy="95105"/>
            </a:xfrm>
            <a:custGeom>
              <a:avLst/>
              <a:gdLst>
                <a:gd name="T0" fmla="*/ 98 w 192"/>
                <a:gd name="T1" fmla="*/ 3 h 55"/>
                <a:gd name="T2" fmla="*/ 0 w 192"/>
                <a:gd name="T3" fmla="*/ 24 h 55"/>
                <a:gd name="T4" fmla="*/ 16 w 192"/>
                <a:gd name="T5" fmla="*/ 55 h 55"/>
                <a:gd name="T6" fmla="*/ 14 w 192"/>
                <a:gd name="T7" fmla="*/ 52 h 55"/>
                <a:gd name="T8" fmla="*/ 2 w 192"/>
                <a:gd name="T9" fmla="*/ 25 h 55"/>
                <a:gd name="T10" fmla="*/ 98 w 192"/>
                <a:gd name="T11" fmla="*/ 4 h 55"/>
                <a:gd name="T12" fmla="*/ 98 w 192"/>
                <a:gd name="T13" fmla="*/ 3 h 55"/>
                <a:gd name="T14" fmla="*/ 192 w 192"/>
                <a:gd name="T15" fmla="*/ 0 h 55"/>
                <a:gd name="T16" fmla="*/ 170 w 192"/>
                <a:gd name="T17" fmla="*/ 1 h 55"/>
                <a:gd name="T18" fmla="*/ 170 w 192"/>
                <a:gd name="T19" fmla="*/ 2 h 55"/>
                <a:gd name="T20" fmla="*/ 192 w 192"/>
                <a:gd name="T21" fmla="*/ 1 h 55"/>
                <a:gd name="T22" fmla="*/ 192 w 192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2" h="55">
                  <a:moveTo>
                    <a:pt x="98" y="3"/>
                  </a:moveTo>
                  <a:cubicBezTo>
                    <a:pt x="50" y="6"/>
                    <a:pt x="0" y="12"/>
                    <a:pt x="0" y="24"/>
                  </a:cubicBezTo>
                  <a:cubicBezTo>
                    <a:pt x="1" y="36"/>
                    <a:pt x="7" y="47"/>
                    <a:pt x="16" y="55"/>
                  </a:cubicBezTo>
                  <a:cubicBezTo>
                    <a:pt x="15" y="54"/>
                    <a:pt x="14" y="53"/>
                    <a:pt x="14" y="52"/>
                  </a:cubicBezTo>
                  <a:cubicBezTo>
                    <a:pt x="8" y="46"/>
                    <a:pt x="2" y="37"/>
                    <a:pt x="2" y="25"/>
                  </a:cubicBezTo>
                  <a:cubicBezTo>
                    <a:pt x="2" y="13"/>
                    <a:pt x="50" y="7"/>
                    <a:pt x="98" y="4"/>
                  </a:cubicBezTo>
                  <a:cubicBezTo>
                    <a:pt x="98" y="3"/>
                    <a:pt x="98" y="3"/>
                    <a:pt x="98" y="3"/>
                  </a:cubicBezTo>
                  <a:moveTo>
                    <a:pt x="192" y="0"/>
                  </a:moveTo>
                  <a:cubicBezTo>
                    <a:pt x="192" y="0"/>
                    <a:pt x="183" y="0"/>
                    <a:pt x="170" y="1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81" y="1"/>
                    <a:pt x="189" y="1"/>
                    <a:pt x="192" y="1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ṡļíḑê">
              <a:extLst>
                <a:ext uri="{FF2B5EF4-FFF2-40B4-BE49-F238E27FC236}">
                  <a16:creationId xmlns:a16="http://schemas.microsoft.com/office/drawing/2014/main" id="{20D36FE1-DDA0-4E4C-9558-DDDCE44A238A}"/>
                </a:ext>
              </a:extLst>
            </p:cNvPr>
            <p:cNvSpPr/>
            <p:nvPr/>
          </p:nvSpPr>
          <p:spPr bwMode="auto">
            <a:xfrm>
              <a:off x="6327783" y="4608674"/>
              <a:ext cx="124825" cy="4756"/>
            </a:xfrm>
            <a:custGeom>
              <a:avLst/>
              <a:gdLst>
                <a:gd name="T0" fmla="*/ 72 w 72"/>
                <a:gd name="T1" fmla="*/ 0 h 3"/>
                <a:gd name="T2" fmla="*/ 0 w 72"/>
                <a:gd name="T3" fmla="*/ 2 h 3"/>
                <a:gd name="T4" fmla="*/ 0 w 72"/>
                <a:gd name="T5" fmla="*/ 3 h 3"/>
                <a:gd name="T6" fmla="*/ 72 w 72"/>
                <a:gd name="T7" fmla="*/ 1 h 3"/>
                <a:gd name="T8" fmla="*/ 72 w 7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">
                  <a:moveTo>
                    <a:pt x="72" y="0"/>
                  </a:moveTo>
                  <a:cubicBezTo>
                    <a:pt x="54" y="0"/>
                    <a:pt x="27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7" y="2"/>
                    <a:pt x="54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ṡľíḍe">
              <a:extLst>
                <a:ext uri="{FF2B5EF4-FFF2-40B4-BE49-F238E27FC236}">
                  <a16:creationId xmlns:a16="http://schemas.microsoft.com/office/drawing/2014/main" id="{7CA19CF3-9E8F-4A3E-9AC3-B3D3821D92E5}"/>
                </a:ext>
              </a:extLst>
            </p:cNvPr>
            <p:cNvSpPr/>
            <p:nvPr/>
          </p:nvSpPr>
          <p:spPr bwMode="auto">
            <a:xfrm>
              <a:off x="6161351" y="4608674"/>
              <a:ext cx="329301" cy="87971"/>
            </a:xfrm>
            <a:custGeom>
              <a:avLst/>
              <a:gdLst>
                <a:gd name="T0" fmla="*/ 190 w 190"/>
                <a:gd name="T1" fmla="*/ 0 h 51"/>
                <a:gd name="T2" fmla="*/ 168 w 190"/>
                <a:gd name="T3" fmla="*/ 1 h 51"/>
                <a:gd name="T4" fmla="*/ 96 w 190"/>
                <a:gd name="T5" fmla="*/ 3 h 51"/>
                <a:gd name="T6" fmla="*/ 0 w 190"/>
                <a:gd name="T7" fmla="*/ 24 h 51"/>
                <a:gd name="T8" fmla="*/ 12 w 190"/>
                <a:gd name="T9" fmla="*/ 51 h 51"/>
                <a:gd name="T10" fmla="*/ 5 w 190"/>
                <a:gd name="T11" fmla="*/ 30 h 51"/>
                <a:gd name="T12" fmla="*/ 143 w 190"/>
                <a:gd name="T13" fmla="*/ 7 h 51"/>
                <a:gd name="T14" fmla="*/ 190 w 190"/>
                <a:gd name="T15" fmla="*/ 3 h 51"/>
                <a:gd name="T16" fmla="*/ 190 w 190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51">
                  <a:moveTo>
                    <a:pt x="190" y="0"/>
                  </a:moveTo>
                  <a:cubicBezTo>
                    <a:pt x="187" y="0"/>
                    <a:pt x="179" y="0"/>
                    <a:pt x="168" y="1"/>
                  </a:cubicBezTo>
                  <a:cubicBezTo>
                    <a:pt x="150" y="1"/>
                    <a:pt x="123" y="2"/>
                    <a:pt x="96" y="3"/>
                  </a:cubicBezTo>
                  <a:cubicBezTo>
                    <a:pt x="48" y="6"/>
                    <a:pt x="0" y="12"/>
                    <a:pt x="0" y="24"/>
                  </a:cubicBezTo>
                  <a:cubicBezTo>
                    <a:pt x="0" y="36"/>
                    <a:pt x="6" y="45"/>
                    <a:pt x="12" y="51"/>
                  </a:cubicBezTo>
                  <a:cubicBezTo>
                    <a:pt x="7" y="45"/>
                    <a:pt x="5" y="38"/>
                    <a:pt x="5" y="30"/>
                  </a:cubicBezTo>
                  <a:cubicBezTo>
                    <a:pt x="5" y="14"/>
                    <a:pt x="86" y="9"/>
                    <a:pt x="143" y="7"/>
                  </a:cubicBezTo>
                  <a:cubicBezTo>
                    <a:pt x="157" y="5"/>
                    <a:pt x="174" y="4"/>
                    <a:pt x="190" y="3"/>
                  </a:cubicBezTo>
                  <a:cubicBezTo>
                    <a:pt x="190" y="0"/>
                    <a:pt x="190" y="0"/>
                    <a:pt x="19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śḷiďê">
              <a:extLst>
                <a:ext uri="{FF2B5EF4-FFF2-40B4-BE49-F238E27FC236}">
                  <a16:creationId xmlns:a16="http://schemas.microsoft.com/office/drawing/2014/main" id="{943E63D4-08C7-4689-B493-D095B32608FC}"/>
                </a:ext>
              </a:extLst>
            </p:cNvPr>
            <p:cNvSpPr/>
            <p:nvPr/>
          </p:nvSpPr>
          <p:spPr bwMode="auto">
            <a:xfrm>
              <a:off x="6327783" y="3922731"/>
              <a:ext cx="769160" cy="645524"/>
            </a:xfrm>
            <a:custGeom>
              <a:avLst/>
              <a:gdLst>
                <a:gd name="T0" fmla="*/ 395 w 443"/>
                <a:gd name="T1" fmla="*/ 0 h 372"/>
                <a:gd name="T2" fmla="*/ 407 w 443"/>
                <a:gd name="T3" fmla="*/ 84 h 372"/>
                <a:gd name="T4" fmla="*/ 132 w 443"/>
                <a:gd name="T5" fmla="*/ 120 h 372"/>
                <a:gd name="T6" fmla="*/ 180 w 443"/>
                <a:gd name="T7" fmla="*/ 372 h 372"/>
                <a:gd name="T8" fmla="*/ 84 w 443"/>
                <a:gd name="T9" fmla="*/ 372 h 372"/>
                <a:gd name="T10" fmla="*/ 36 w 443"/>
                <a:gd name="T11" fmla="*/ 96 h 372"/>
                <a:gd name="T12" fmla="*/ 84 w 443"/>
                <a:gd name="T13" fmla="*/ 24 h 372"/>
                <a:gd name="T14" fmla="*/ 395 w 443"/>
                <a:gd name="T15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3" h="372">
                  <a:moveTo>
                    <a:pt x="395" y="0"/>
                  </a:moveTo>
                  <a:cubicBezTo>
                    <a:pt x="395" y="0"/>
                    <a:pt x="443" y="24"/>
                    <a:pt x="407" y="84"/>
                  </a:cubicBezTo>
                  <a:cubicBezTo>
                    <a:pt x="371" y="144"/>
                    <a:pt x="132" y="120"/>
                    <a:pt x="132" y="120"/>
                  </a:cubicBezTo>
                  <a:cubicBezTo>
                    <a:pt x="132" y="120"/>
                    <a:pt x="192" y="264"/>
                    <a:pt x="180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4" y="372"/>
                    <a:pt x="72" y="120"/>
                    <a:pt x="36" y="96"/>
                  </a:cubicBezTo>
                  <a:cubicBezTo>
                    <a:pt x="0" y="72"/>
                    <a:pt x="24" y="12"/>
                    <a:pt x="84" y="24"/>
                  </a:cubicBezTo>
                  <a:cubicBezTo>
                    <a:pt x="144" y="36"/>
                    <a:pt x="395" y="0"/>
                    <a:pt x="395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śḻîḋe">
              <a:extLst>
                <a:ext uri="{FF2B5EF4-FFF2-40B4-BE49-F238E27FC236}">
                  <a16:creationId xmlns:a16="http://schemas.microsoft.com/office/drawing/2014/main" id="{1DBD7B53-97E6-41BA-8F47-868FF0C67334}"/>
                </a:ext>
              </a:extLst>
            </p:cNvPr>
            <p:cNvSpPr/>
            <p:nvPr/>
          </p:nvSpPr>
          <p:spPr bwMode="auto">
            <a:xfrm>
              <a:off x="6327783" y="4608674"/>
              <a:ext cx="334056" cy="103427"/>
            </a:xfrm>
            <a:custGeom>
              <a:avLst/>
              <a:gdLst>
                <a:gd name="T0" fmla="*/ 192 w 192"/>
                <a:gd name="T1" fmla="*/ 0 h 60"/>
                <a:gd name="T2" fmla="*/ 0 w 192"/>
                <a:gd name="T3" fmla="*/ 24 h 60"/>
                <a:gd name="T4" fmla="*/ 24 w 192"/>
                <a:gd name="T5" fmla="*/ 60 h 60"/>
                <a:gd name="T6" fmla="*/ 192 w 192"/>
                <a:gd name="T7" fmla="*/ 60 h 60"/>
                <a:gd name="T8" fmla="*/ 192 w 192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60">
                  <a:moveTo>
                    <a:pt x="192" y="0"/>
                  </a:moveTo>
                  <a:cubicBezTo>
                    <a:pt x="192" y="0"/>
                    <a:pt x="0" y="0"/>
                    <a:pt x="0" y="24"/>
                  </a:cubicBezTo>
                  <a:cubicBezTo>
                    <a:pt x="0" y="48"/>
                    <a:pt x="24" y="60"/>
                    <a:pt x="24" y="60"/>
                  </a:cubicBezTo>
                  <a:cubicBezTo>
                    <a:pt x="192" y="60"/>
                    <a:pt x="192" y="60"/>
                    <a:pt x="192" y="60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ṧ1ïḑè">
              <a:extLst>
                <a:ext uri="{FF2B5EF4-FFF2-40B4-BE49-F238E27FC236}">
                  <a16:creationId xmlns:a16="http://schemas.microsoft.com/office/drawing/2014/main" id="{3640E887-4429-48FC-AA36-2CD40170474A}"/>
                </a:ext>
              </a:extLst>
            </p:cNvPr>
            <p:cNvSpPr/>
            <p:nvPr/>
          </p:nvSpPr>
          <p:spPr bwMode="auto">
            <a:xfrm>
              <a:off x="6546525" y="3403220"/>
              <a:ext cx="549230" cy="570628"/>
            </a:xfrm>
            <a:custGeom>
              <a:avLst/>
              <a:gdLst>
                <a:gd name="T0" fmla="*/ 108 w 316"/>
                <a:gd name="T1" fmla="*/ 0 h 329"/>
                <a:gd name="T2" fmla="*/ 138 w 316"/>
                <a:gd name="T3" fmla="*/ 0 h 329"/>
                <a:gd name="T4" fmla="*/ 166 w 316"/>
                <a:gd name="T5" fmla="*/ 37 h 329"/>
                <a:gd name="T6" fmla="*/ 222 w 316"/>
                <a:gd name="T7" fmla="*/ 183 h 329"/>
                <a:gd name="T8" fmla="*/ 300 w 316"/>
                <a:gd name="T9" fmla="*/ 297 h 329"/>
                <a:gd name="T10" fmla="*/ 18 w 316"/>
                <a:gd name="T11" fmla="*/ 328 h 329"/>
                <a:gd name="T12" fmla="*/ 30 w 316"/>
                <a:gd name="T13" fmla="*/ 223 h 329"/>
                <a:gd name="T14" fmla="*/ 31 w 316"/>
                <a:gd name="T15" fmla="*/ 68 h 329"/>
                <a:gd name="T16" fmla="*/ 108 w 316"/>
                <a:gd name="T1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29">
                  <a:moveTo>
                    <a:pt x="108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49" y="0"/>
                    <a:pt x="157" y="29"/>
                    <a:pt x="166" y="37"/>
                  </a:cubicBezTo>
                  <a:cubicBezTo>
                    <a:pt x="184" y="55"/>
                    <a:pt x="172" y="87"/>
                    <a:pt x="222" y="183"/>
                  </a:cubicBezTo>
                  <a:cubicBezTo>
                    <a:pt x="268" y="274"/>
                    <a:pt x="284" y="266"/>
                    <a:pt x="300" y="297"/>
                  </a:cubicBezTo>
                  <a:cubicBezTo>
                    <a:pt x="316" y="329"/>
                    <a:pt x="18" y="328"/>
                    <a:pt x="18" y="328"/>
                  </a:cubicBezTo>
                  <a:cubicBezTo>
                    <a:pt x="18" y="328"/>
                    <a:pt x="33" y="267"/>
                    <a:pt x="30" y="223"/>
                  </a:cubicBezTo>
                  <a:cubicBezTo>
                    <a:pt x="23" y="132"/>
                    <a:pt x="0" y="100"/>
                    <a:pt x="31" y="68"/>
                  </a:cubicBezTo>
                  <a:cubicBezTo>
                    <a:pt x="31" y="68"/>
                    <a:pt x="65" y="0"/>
                    <a:pt x="108" y="0"/>
                  </a:cubicBezTo>
                </a:path>
              </a:pathLst>
            </a:custGeom>
            <a:solidFill>
              <a:srgbClr val="FF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şḷîḓe">
              <a:extLst>
                <a:ext uri="{FF2B5EF4-FFF2-40B4-BE49-F238E27FC236}">
                  <a16:creationId xmlns:a16="http://schemas.microsoft.com/office/drawing/2014/main" id="{CFD30D46-129C-48B3-9DBD-C49E37553E26}"/>
                </a:ext>
              </a:extLst>
            </p:cNvPr>
            <p:cNvSpPr/>
            <p:nvPr/>
          </p:nvSpPr>
          <p:spPr bwMode="auto">
            <a:xfrm>
              <a:off x="6252887" y="3677836"/>
              <a:ext cx="112937" cy="170000"/>
            </a:xfrm>
            <a:custGeom>
              <a:avLst/>
              <a:gdLst>
                <a:gd name="T0" fmla="*/ 57 w 95"/>
                <a:gd name="T1" fmla="*/ 0 h 143"/>
                <a:gd name="T2" fmla="*/ 0 w 95"/>
                <a:gd name="T3" fmla="*/ 124 h 143"/>
                <a:gd name="T4" fmla="*/ 38 w 95"/>
                <a:gd name="T5" fmla="*/ 143 h 143"/>
                <a:gd name="T6" fmla="*/ 95 w 95"/>
                <a:gd name="T7" fmla="*/ 19 h 143"/>
                <a:gd name="T8" fmla="*/ 57 w 95"/>
                <a:gd name="T9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43">
                  <a:moveTo>
                    <a:pt x="57" y="0"/>
                  </a:moveTo>
                  <a:lnTo>
                    <a:pt x="0" y="124"/>
                  </a:lnTo>
                  <a:lnTo>
                    <a:pt x="38" y="143"/>
                  </a:lnTo>
                  <a:lnTo>
                    <a:pt x="95" y="19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ṥḷïďe">
              <a:extLst>
                <a:ext uri="{FF2B5EF4-FFF2-40B4-BE49-F238E27FC236}">
                  <a16:creationId xmlns:a16="http://schemas.microsoft.com/office/drawing/2014/main" id="{C9895484-6935-4DF8-B895-C7F8E49E5B74}"/>
                </a:ext>
              </a:extLst>
            </p:cNvPr>
            <p:cNvSpPr/>
            <p:nvPr/>
          </p:nvSpPr>
          <p:spPr bwMode="auto">
            <a:xfrm>
              <a:off x="6441910" y="3230844"/>
              <a:ext cx="168811" cy="172378"/>
            </a:xfrm>
            <a:custGeom>
              <a:avLst/>
              <a:gdLst>
                <a:gd name="T0" fmla="*/ 0 w 97"/>
                <a:gd name="T1" fmla="*/ 0 h 99"/>
                <a:gd name="T2" fmla="*/ 0 w 97"/>
                <a:gd name="T3" fmla="*/ 4 h 99"/>
                <a:gd name="T4" fmla="*/ 95 w 97"/>
                <a:gd name="T5" fmla="*/ 99 h 99"/>
                <a:gd name="T6" fmla="*/ 96 w 97"/>
                <a:gd name="T7" fmla="*/ 99 h 99"/>
                <a:gd name="T8" fmla="*/ 97 w 97"/>
                <a:gd name="T9" fmla="*/ 99 h 99"/>
                <a:gd name="T10" fmla="*/ 97 w 97"/>
                <a:gd name="T11" fmla="*/ 98 h 99"/>
                <a:gd name="T12" fmla="*/ 75 w 97"/>
                <a:gd name="T13" fmla="*/ 90 h 99"/>
                <a:gd name="T14" fmla="*/ 0 w 97"/>
                <a:gd name="T15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99">
                  <a:moveTo>
                    <a:pt x="0" y="0"/>
                  </a:moveTo>
                  <a:cubicBezTo>
                    <a:pt x="0" y="1"/>
                    <a:pt x="0" y="2"/>
                    <a:pt x="0" y="4"/>
                  </a:cubicBezTo>
                  <a:cubicBezTo>
                    <a:pt x="0" y="56"/>
                    <a:pt x="43" y="99"/>
                    <a:pt x="95" y="99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96" y="99"/>
                    <a:pt x="97" y="99"/>
                    <a:pt x="97" y="99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89" y="96"/>
                    <a:pt x="82" y="94"/>
                    <a:pt x="75" y="90"/>
                  </a:cubicBezTo>
                  <a:cubicBezTo>
                    <a:pt x="33" y="81"/>
                    <a:pt x="1" y="44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ṧlïďè">
              <a:extLst>
                <a:ext uri="{FF2B5EF4-FFF2-40B4-BE49-F238E27FC236}">
                  <a16:creationId xmlns:a16="http://schemas.microsoft.com/office/drawing/2014/main" id="{DA818537-C520-476D-8703-6F485507192E}"/>
                </a:ext>
              </a:extLst>
            </p:cNvPr>
            <p:cNvSpPr/>
            <p:nvPr/>
          </p:nvSpPr>
          <p:spPr bwMode="auto">
            <a:xfrm>
              <a:off x="6441910" y="3133361"/>
              <a:ext cx="130769" cy="254405"/>
            </a:xfrm>
            <a:custGeom>
              <a:avLst/>
              <a:gdLst>
                <a:gd name="T0" fmla="*/ 20 w 75"/>
                <a:gd name="T1" fmla="*/ 0 h 146"/>
                <a:gd name="T2" fmla="*/ 0 w 75"/>
                <a:gd name="T3" fmla="*/ 56 h 146"/>
                <a:gd name="T4" fmla="*/ 75 w 75"/>
                <a:gd name="T5" fmla="*/ 146 h 146"/>
                <a:gd name="T6" fmla="*/ 20 w 75"/>
                <a:gd name="T7" fmla="*/ 69 h 146"/>
                <a:gd name="T8" fmla="*/ 37 w 75"/>
                <a:gd name="T9" fmla="*/ 3 h 146"/>
                <a:gd name="T10" fmla="*/ 20 w 75"/>
                <a:gd name="T11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46">
                  <a:moveTo>
                    <a:pt x="20" y="0"/>
                  </a:moveTo>
                  <a:cubicBezTo>
                    <a:pt x="8" y="16"/>
                    <a:pt x="1" y="35"/>
                    <a:pt x="0" y="56"/>
                  </a:cubicBezTo>
                  <a:cubicBezTo>
                    <a:pt x="1" y="100"/>
                    <a:pt x="33" y="137"/>
                    <a:pt x="75" y="146"/>
                  </a:cubicBezTo>
                  <a:cubicBezTo>
                    <a:pt x="45" y="133"/>
                    <a:pt x="23" y="104"/>
                    <a:pt x="20" y="69"/>
                  </a:cubicBezTo>
                  <a:cubicBezTo>
                    <a:pt x="17" y="45"/>
                    <a:pt x="24" y="22"/>
                    <a:pt x="37" y="3"/>
                  </a:cubicBezTo>
                  <a:cubicBezTo>
                    <a:pt x="31" y="3"/>
                    <a:pt x="26" y="2"/>
                    <a:pt x="20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Sliḋê">
              <a:extLst>
                <a:ext uri="{FF2B5EF4-FFF2-40B4-BE49-F238E27FC236}">
                  <a16:creationId xmlns:a16="http://schemas.microsoft.com/office/drawing/2014/main" id="{D7E397AE-7BEC-44C5-B209-A2CC3F83ABD6}"/>
                </a:ext>
              </a:extLst>
            </p:cNvPr>
            <p:cNvSpPr/>
            <p:nvPr/>
          </p:nvSpPr>
          <p:spPr bwMode="auto">
            <a:xfrm>
              <a:off x="6610720" y="3400843"/>
              <a:ext cx="14266" cy="2378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0 w 8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1"/>
                    <a:pt x="8" y="1"/>
                  </a:cubicBezTo>
                  <a:cubicBezTo>
                    <a:pt x="5" y="1"/>
                    <a:pt x="3" y="0"/>
                    <a:pt x="0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ŝlídê">
              <a:extLst>
                <a:ext uri="{FF2B5EF4-FFF2-40B4-BE49-F238E27FC236}">
                  <a16:creationId xmlns:a16="http://schemas.microsoft.com/office/drawing/2014/main" id="{F1EFC3C5-9153-4EC6-8496-6A796E8A0159}"/>
                </a:ext>
              </a:extLst>
            </p:cNvPr>
            <p:cNvSpPr/>
            <p:nvPr/>
          </p:nvSpPr>
          <p:spPr bwMode="auto">
            <a:xfrm>
              <a:off x="6402678" y="2951473"/>
              <a:ext cx="569440" cy="411328"/>
            </a:xfrm>
            <a:custGeom>
              <a:avLst/>
              <a:gdLst>
                <a:gd name="T0" fmla="*/ 14 w 328"/>
                <a:gd name="T1" fmla="*/ 53 h 237"/>
                <a:gd name="T2" fmla="*/ 50 w 328"/>
                <a:gd name="T3" fmla="*/ 37 h 237"/>
                <a:gd name="T4" fmla="*/ 108 w 328"/>
                <a:gd name="T5" fmla="*/ 21 h 237"/>
                <a:gd name="T6" fmla="*/ 160 w 328"/>
                <a:gd name="T7" fmla="*/ 12 h 237"/>
                <a:gd name="T8" fmla="*/ 192 w 328"/>
                <a:gd name="T9" fmla="*/ 17 h 237"/>
                <a:gd name="T10" fmla="*/ 206 w 328"/>
                <a:gd name="T11" fmla="*/ 12 h 237"/>
                <a:gd name="T12" fmla="*/ 251 w 328"/>
                <a:gd name="T13" fmla="*/ 2 h 237"/>
                <a:gd name="T14" fmla="*/ 295 w 328"/>
                <a:gd name="T15" fmla="*/ 11 h 237"/>
                <a:gd name="T16" fmla="*/ 312 w 328"/>
                <a:gd name="T17" fmla="*/ 86 h 237"/>
                <a:gd name="T18" fmla="*/ 299 w 328"/>
                <a:gd name="T19" fmla="*/ 99 h 237"/>
                <a:gd name="T20" fmla="*/ 268 w 328"/>
                <a:gd name="T21" fmla="*/ 113 h 237"/>
                <a:gd name="T22" fmla="*/ 261 w 328"/>
                <a:gd name="T23" fmla="*/ 167 h 237"/>
                <a:gd name="T24" fmla="*/ 235 w 328"/>
                <a:gd name="T25" fmla="*/ 210 h 237"/>
                <a:gd name="T26" fmla="*/ 210 w 328"/>
                <a:gd name="T27" fmla="*/ 232 h 237"/>
                <a:gd name="T28" fmla="*/ 179 w 328"/>
                <a:gd name="T29" fmla="*/ 228 h 237"/>
                <a:gd name="T30" fmla="*/ 169 w 328"/>
                <a:gd name="T31" fmla="*/ 206 h 237"/>
                <a:gd name="T32" fmla="*/ 129 w 328"/>
                <a:gd name="T33" fmla="*/ 119 h 237"/>
                <a:gd name="T34" fmla="*/ 73 w 328"/>
                <a:gd name="T35" fmla="*/ 109 h 237"/>
                <a:gd name="T36" fmla="*/ 22 w 328"/>
                <a:gd name="T37" fmla="*/ 98 h 237"/>
                <a:gd name="T38" fmla="*/ 9 w 328"/>
                <a:gd name="T39" fmla="*/ 89 h 237"/>
                <a:gd name="T40" fmla="*/ 14 w 328"/>
                <a:gd name="T41" fmla="*/ 53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8" h="237">
                  <a:moveTo>
                    <a:pt x="14" y="53"/>
                  </a:moveTo>
                  <a:cubicBezTo>
                    <a:pt x="24" y="44"/>
                    <a:pt x="37" y="40"/>
                    <a:pt x="50" y="37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25" y="17"/>
                    <a:pt x="143" y="12"/>
                    <a:pt x="160" y="12"/>
                  </a:cubicBezTo>
                  <a:cubicBezTo>
                    <a:pt x="171" y="12"/>
                    <a:pt x="182" y="14"/>
                    <a:pt x="192" y="17"/>
                  </a:cubicBezTo>
                  <a:cubicBezTo>
                    <a:pt x="197" y="15"/>
                    <a:pt x="203" y="14"/>
                    <a:pt x="206" y="12"/>
                  </a:cubicBezTo>
                  <a:cubicBezTo>
                    <a:pt x="221" y="7"/>
                    <a:pt x="235" y="4"/>
                    <a:pt x="251" y="2"/>
                  </a:cubicBezTo>
                  <a:cubicBezTo>
                    <a:pt x="266" y="0"/>
                    <a:pt x="281" y="3"/>
                    <a:pt x="295" y="11"/>
                  </a:cubicBezTo>
                  <a:cubicBezTo>
                    <a:pt x="320" y="27"/>
                    <a:pt x="328" y="60"/>
                    <a:pt x="312" y="86"/>
                  </a:cubicBezTo>
                  <a:cubicBezTo>
                    <a:pt x="309" y="91"/>
                    <a:pt x="304" y="96"/>
                    <a:pt x="299" y="99"/>
                  </a:cubicBezTo>
                  <a:cubicBezTo>
                    <a:pt x="290" y="106"/>
                    <a:pt x="279" y="111"/>
                    <a:pt x="268" y="113"/>
                  </a:cubicBezTo>
                  <a:cubicBezTo>
                    <a:pt x="270" y="131"/>
                    <a:pt x="267" y="149"/>
                    <a:pt x="261" y="167"/>
                  </a:cubicBezTo>
                  <a:cubicBezTo>
                    <a:pt x="255" y="182"/>
                    <a:pt x="246" y="197"/>
                    <a:pt x="235" y="210"/>
                  </a:cubicBezTo>
                  <a:cubicBezTo>
                    <a:pt x="228" y="219"/>
                    <a:pt x="221" y="228"/>
                    <a:pt x="210" y="232"/>
                  </a:cubicBezTo>
                  <a:cubicBezTo>
                    <a:pt x="200" y="237"/>
                    <a:pt x="187" y="236"/>
                    <a:pt x="179" y="228"/>
                  </a:cubicBezTo>
                  <a:cubicBezTo>
                    <a:pt x="173" y="222"/>
                    <a:pt x="171" y="214"/>
                    <a:pt x="169" y="206"/>
                  </a:cubicBezTo>
                  <a:cubicBezTo>
                    <a:pt x="163" y="173"/>
                    <a:pt x="157" y="136"/>
                    <a:pt x="129" y="119"/>
                  </a:cubicBezTo>
                  <a:cubicBezTo>
                    <a:pt x="112" y="108"/>
                    <a:pt x="92" y="109"/>
                    <a:pt x="73" y="109"/>
                  </a:cubicBezTo>
                  <a:cubicBezTo>
                    <a:pt x="55" y="109"/>
                    <a:pt x="38" y="105"/>
                    <a:pt x="22" y="98"/>
                  </a:cubicBezTo>
                  <a:cubicBezTo>
                    <a:pt x="17" y="96"/>
                    <a:pt x="13" y="93"/>
                    <a:pt x="9" y="89"/>
                  </a:cubicBezTo>
                  <a:cubicBezTo>
                    <a:pt x="0" y="79"/>
                    <a:pt x="4" y="62"/>
                    <a:pt x="14" y="53"/>
                  </a:cubicBezTo>
                </a:path>
              </a:pathLst>
            </a:custGeom>
            <a:solidFill>
              <a:srgbClr val="FCCC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$ḷiḋé">
              <a:extLst>
                <a:ext uri="{FF2B5EF4-FFF2-40B4-BE49-F238E27FC236}">
                  <a16:creationId xmlns:a16="http://schemas.microsoft.com/office/drawing/2014/main" id="{F5E69C02-B700-42F8-B099-FA0BAEB5FBF9}"/>
                </a:ext>
              </a:extLst>
            </p:cNvPr>
            <p:cNvSpPr/>
            <p:nvPr/>
          </p:nvSpPr>
          <p:spPr bwMode="auto">
            <a:xfrm>
              <a:off x="6682049" y="2953852"/>
              <a:ext cx="278181" cy="103427"/>
            </a:xfrm>
            <a:custGeom>
              <a:avLst/>
              <a:gdLst>
                <a:gd name="T0" fmla="*/ 155 w 160"/>
                <a:gd name="T1" fmla="*/ 36 h 60"/>
                <a:gd name="T2" fmla="*/ 159 w 160"/>
                <a:gd name="T3" fmla="*/ 60 h 60"/>
                <a:gd name="T4" fmla="*/ 159 w 160"/>
                <a:gd name="T5" fmla="*/ 53 h 60"/>
                <a:gd name="T6" fmla="*/ 155 w 160"/>
                <a:gd name="T7" fmla="*/ 36 h 60"/>
                <a:gd name="T8" fmla="*/ 0 w 160"/>
                <a:gd name="T9" fmla="*/ 11 h 60"/>
                <a:gd name="T10" fmla="*/ 0 w 160"/>
                <a:gd name="T11" fmla="*/ 11 h 60"/>
                <a:gd name="T12" fmla="*/ 31 w 160"/>
                <a:gd name="T13" fmla="*/ 16 h 60"/>
                <a:gd name="T14" fmla="*/ 32 w 160"/>
                <a:gd name="T15" fmla="*/ 16 h 60"/>
                <a:gd name="T16" fmla="*/ 0 w 160"/>
                <a:gd name="T17" fmla="*/ 11 h 60"/>
                <a:gd name="T18" fmla="*/ 98 w 160"/>
                <a:gd name="T19" fmla="*/ 0 h 60"/>
                <a:gd name="T20" fmla="*/ 98 w 160"/>
                <a:gd name="T21" fmla="*/ 0 h 60"/>
                <a:gd name="T22" fmla="*/ 134 w 160"/>
                <a:gd name="T23" fmla="*/ 10 h 60"/>
                <a:gd name="T24" fmla="*/ 141 w 160"/>
                <a:gd name="T25" fmla="*/ 16 h 60"/>
                <a:gd name="T26" fmla="*/ 134 w 160"/>
                <a:gd name="T27" fmla="*/ 10 h 60"/>
                <a:gd name="T28" fmla="*/ 98 w 160"/>
                <a:gd name="T2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" h="60">
                  <a:moveTo>
                    <a:pt x="155" y="36"/>
                  </a:moveTo>
                  <a:cubicBezTo>
                    <a:pt x="158" y="44"/>
                    <a:pt x="160" y="52"/>
                    <a:pt x="159" y="60"/>
                  </a:cubicBezTo>
                  <a:cubicBezTo>
                    <a:pt x="159" y="58"/>
                    <a:pt x="159" y="55"/>
                    <a:pt x="159" y="53"/>
                  </a:cubicBezTo>
                  <a:cubicBezTo>
                    <a:pt x="159" y="47"/>
                    <a:pt x="157" y="41"/>
                    <a:pt x="155" y="36"/>
                  </a:cubicBezTo>
                  <a:moveTo>
                    <a:pt x="0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0" y="11"/>
                    <a:pt x="21" y="13"/>
                    <a:pt x="31" y="16"/>
                  </a:cubicBezTo>
                  <a:cubicBezTo>
                    <a:pt x="31" y="16"/>
                    <a:pt x="32" y="16"/>
                    <a:pt x="32" y="16"/>
                  </a:cubicBezTo>
                  <a:cubicBezTo>
                    <a:pt x="21" y="13"/>
                    <a:pt x="10" y="11"/>
                    <a:pt x="0" y="11"/>
                  </a:cubicBezTo>
                  <a:moveTo>
                    <a:pt x="98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110" y="0"/>
                    <a:pt x="123" y="4"/>
                    <a:pt x="134" y="10"/>
                  </a:cubicBezTo>
                  <a:cubicBezTo>
                    <a:pt x="137" y="12"/>
                    <a:pt x="139" y="14"/>
                    <a:pt x="141" y="16"/>
                  </a:cubicBezTo>
                  <a:cubicBezTo>
                    <a:pt x="139" y="14"/>
                    <a:pt x="137" y="12"/>
                    <a:pt x="134" y="10"/>
                  </a:cubicBezTo>
                  <a:cubicBezTo>
                    <a:pt x="123" y="4"/>
                    <a:pt x="110" y="0"/>
                    <a:pt x="9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ṡļîḑè">
              <a:extLst>
                <a:ext uri="{FF2B5EF4-FFF2-40B4-BE49-F238E27FC236}">
                  <a16:creationId xmlns:a16="http://schemas.microsoft.com/office/drawing/2014/main" id="{D4A9404A-0D88-4DF5-9440-804367D0DE23}"/>
                </a:ext>
              </a:extLst>
            </p:cNvPr>
            <p:cNvSpPr/>
            <p:nvPr/>
          </p:nvSpPr>
          <p:spPr bwMode="auto">
            <a:xfrm>
              <a:off x="6407434" y="2953852"/>
              <a:ext cx="552797" cy="140280"/>
            </a:xfrm>
            <a:custGeom>
              <a:avLst/>
              <a:gdLst>
                <a:gd name="T0" fmla="*/ 256 w 318"/>
                <a:gd name="T1" fmla="*/ 0 h 81"/>
                <a:gd name="T2" fmla="*/ 248 w 318"/>
                <a:gd name="T3" fmla="*/ 1 h 81"/>
                <a:gd name="T4" fmla="*/ 203 w 318"/>
                <a:gd name="T5" fmla="*/ 11 h 81"/>
                <a:gd name="T6" fmla="*/ 190 w 318"/>
                <a:gd name="T7" fmla="*/ 16 h 81"/>
                <a:gd name="T8" fmla="*/ 190 w 318"/>
                <a:gd name="T9" fmla="*/ 16 h 81"/>
                <a:gd name="T10" fmla="*/ 189 w 318"/>
                <a:gd name="T11" fmla="*/ 16 h 81"/>
                <a:gd name="T12" fmla="*/ 158 w 318"/>
                <a:gd name="T13" fmla="*/ 11 h 81"/>
                <a:gd name="T14" fmla="*/ 105 w 318"/>
                <a:gd name="T15" fmla="*/ 20 h 81"/>
                <a:gd name="T16" fmla="*/ 47 w 318"/>
                <a:gd name="T17" fmla="*/ 36 h 81"/>
                <a:gd name="T18" fmla="*/ 11 w 318"/>
                <a:gd name="T19" fmla="*/ 52 h 81"/>
                <a:gd name="T20" fmla="*/ 2 w 318"/>
                <a:gd name="T21" fmla="*/ 81 h 81"/>
                <a:gd name="T22" fmla="*/ 11 w 318"/>
                <a:gd name="T23" fmla="*/ 65 h 81"/>
                <a:gd name="T24" fmla="*/ 47 w 318"/>
                <a:gd name="T25" fmla="*/ 49 h 81"/>
                <a:gd name="T26" fmla="*/ 105 w 318"/>
                <a:gd name="T27" fmla="*/ 33 h 81"/>
                <a:gd name="T28" fmla="*/ 158 w 318"/>
                <a:gd name="T29" fmla="*/ 24 h 81"/>
                <a:gd name="T30" fmla="*/ 190 w 318"/>
                <a:gd name="T31" fmla="*/ 29 h 81"/>
                <a:gd name="T32" fmla="*/ 203 w 318"/>
                <a:gd name="T33" fmla="*/ 25 h 81"/>
                <a:gd name="T34" fmla="*/ 248 w 318"/>
                <a:gd name="T35" fmla="*/ 14 h 81"/>
                <a:gd name="T36" fmla="*/ 256 w 318"/>
                <a:gd name="T37" fmla="*/ 13 h 81"/>
                <a:gd name="T38" fmla="*/ 292 w 318"/>
                <a:gd name="T39" fmla="*/ 23 h 81"/>
                <a:gd name="T40" fmla="*/ 317 w 318"/>
                <a:gd name="T41" fmla="*/ 62 h 81"/>
                <a:gd name="T42" fmla="*/ 317 w 318"/>
                <a:gd name="T43" fmla="*/ 60 h 81"/>
                <a:gd name="T44" fmla="*/ 313 w 318"/>
                <a:gd name="T45" fmla="*/ 36 h 81"/>
                <a:gd name="T46" fmla="*/ 299 w 318"/>
                <a:gd name="T47" fmla="*/ 16 h 81"/>
                <a:gd name="T48" fmla="*/ 292 w 318"/>
                <a:gd name="T49" fmla="*/ 10 h 81"/>
                <a:gd name="T50" fmla="*/ 256 w 318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8" h="81">
                  <a:moveTo>
                    <a:pt x="256" y="0"/>
                  </a:moveTo>
                  <a:cubicBezTo>
                    <a:pt x="253" y="0"/>
                    <a:pt x="250" y="0"/>
                    <a:pt x="248" y="1"/>
                  </a:cubicBezTo>
                  <a:cubicBezTo>
                    <a:pt x="233" y="3"/>
                    <a:pt x="218" y="6"/>
                    <a:pt x="203" y="11"/>
                  </a:cubicBezTo>
                  <a:cubicBezTo>
                    <a:pt x="200" y="13"/>
                    <a:pt x="194" y="14"/>
                    <a:pt x="190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89" y="16"/>
                    <a:pt x="189" y="16"/>
                  </a:cubicBezTo>
                  <a:cubicBezTo>
                    <a:pt x="179" y="13"/>
                    <a:pt x="168" y="11"/>
                    <a:pt x="158" y="11"/>
                  </a:cubicBezTo>
                  <a:cubicBezTo>
                    <a:pt x="140" y="11"/>
                    <a:pt x="122" y="16"/>
                    <a:pt x="105" y="20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34" y="39"/>
                    <a:pt x="21" y="43"/>
                    <a:pt x="11" y="52"/>
                  </a:cubicBezTo>
                  <a:cubicBezTo>
                    <a:pt x="3" y="60"/>
                    <a:pt x="0" y="70"/>
                    <a:pt x="2" y="81"/>
                  </a:cubicBezTo>
                  <a:cubicBezTo>
                    <a:pt x="4" y="75"/>
                    <a:pt x="7" y="70"/>
                    <a:pt x="11" y="65"/>
                  </a:cubicBezTo>
                  <a:cubicBezTo>
                    <a:pt x="21" y="56"/>
                    <a:pt x="34" y="52"/>
                    <a:pt x="47" y="49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22" y="29"/>
                    <a:pt x="140" y="24"/>
                    <a:pt x="158" y="24"/>
                  </a:cubicBezTo>
                  <a:cubicBezTo>
                    <a:pt x="168" y="24"/>
                    <a:pt x="179" y="26"/>
                    <a:pt x="190" y="29"/>
                  </a:cubicBezTo>
                  <a:cubicBezTo>
                    <a:pt x="194" y="27"/>
                    <a:pt x="200" y="26"/>
                    <a:pt x="203" y="25"/>
                  </a:cubicBezTo>
                  <a:cubicBezTo>
                    <a:pt x="218" y="19"/>
                    <a:pt x="233" y="16"/>
                    <a:pt x="248" y="14"/>
                  </a:cubicBezTo>
                  <a:cubicBezTo>
                    <a:pt x="250" y="14"/>
                    <a:pt x="253" y="13"/>
                    <a:pt x="256" y="13"/>
                  </a:cubicBezTo>
                  <a:cubicBezTo>
                    <a:pt x="268" y="13"/>
                    <a:pt x="281" y="17"/>
                    <a:pt x="292" y="23"/>
                  </a:cubicBezTo>
                  <a:cubicBezTo>
                    <a:pt x="305" y="32"/>
                    <a:pt x="315" y="46"/>
                    <a:pt x="317" y="62"/>
                  </a:cubicBezTo>
                  <a:cubicBezTo>
                    <a:pt x="317" y="62"/>
                    <a:pt x="317" y="61"/>
                    <a:pt x="317" y="60"/>
                  </a:cubicBezTo>
                  <a:cubicBezTo>
                    <a:pt x="318" y="52"/>
                    <a:pt x="316" y="44"/>
                    <a:pt x="313" y="36"/>
                  </a:cubicBezTo>
                  <a:cubicBezTo>
                    <a:pt x="310" y="28"/>
                    <a:pt x="306" y="21"/>
                    <a:pt x="299" y="16"/>
                  </a:cubicBezTo>
                  <a:cubicBezTo>
                    <a:pt x="297" y="14"/>
                    <a:pt x="295" y="12"/>
                    <a:pt x="292" y="10"/>
                  </a:cubicBezTo>
                  <a:cubicBezTo>
                    <a:pt x="281" y="4"/>
                    <a:pt x="268" y="0"/>
                    <a:pt x="256" y="0"/>
                  </a:cubicBezTo>
                </a:path>
              </a:pathLst>
            </a:custGeom>
            <a:solidFill>
              <a:srgbClr val="FDD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şľîḓè">
              <a:extLst>
                <a:ext uri="{FF2B5EF4-FFF2-40B4-BE49-F238E27FC236}">
                  <a16:creationId xmlns:a16="http://schemas.microsoft.com/office/drawing/2014/main" id="{219D026B-256C-48CE-A514-53A56B7B9CDE}"/>
                </a:ext>
              </a:extLst>
            </p:cNvPr>
            <p:cNvSpPr/>
            <p:nvPr/>
          </p:nvSpPr>
          <p:spPr bwMode="auto">
            <a:xfrm>
              <a:off x="6868691" y="3170214"/>
              <a:ext cx="0" cy="8322"/>
            </a:xfrm>
            <a:custGeom>
              <a:avLst/>
              <a:gdLst>
                <a:gd name="T0" fmla="*/ 0 h 5"/>
                <a:gd name="T1" fmla="*/ 0 h 5"/>
                <a:gd name="T2" fmla="*/ 2 h 5"/>
                <a:gd name="T3" fmla="*/ 5 h 5"/>
                <a:gd name="T4" fmla="*/ 0 h 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3"/>
                    <a:pt x="0" y="2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$ḻîḍé">
              <a:extLst>
                <a:ext uri="{FF2B5EF4-FFF2-40B4-BE49-F238E27FC236}">
                  <a16:creationId xmlns:a16="http://schemas.microsoft.com/office/drawing/2014/main" id="{6EC836AB-0D33-4B9F-A142-85AD97CC9566}"/>
                </a:ext>
              </a:extLst>
            </p:cNvPr>
            <p:cNvSpPr/>
            <p:nvPr/>
          </p:nvSpPr>
          <p:spPr bwMode="auto">
            <a:xfrm>
              <a:off x="6868691" y="3170214"/>
              <a:ext cx="0" cy="3567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FDD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şḷïḍe">
              <a:extLst>
                <a:ext uri="{FF2B5EF4-FFF2-40B4-BE49-F238E27FC236}">
                  <a16:creationId xmlns:a16="http://schemas.microsoft.com/office/drawing/2014/main" id="{F582A103-E378-4126-830D-3BDABAF5FD4A}"/>
                </a:ext>
              </a:extLst>
            </p:cNvPr>
            <p:cNvSpPr/>
            <p:nvPr/>
          </p:nvSpPr>
          <p:spPr bwMode="auto">
            <a:xfrm>
              <a:off x="6572678" y="3591052"/>
              <a:ext cx="17832" cy="126014"/>
            </a:xfrm>
            <a:custGeom>
              <a:avLst/>
              <a:gdLst>
                <a:gd name="T0" fmla="*/ 0 w 10"/>
                <a:gd name="T1" fmla="*/ 0 h 73"/>
                <a:gd name="T2" fmla="*/ 10 w 10"/>
                <a:gd name="T3" fmla="*/ 73 h 73"/>
                <a:gd name="T4" fmla="*/ 10 w 10"/>
                <a:gd name="T5" fmla="*/ 73 h 73"/>
                <a:gd name="T6" fmla="*/ 0 w 10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3">
                  <a:moveTo>
                    <a:pt x="0" y="0"/>
                  </a:moveTo>
                  <a:cubicBezTo>
                    <a:pt x="0" y="18"/>
                    <a:pt x="6" y="41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6" y="41"/>
                    <a:pt x="0" y="18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Sľïďé">
              <a:extLst>
                <a:ext uri="{FF2B5EF4-FFF2-40B4-BE49-F238E27FC236}">
                  <a16:creationId xmlns:a16="http://schemas.microsoft.com/office/drawing/2014/main" id="{27955438-150D-46F2-AF80-338AC84CB1C6}"/>
                </a:ext>
              </a:extLst>
            </p:cNvPr>
            <p:cNvSpPr/>
            <p:nvPr/>
          </p:nvSpPr>
          <p:spPr bwMode="auto">
            <a:xfrm>
              <a:off x="6590510" y="3717066"/>
              <a:ext cx="8322" cy="99860"/>
            </a:xfrm>
            <a:custGeom>
              <a:avLst/>
              <a:gdLst>
                <a:gd name="T0" fmla="*/ 0 w 5"/>
                <a:gd name="T1" fmla="*/ 0 h 57"/>
                <a:gd name="T2" fmla="*/ 5 w 5"/>
                <a:gd name="T3" fmla="*/ 43 h 57"/>
                <a:gd name="T4" fmla="*/ 5 w 5"/>
                <a:gd name="T5" fmla="*/ 57 h 57"/>
                <a:gd name="T6" fmla="*/ 5 w 5"/>
                <a:gd name="T7" fmla="*/ 42 h 57"/>
                <a:gd name="T8" fmla="*/ 0 w 5"/>
                <a:gd name="T9" fmla="*/ 0 h 57"/>
                <a:gd name="T10" fmla="*/ 0 w 5"/>
                <a:gd name="T1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7">
                  <a:moveTo>
                    <a:pt x="0" y="0"/>
                  </a:moveTo>
                  <a:cubicBezTo>
                    <a:pt x="2" y="13"/>
                    <a:pt x="4" y="27"/>
                    <a:pt x="5" y="43"/>
                  </a:cubicBezTo>
                  <a:cubicBezTo>
                    <a:pt x="5" y="47"/>
                    <a:pt x="5" y="52"/>
                    <a:pt x="5" y="57"/>
                  </a:cubicBezTo>
                  <a:cubicBezTo>
                    <a:pt x="5" y="52"/>
                    <a:pt x="5" y="47"/>
                    <a:pt x="5" y="42"/>
                  </a:cubicBezTo>
                  <a:cubicBezTo>
                    <a:pt x="4" y="26"/>
                    <a:pt x="2" y="1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ṧļïḍè">
              <a:extLst>
                <a:ext uri="{FF2B5EF4-FFF2-40B4-BE49-F238E27FC236}">
                  <a16:creationId xmlns:a16="http://schemas.microsoft.com/office/drawing/2014/main" id="{69330838-86BB-4A02-B2D7-149CE48A6973}"/>
                </a:ext>
              </a:extLst>
            </p:cNvPr>
            <p:cNvSpPr/>
            <p:nvPr/>
          </p:nvSpPr>
          <p:spPr bwMode="auto">
            <a:xfrm>
              <a:off x="6572678" y="3404410"/>
              <a:ext cx="229440" cy="460069"/>
            </a:xfrm>
            <a:custGeom>
              <a:avLst/>
              <a:gdLst>
                <a:gd name="T0" fmla="*/ 123 w 132"/>
                <a:gd name="T1" fmla="*/ 0 h 265"/>
                <a:gd name="T2" fmla="*/ 93 w 132"/>
                <a:gd name="T3" fmla="*/ 0 h 265"/>
                <a:gd name="T4" fmla="*/ 16 w 132"/>
                <a:gd name="T5" fmla="*/ 69 h 265"/>
                <a:gd name="T6" fmla="*/ 0 w 132"/>
                <a:gd name="T7" fmla="*/ 107 h 265"/>
                <a:gd name="T8" fmla="*/ 10 w 132"/>
                <a:gd name="T9" fmla="*/ 180 h 265"/>
                <a:gd name="T10" fmla="*/ 15 w 132"/>
                <a:gd name="T11" fmla="*/ 222 h 265"/>
                <a:gd name="T12" fmla="*/ 15 w 132"/>
                <a:gd name="T13" fmla="*/ 237 h 265"/>
                <a:gd name="T14" fmla="*/ 14 w 132"/>
                <a:gd name="T15" fmla="*/ 265 h 265"/>
                <a:gd name="T16" fmla="*/ 35 w 132"/>
                <a:gd name="T17" fmla="*/ 231 h 265"/>
                <a:gd name="T18" fmla="*/ 34 w 132"/>
                <a:gd name="T19" fmla="*/ 230 h 265"/>
                <a:gd name="T20" fmla="*/ 26 w 132"/>
                <a:gd name="T21" fmla="*/ 164 h 265"/>
                <a:gd name="T22" fmla="*/ 25 w 132"/>
                <a:gd name="T23" fmla="*/ 164 h 265"/>
                <a:gd name="T24" fmla="*/ 25 w 132"/>
                <a:gd name="T25" fmla="*/ 156 h 265"/>
                <a:gd name="T26" fmla="*/ 36 w 132"/>
                <a:gd name="T27" fmla="*/ 75 h 265"/>
                <a:gd name="T28" fmla="*/ 113 w 132"/>
                <a:gd name="T29" fmla="*/ 7 h 265"/>
                <a:gd name="T30" fmla="*/ 132 w 132"/>
                <a:gd name="T31" fmla="*/ 7 h 265"/>
                <a:gd name="T32" fmla="*/ 123 w 132"/>
                <a:gd name="T3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265">
                  <a:moveTo>
                    <a:pt x="123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50" y="0"/>
                    <a:pt x="16" y="69"/>
                    <a:pt x="16" y="69"/>
                  </a:cubicBezTo>
                  <a:cubicBezTo>
                    <a:pt x="4" y="81"/>
                    <a:pt x="0" y="92"/>
                    <a:pt x="0" y="107"/>
                  </a:cubicBezTo>
                  <a:cubicBezTo>
                    <a:pt x="0" y="125"/>
                    <a:pt x="6" y="148"/>
                    <a:pt x="10" y="180"/>
                  </a:cubicBezTo>
                  <a:cubicBezTo>
                    <a:pt x="12" y="193"/>
                    <a:pt x="14" y="206"/>
                    <a:pt x="15" y="222"/>
                  </a:cubicBezTo>
                  <a:cubicBezTo>
                    <a:pt x="15" y="227"/>
                    <a:pt x="15" y="232"/>
                    <a:pt x="15" y="237"/>
                  </a:cubicBezTo>
                  <a:cubicBezTo>
                    <a:pt x="15" y="246"/>
                    <a:pt x="15" y="256"/>
                    <a:pt x="14" y="265"/>
                  </a:cubicBezTo>
                  <a:cubicBezTo>
                    <a:pt x="23" y="255"/>
                    <a:pt x="30" y="244"/>
                    <a:pt x="35" y="231"/>
                  </a:cubicBezTo>
                  <a:cubicBezTo>
                    <a:pt x="35" y="230"/>
                    <a:pt x="35" y="230"/>
                    <a:pt x="34" y="230"/>
                  </a:cubicBezTo>
                  <a:cubicBezTo>
                    <a:pt x="33" y="203"/>
                    <a:pt x="29" y="182"/>
                    <a:pt x="26" y="164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18" y="117"/>
                    <a:pt x="15" y="96"/>
                    <a:pt x="36" y="75"/>
                  </a:cubicBezTo>
                  <a:cubicBezTo>
                    <a:pt x="36" y="75"/>
                    <a:pt x="70" y="7"/>
                    <a:pt x="113" y="7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130" y="3"/>
                    <a:pt x="127" y="1"/>
                    <a:pt x="123" y="0"/>
                  </a:cubicBezTo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šľïdè">
              <a:extLst>
                <a:ext uri="{FF2B5EF4-FFF2-40B4-BE49-F238E27FC236}">
                  <a16:creationId xmlns:a16="http://schemas.microsoft.com/office/drawing/2014/main" id="{7460E637-985F-40D0-842F-E8323F28B89B}"/>
                </a:ext>
              </a:extLst>
            </p:cNvPr>
            <p:cNvSpPr/>
            <p:nvPr/>
          </p:nvSpPr>
          <p:spPr bwMode="auto">
            <a:xfrm>
              <a:off x="6616663" y="3564899"/>
              <a:ext cx="181888" cy="124825"/>
            </a:xfrm>
            <a:prstGeom prst="rect">
              <a:avLst/>
            </a:prstGeom>
            <a:solidFill>
              <a:srgbClr val="FF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ṩḻîḓê">
              <a:extLst>
                <a:ext uri="{FF2B5EF4-FFF2-40B4-BE49-F238E27FC236}">
                  <a16:creationId xmlns:a16="http://schemas.microsoft.com/office/drawing/2014/main" id="{D91F3B43-6AC5-46FA-8E5D-E33D87301C90}"/>
                </a:ext>
              </a:extLst>
            </p:cNvPr>
            <p:cNvSpPr/>
            <p:nvPr/>
          </p:nvSpPr>
          <p:spPr bwMode="auto">
            <a:xfrm>
              <a:off x="6616663" y="3564899"/>
              <a:ext cx="181888" cy="12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ṩḷídè">
              <a:extLst>
                <a:ext uri="{FF2B5EF4-FFF2-40B4-BE49-F238E27FC236}">
                  <a16:creationId xmlns:a16="http://schemas.microsoft.com/office/drawing/2014/main" id="{DFA83931-0965-4935-8C5F-80763DC87FE2}"/>
                </a:ext>
              </a:extLst>
            </p:cNvPr>
            <p:cNvSpPr/>
            <p:nvPr/>
          </p:nvSpPr>
          <p:spPr bwMode="auto">
            <a:xfrm>
              <a:off x="6730790" y="3919164"/>
              <a:ext cx="290069" cy="35664"/>
            </a:xfrm>
            <a:custGeom>
              <a:avLst/>
              <a:gdLst>
                <a:gd name="T0" fmla="*/ 163 w 167"/>
                <a:gd name="T1" fmla="*/ 0 h 21"/>
                <a:gd name="T2" fmla="*/ 3 w 167"/>
                <a:gd name="T3" fmla="*/ 19 h 21"/>
                <a:gd name="T4" fmla="*/ 0 w 167"/>
                <a:gd name="T5" fmla="*/ 21 h 21"/>
                <a:gd name="T6" fmla="*/ 167 w 167"/>
                <a:gd name="T7" fmla="*/ 2 h 21"/>
                <a:gd name="T8" fmla="*/ 163 w 16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21">
                  <a:moveTo>
                    <a:pt x="163" y="0"/>
                  </a:moveTo>
                  <a:cubicBezTo>
                    <a:pt x="163" y="0"/>
                    <a:pt x="83" y="12"/>
                    <a:pt x="3" y="19"/>
                  </a:cubicBezTo>
                  <a:cubicBezTo>
                    <a:pt x="2" y="20"/>
                    <a:pt x="1" y="21"/>
                    <a:pt x="0" y="21"/>
                  </a:cubicBezTo>
                  <a:cubicBezTo>
                    <a:pt x="66" y="16"/>
                    <a:pt x="136" y="7"/>
                    <a:pt x="167" y="2"/>
                  </a:cubicBezTo>
                  <a:cubicBezTo>
                    <a:pt x="166" y="2"/>
                    <a:pt x="164" y="1"/>
                    <a:pt x="163" y="0"/>
                  </a:cubicBezTo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ṥḻîḑé">
              <a:extLst>
                <a:ext uri="{FF2B5EF4-FFF2-40B4-BE49-F238E27FC236}">
                  <a16:creationId xmlns:a16="http://schemas.microsoft.com/office/drawing/2014/main" id="{26715A36-5019-46C5-897A-54FCBD447FF2}"/>
                </a:ext>
              </a:extLst>
            </p:cNvPr>
            <p:cNvSpPr/>
            <p:nvPr/>
          </p:nvSpPr>
          <p:spPr bwMode="auto">
            <a:xfrm>
              <a:off x="6361070" y="4032101"/>
              <a:ext cx="147412" cy="531398"/>
            </a:xfrm>
            <a:custGeom>
              <a:avLst/>
              <a:gdLst>
                <a:gd name="T0" fmla="*/ 0 w 85"/>
                <a:gd name="T1" fmla="*/ 0 h 306"/>
                <a:gd name="T2" fmla="*/ 17 w 85"/>
                <a:gd name="T3" fmla="*/ 31 h 306"/>
                <a:gd name="T4" fmla="*/ 65 w 85"/>
                <a:gd name="T5" fmla="*/ 306 h 306"/>
                <a:gd name="T6" fmla="*/ 85 w 85"/>
                <a:gd name="T7" fmla="*/ 306 h 306"/>
                <a:gd name="T8" fmla="*/ 37 w 85"/>
                <a:gd name="T9" fmla="*/ 31 h 306"/>
                <a:gd name="T10" fmla="*/ 20 w 85"/>
                <a:gd name="T11" fmla="*/ 1 h 306"/>
                <a:gd name="T12" fmla="*/ 10 w 85"/>
                <a:gd name="T13" fmla="*/ 3 h 306"/>
                <a:gd name="T14" fmla="*/ 0 w 85"/>
                <a:gd name="T15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06">
                  <a:moveTo>
                    <a:pt x="0" y="0"/>
                  </a:moveTo>
                  <a:cubicBezTo>
                    <a:pt x="0" y="12"/>
                    <a:pt x="5" y="23"/>
                    <a:pt x="17" y="31"/>
                  </a:cubicBezTo>
                  <a:cubicBezTo>
                    <a:pt x="53" y="55"/>
                    <a:pt x="65" y="306"/>
                    <a:pt x="65" y="306"/>
                  </a:cubicBezTo>
                  <a:cubicBezTo>
                    <a:pt x="85" y="306"/>
                    <a:pt x="85" y="306"/>
                    <a:pt x="85" y="306"/>
                  </a:cubicBezTo>
                  <a:cubicBezTo>
                    <a:pt x="85" y="306"/>
                    <a:pt x="73" y="55"/>
                    <a:pt x="37" y="31"/>
                  </a:cubicBezTo>
                  <a:cubicBezTo>
                    <a:pt x="25" y="23"/>
                    <a:pt x="20" y="12"/>
                    <a:pt x="20" y="1"/>
                  </a:cubicBezTo>
                  <a:cubicBezTo>
                    <a:pt x="17" y="2"/>
                    <a:pt x="13" y="3"/>
                    <a:pt x="10" y="3"/>
                  </a:cubicBezTo>
                  <a:cubicBezTo>
                    <a:pt x="7" y="3"/>
                    <a:pt x="3" y="2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s1îḋê">
              <a:extLst>
                <a:ext uri="{FF2B5EF4-FFF2-40B4-BE49-F238E27FC236}">
                  <a16:creationId xmlns:a16="http://schemas.microsoft.com/office/drawing/2014/main" id="{88BEB59D-7A8E-489F-91FF-B8BF6223DDFB}"/>
                </a:ext>
              </a:extLst>
            </p:cNvPr>
            <p:cNvSpPr/>
            <p:nvPr/>
          </p:nvSpPr>
          <p:spPr bwMode="auto">
            <a:xfrm>
              <a:off x="6590510" y="4127206"/>
              <a:ext cx="162867" cy="8322"/>
            </a:xfrm>
            <a:custGeom>
              <a:avLst/>
              <a:gdLst>
                <a:gd name="T0" fmla="*/ 0 w 94"/>
                <a:gd name="T1" fmla="*/ 0 h 5"/>
                <a:gd name="T2" fmla="*/ 1 w 94"/>
                <a:gd name="T3" fmla="*/ 2 h 5"/>
                <a:gd name="T4" fmla="*/ 84 w 94"/>
                <a:gd name="T5" fmla="*/ 5 h 5"/>
                <a:gd name="T6" fmla="*/ 94 w 94"/>
                <a:gd name="T7" fmla="*/ 5 h 5"/>
                <a:gd name="T8" fmla="*/ 0 w 9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5">
                  <a:moveTo>
                    <a:pt x="0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20" y="3"/>
                    <a:pt x="50" y="5"/>
                    <a:pt x="84" y="5"/>
                  </a:cubicBezTo>
                  <a:cubicBezTo>
                    <a:pt x="87" y="5"/>
                    <a:pt x="91" y="5"/>
                    <a:pt x="94" y="5"/>
                  </a:cubicBezTo>
                  <a:cubicBezTo>
                    <a:pt x="42" y="4"/>
                    <a:pt x="0" y="0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ḷíḓé">
              <a:extLst>
                <a:ext uri="{FF2B5EF4-FFF2-40B4-BE49-F238E27FC236}">
                  <a16:creationId xmlns:a16="http://schemas.microsoft.com/office/drawing/2014/main" id="{AAB2AEBF-7762-4C0F-AE83-DCF60D99FE0E}"/>
                </a:ext>
              </a:extLst>
            </p:cNvPr>
            <p:cNvSpPr/>
            <p:nvPr/>
          </p:nvSpPr>
          <p:spPr bwMode="auto">
            <a:xfrm>
              <a:off x="6345614" y="3652871"/>
              <a:ext cx="441049" cy="388741"/>
            </a:xfrm>
            <a:custGeom>
              <a:avLst/>
              <a:gdLst>
                <a:gd name="T0" fmla="*/ 253 w 254"/>
                <a:gd name="T1" fmla="*/ 0 h 224"/>
                <a:gd name="T2" fmla="*/ 253 w 254"/>
                <a:gd name="T3" fmla="*/ 114 h 224"/>
                <a:gd name="T4" fmla="*/ 180 w 254"/>
                <a:gd name="T5" fmla="*/ 187 h 224"/>
                <a:gd name="T6" fmla="*/ 177 w 254"/>
                <a:gd name="T7" fmla="*/ 187 h 224"/>
                <a:gd name="T8" fmla="*/ 62 w 254"/>
                <a:gd name="T9" fmla="*/ 191 h 224"/>
                <a:gd name="T10" fmla="*/ 30 w 254"/>
                <a:gd name="T11" fmla="*/ 217 h 224"/>
                <a:gd name="T12" fmla="*/ 4 w 254"/>
                <a:gd name="T13" fmla="*/ 214 h 224"/>
                <a:gd name="T14" fmla="*/ 1 w 254"/>
                <a:gd name="T15" fmla="*/ 201 h 224"/>
                <a:gd name="T16" fmla="*/ 26 w 254"/>
                <a:gd name="T17" fmla="*/ 155 h 224"/>
                <a:gd name="T18" fmla="*/ 91 w 254"/>
                <a:gd name="T19" fmla="*/ 146 h 224"/>
                <a:gd name="T20" fmla="*/ 170 w 254"/>
                <a:gd name="T21" fmla="*/ 62 h 224"/>
                <a:gd name="T22" fmla="*/ 170 w 254"/>
                <a:gd name="T23" fmla="*/ 0 h 224"/>
                <a:gd name="T24" fmla="*/ 253 w 254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4" h="224">
                  <a:moveTo>
                    <a:pt x="253" y="0"/>
                  </a:moveTo>
                  <a:cubicBezTo>
                    <a:pt x="253" y="114"/>
                    <a:pt x="253" y="114"/>
                    <a:pt x="253" y="114"/>
                  </a:cubicBezTo>
                  <a:cubicBezTo>
                    <a:pt x="254" y="155"/>
                    <a:pt x="221" y="187"/>
                    <a:pt x="180" y="187"/>
                  </a:cubicBezTo>
                  <a:cubicBezTo>
                    <a:pt x="179" y="187"/>
                    <a:pt x="178" y="187"/>
                    <a:pt x="177" y="187"/>
                  </a:cubicBezTo>
                  <a:cubicBezTo>
                    <a:pt x="127" y="185"/>
                    <a:pt x="69" y="185"/>
                    <a:pt x="62" y="191"/>
                  </a:cubicBezTo>
                  <a:cubicBezTo>
                    <a:pt x="56" y="197"/>
                    <a:pt x="43" y="208"/>
                    <a:pt x="30" y="217"/>
                  </a:cubicBezTo>
                  <a:cubicBezTo>
                    <a:pt x="22" y="224"/>
                    <a:pt x="11" y="222"/>
                    <a:pt x="4" y="214"/>
                  </a:cubicBezTo>
                  <a:cubicBezTo>
                    <a:pt x="1" y="210"/>
                    <a:pt x="0" y="206"/>
                    <a:pt x="1" y="201"/>
                  </a:cubicBezTo>
                  <a:cubicBezTo>
                    <a:pt x="2" y="182"/>
                    <a:pt x="8" y="161"/>
                    <a:pt x="26" y="155"/>
                  </a:cubicBezTo>
                  <a:cubicBezTo>
                    <a:pt x="40" y="151"/>
                    <a:pt x="66" y="148"/>
                    <a:pt x="91" y="146"/>
                  </a:cubicBezTo>
                  <a:cubicBezTo>
                    <a:pt x="135" y="143"/>
                    <a:pt x="170" y="106"/>
                    <a:pt x="170" y="62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sḻíḑê">
              <a:extLst>
                <a:ext uri="{FF2B5EF4-FFF2-40B4-BE49-F238E27FC236}">
                  <a16:creationId xmlns:a16="http://schemas.microsoft.com/office/drawing/2014/main" id="{158BA9EF-4842-4DD1-899C-9419D9D4A22C}"/>
                </a:ext>
              </a:extLst>
            </p:cNvPr>
            <p:cNvSpPr/>
            <p:nvPr/>
          </p:nvSpPr>
          <p:spPr bwMode="auto">
            <a:xfrm>
              <a:off x="6640439" y="3652871"/>
              <a:ext cx="146224" cy="10700"/>
            </a:xfrm>
            <a:custGeom>
              <a:avLst/>
              <a:gdLst>
                <a:gd name="T0" fmla="*/ 123 w 123"/>
                <a:gd name="T1" fmla="*/ 0 h 9"/>
                <a:gd name="T2" fmla="*/ 0 w 123"/>
                <a:gd name="T3" fmla="*/ 0 h 9"/>
                <a:gd name="T4" fmla="*/ 121 w 123"/>
                <a:gd name="T5" fmla="*/ 0 h 9"/>
                <a:gd name="T6" fmla="*/ 121 w 123"/>
                <a:gd name="T7" fmla="*/ 9 h 9"/>
                <a:gd name="T8" fmla="*/ 123 w 123"/>
                <a:gd name="T9" fmla="*/ 9 h 9"/>
                <a:gd name="T10" fmla="*/ 123 w 12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">
                  <a:moveTo>
                    <a:pt x="123" y="0"/>
                  </a:moveTo>
                  <a:lnTo>
                    <a:pt x="0" y="0"/>
                  </a:lnTo>
                  <a:lnTo>
                    <a:pt x="121" y="0"/>
                  </a:lnTo>
                  <a:lnTo>
                    <a:pt x="121" y="9"/>
                  </a:lnTo>
                  <a:lnTo>
                    <a:pt x="123" y="9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$líďè">
              <a:extLst>
                <a:ext uri="{FF2B5EF4-FFF2-40B4-BE49-F238E27FC236}">
                  <a16:creationId xmlns:a16="http://schemas.microsoft.com/office/drawing/2014/main" id="{A9B4621C-2C53-4232-8CA9-F384772B1268}"/>
                </a:ext>
              </a:extLst>
            </p:cNvPr>
            <p:cNvSpPr/>
            <p:nvPr/>
          </p:nvSpPr>
          <p:spPr bwMode="auto">
            <a:xfrm>
              <a:off x="6640439" y="3652871"/>
              <a:ext cx="146224" cy="10700"/>
            </a:xfrm>
            <a:custGeom>
              <a:avLst/>
              <a:gdLst>
                <a:gd name="T0" fmla="*/ 123 w 123"/>
                <a:gd name="T1" fmla="*/ 0 h 9"/>
                <a:gd name="T2" fmla="*/ 0 w 123"/>
                <a:gd name="T3" fmla="*/ 0 h 9"/>
                <a:gd name="T4" fmla="*/ 121 w 123"/>
                <a:gd name="T5" fmla="*/ 0 h 9"/>
                <a:gd name="T6" fmla="*/ 121 w 123"/>
                <a:gd name="T7" fmla="*/ 9 h 9"/>
                <a:gd name="T8" fmla="*/ 123 w 123"/>
                <a:gd name="T9" fmla="*/ 9 h 9"/>
                <a:gd name="T10" fmla="*/ 123 w 12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">
                  <a:moveTo>
                    <a:pt x="123" y="0"/>
                  </a:moveTo>
                  <a:lnTo>
                    <a:pt x="0" y="0"/>
                  </a:lnTo>
                  <a:lnTo>
                    <a:pt x="121" y="0"/>
                  </a:lnTo>
                  <a:lnTo>
                    <a:pt x="121" y="9"/>
                  </a:lnTo>
                  <a:lnTo>
                    <a:pt x="123" y="9"/>
                  </a:lnTo>
                  <a:lnTo>
                    <a:pt x="12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sḷíďê">
              <a:extLst>
                <a:ext uri="{FF2B5EF4-FFF2-40B4-BE49-F238E27FC236}">
                  <a16:creationId xmlns:a16="http://schemas.microsoft.com/office/drawing/2014/main" id="{E14FB14E-ACC1-4FDF-A20D-478621670E8E}"/>
                </a:ext>
              </a:extLst>
            </p:cNvPr>
            <p:cNvSpPr/>
            <p:nvPr/>
          </p:nvSpPr>
          <p:spPr bwMode="auto">
            <a:xfrm>
              <a:off x="6377714" y="3883500"/>
              <a:ext cx="194964" cy="45175"/>
            </a:xfrm>
            <a:custGeom>
              <a:avLst/>
              <a:gdLst>
                <a:gd name="T0" fmla="*/ 112 w 112"/>
                <a:gd name="T1" fmla="*/ 0 h 26"/>
                <a:gd name="T2" fmla="*/ 73 w 112"/>
                <a:gd name="T3" fmla="*/ 13 h 26"/>
                <a:gd name="T4" fmla="*/ 7 w 112"/>
                <a:gd name="T5" fmla="*/ 22 h 26"/>
                <a:gd name="T6" fmla="*/ 0 w 112"/>
                <a:gd name="T7" fmla="*/ 26 h 26"/>
                <a:gd name="T8" fmla="*/ 7 w 112"/>
                <a:gd name="T9" fmla="*/ 22 h 26"/>
                <a:gd name="T10" fmla="*/ 72 w 112"/>
                <a:gd name="T11" fmla="*/ 13 h 26"/>
                <a:gd name="T12" fmla="*/ 112 w 112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26">
                  <a:moveTo>
                    <a:pt x="112" y="0"/>
                  </a:moveTo>
                  <a:cubicBezTo>
                    <a:pt x="101" y="7"/>
                    <a:pt x="87" y="12"/>
                    <a:pt x="73" y="13"/>
                  </a:cubicBezTo>
                  <a:cubicBezTo>
                    <a:pt x="47" y="15"/>
                    <a:pt x="21" y="18"/>
                    <a:pt x="7" y="22"/>
                  </a:cubicBezTo>
                  <a:cubicBezTo>
                    <a:pt x="5" y="23"/>
                    <a:pt x="2" y="24"/>
                    <a:pt x="0" y="26"/>
                  </a:cubicBezTo>
                  <a:cubicBezTo>
                    <a:pt x="2" y="24"/>
                    <a:pt x="4" y="23"/>
                    <a:pt x="7" y="22"/>
                  </a:cubicBezTo>
                  <a:cubicBezTo>
                    <a:pt x="21" y="18"/>
                    <a:pt x="47" y="15"/>
                    <a:pt x="72" y="13"/>
                  </a:cubicBezTo>
                  <a:cubicBezTo>
                    <a:pt x="87" y="12"/>
                    <a:pt x="101" y="7"/>
                    <a:pt x="112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$lïḓê">
              <a:extLst>
                <a:ext uri="{FF2B5EF4-FFF2-40B4-BE49-F238E27FC236}">
                  <a16:creationId xmlns:a16="http://schemas.microsoft.com/office/drawing/2014/main" id="{BECFD27E-8AA7-40D6-A4EB-90DFFCC0B214}"/>
                </a:ext>
              </a:extLst>
            </p:cNvPr>
            <p:cNvSpPr/>
            <p:nvPr/>
          </p:nvSpPr>
          <p:spPr bwMode="auto">
            <a:xfrm>
              <a:off x="6345614" y="3652871"/>
              <a:ext cx="438671" cy="383986"/>
            </a:xfrm>
            <a:custGeom>
              <a:avLst/>
              <a:gdLst>
                <a:gd name="T0" fmla="*/ 253 w 253"/>
                <a:gd name="T1" fmla="*/ 0 h 221"/>
                <a:gd name="T2" fmla="*/ 170 w 253"/>
                <a:gd name="T3" fmla="*/ 0 h 221"/>
                <a:gd name="T4" fmla="*/ 170 w 253"/>
                <a:gd name="T5" fmla="*/ 62 h 221"/>
                <a:gd name="T6" fmla="*/ 131 w 253"/>
                <a:gd name="T7" fmla="*/ 133 h 221"/>
                <a:gd name="T8" fmla="*/ 91 w 253"/>
                <a:gd name="T9" fmla="*/ 146 h 221"/>
                <a:gd name="T10" fmla="*/ 26 w 253"/>
                <a:gd name="T11" fmla="*/ 155 h 221"/>
                <a:gd name="T12" fmla="*/ 19 w 253"/>
                <a:gd name="T13" fmla="*/ 159 h 221"/>
                <a:gd name="T14" fmla="*/ 1 w 253"/>
                <a:gd name="T15" fmla="*/ 201 h 221"/>
                <a:gd name="T16" fmla="*/ 1 w 253"/>
                <a:gd name="T17" fmla="*/ 201 h 221"/>
                <a:gd name="T18" fmla="*/ 18 w 253"/>
                <a:gd name="T19" fmla="*/ 221 h 221"/>
                <a:gd name="T20" fmla="*/ 14 w 253"/>
                <a:gd name="T21" fmla="*/ 207 h 221"/>
                <a:gd name="T22" fmla="*/ 39 w 253"/>
                <a:gd name="T23" fmla="*/ 162 h 221"/>
                <a:gd name="T24" fmla="*/ 105 w 253"/>
                <a:gd name="T25" fmla="*/ 152 h 221"/>
                <a:gd name="T26" fmla="*/ 183 w 253"/>
                <a:gd name="T27" fmla="*/ 68 h 221"/>
                <a:gd name="T28" fmla="*/ 183 w 253"/>
                <a:gd name="T29" fmla="*/ 6 h 221"/>
                <a:gd name="T30" fmla="*/ 253 w 253"/>
                <a:gd name="T31" fmla="*/ 6 h 221"/>
                <a:gd name="T32" fmla="*/ 253 w 253"/>
                <a:gd name="T3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3" h="221">
                  <a:moveTo>
                    <a:pt x="253" y="0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170" y="62"/>
                    <a:pt x="170" y="62"/>
                    <a:pt x="170" y="62"/>
                  </a:cubicBezTo>
                  <a:cubicBezTo>
                    <a:pt x="170" y="91"/>
                    <a:pt x="155" y="118"/>
                    <a:pt x="131" y="133"/>
                  </a:cubicBezTo>
                  <a:cubicBezTo>
                    <a:pt x="120" y="140"/>
                    <a:pt x="106" y="145"/>
                    <a:pt x="91" y="146"/>
                  </a:cubicBezTo>
                  <a:cubicBezTo>
                    <a:pt x="66" y="148"/>
                    <a:pt x="40" y="151"/>
                    <a:pt x="26" y="155"/>
                  </a:cubicBezTo>
                  <a:cubicBezTo>
                    <a:pt x="23" y="156"/>
                    <a:pt x="21" y="157"/>
                    <a:pt x="19" y="159"/>
                  </a:cubicBezTo>
                  <a:cubicBezTo>
                    <a:pt x="7" y="167"/>
                    <a:pt x="2" y="184"/>
                    <a:pt x="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12"/>
                    <a:pt x="8" y="221"/>
                    <a:pt x="18" y="221"/>
                  </a:cubicBezTo>
                  <a:cubicBezTo>
                    <a:pt x="15" y="217"/>
                    <a:pt x="13" y="212"/>
                    <a:pt x="14" y="207"/>
                  </a:cubicBezTo>
                  <a:cubicBezTo>
                    <a:pt x="15" y="188"/>
                    <a:pt x="21" y="168"/>
                    <a:pt x="39" y="162"/>
                  </a:cubicBezTo>
                  <a:cubicBezTo>
                    <a:pt x="53" y="157"/>
                    <a:pt x="79" y="154"/>
                    <a:pt x="105" y="152"/>
                  </a:cubicBezTo>
                  <a:cubicBezTo>
                    <a:pt x="149" y="149"/>
                    <a:pt x="183" y="113"/>
                    <a:pt x="183" y="68"/>
                  </a:cubicBezTo>
                  <a:cubicBezTo>
                    <a:pt x="183" y="6"/>
                    <a:pt x="183" y="6"/>
                    <a:pt x="183" y="6"/>
                  </a:cubicBezTo>
                  <a:cubicBezTo>
                    <a:pt x="253" y="6"/>
                    <a:pt x="253" y="6"/>
                    <a:pt x="253" y="6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ṧliďé">
              <a:extLst>
                <a:ext uri="{FF2B5EF4-FFF2-40B4-BE49-F238E27FC236}">
                  <a16:creationId xmlns:a16="http://schemas.microsoft.com/office/drawing/2014/main" id="{59449BD9-35B1-4F62-BC1B-2368C305A1C3}"/>
                </a:ext>
              </a:extLst>
            </p:cNvPr>
            <p:cNvSpPr/>
            <p:nvPr/>
          </p:nvSpPr>
          <p:spPr bwMode="auto">
            <a:xfrm>
              <a:off x="6494217" y="4606296"/>
              <a:ext cx="167623" cy="11888"/>
            </a:xfrm>
            <a:custGeom>
              <a:avLst/>
              <a:gdLst>
                <a:gd name="T0" fmla="*/ 0 w 96"/>
                <a:gd name="T1" fmla="*/ 3 h 7"/>
                <a:gd name="T2" fmla="*/ 0 w 96"/>
                <a:gd name="T3" fmla="*/ 3 h 7"/>
                <a:gd name="T4" fmla="*/ 0 w 96"/>
                <a:gd name="T5" fmla="*/ 4 h 7"/>
                <a:gd name="T6" fmla="*/ 0 w 96"/>
                <a:gd name="T7" fmla="*/ 4 h 7"/>
                <a:gd name="T8" fmla="*/ 0 w 96"/>
                <a:gd name="T9" fmla="*/ 3 h 7"/>
                <a:gd name="T10" fmla="*/ 96 w 96"/>
                <a:gd name="T11" fmla="*/ 0 h 7"/>
                <a:gd name="T12" fmla="*/ 87 w 96"/>
                <a:gd name="T13" fmla="*/ 0 h 7"/>
                <a:gd name="T14" fmla="*/ 87 w 96"/>
                <a:gd name="T15" fmla="*/ 1 h 7"/>
                <a:gd name="T16" fmla="*/ 96 w 96"/>
                <a:gd name="T17" fmla="*/ 1 h 7"/>
                <a:gd name="T18" fmla="*/ 96 w 96"/>
                <a:gd name="T19" fmla="*/ 7 h 7"/>
                <a:gd name="T20" fmla="*/ 96 w 96"/>
                <a:gd name="T21" fmla="*/ 7 h 7"/>
                <a:gd name="T22" fmla="*/ 96 w 96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7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96" y="0"/>
                  </a:moveTo>
                  <a:cubicBezTo>
                    <a:pt x="96" y="0"/>
                    <a:pt x="93" y="0"/>
                    <a:pt x="87" y="0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92" y="1"/>
                    <a:pt x="96" y="1"/>
                    <a:pt x="96" y="1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0"/>
                    <a:pt x="96" y="0"/>
                    <a:pt x="9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ṥḷídê">
              <a:extLst>
                <a:ext uri="{FF2B5EF4-FFF2-40B4-BE49-F238E27FC236}">
                  <a16:creationId xmlns:a16="http://schemas.microsoft.com/office/drawing/2014/main" id="{7379A279-2163-4A67-93B0-F6B2AE3B00AB}"/>
                </a:ext>
              </a:extLst>
            </p:cNvPr>
            <p:cNvSpPr/>
            <p:nvPr/>
          </p:nvSpPr>
          <p:spPr bwMode="auto">
            <a:xfrm>
              <a:off x="6620230" y="4606296"/>
              <a:ext cx="24966" cy="3567"/>
            </a:xfrm>
            <a:custGeom>
              <a:avLst/>
              <a:gdLst>
                <a:gd name="T0" fmla="*/ 15 w 15"/>
                <a:gd name="T1" fmla="*/ 0 h 2"/>
                <a:gd name="T2" fmla="*/ 0 w 15"/>
                <a:gd name="T3" fmla="*/ 1 h 2"/>
                <a:gd name="T4" fmla="*/ 0 w 15"/>
                <a:gd name="T5" fmla="*/ 2 h 2"/>
                <a:gd name="T6" fmla="*/ 15 w 15"/>
                <a:gd name="T7" fmla="*/ 1 h 2"/>
                <a:gd name="T8" fmla="*/ 15 w 1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">
                  <a:moveTo>
                    <a:pt x="15" y="0"/>
                  </a:moveTo>
                  <a:cubicBezTo>
                    <a:pt x="11" y="1"/>
                    <a:pt x="6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6" y="2"/>
                    <a:pt x="11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ṩḻiḑè">
              <a:extLst>
                <a:ext uri="{FF2B5EF4-FFF2-40B4-BE49-F238E27FC236}">
                  <a16:creationId xmlns:a16="http://schemas.microsoft.com/office/drawing/2014/main" id="{26A9EB15-2041-4F64-ACEF-5C3DE8D08CCC}"/>
                </a:ext>
              </a:extLst>
            </p:cNvPr>
            <p:cNvSpPr/>
            <p:nvPr/>
          </p:nvSpPr>
          <p:spPr bwMode="auto">
            <a:xfrm>
              <a:off x="6494217" y="4608674"/>
              <a:ext cx="126014" cy="4756"/>
            </a:xfrm>
            <a:custGeom>
              <a:avLst/>
              <a:gdLst>
                <a:gd name="T0" fmla="*/ 72 w 72"/>
                <a:gd name="T1" fmla="*/ 0 h 3"/>
                <a:gd name="T2" fmla="*/ 0 w 72"/>
                <a:gd name="T3" fmla="*/ 2 h 3"/>
                <a:gd name="T4" fmla="*/ 0 w 72"/>
                <a:gd name="T5" fmla="*/ 3 h 3"/>
                <a:gd name="T6" fmla="*/ 72 w 72"/>
                <a:gd name="T7" fmla="*/ 1 h 3"/>
                <a:gd name="T8" fmla="*/ 72 w 7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">
                  <a:moveTo>
                    <a:pt x="72" y="0"/>
                  </a:moveTo>
                  <a:cubicBezTo>
                    <a:pt x="53" y="0"/>
                    <a:pt x="27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7" y="2"/>
                    <a:pt x="53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ṣ1îḓe">
              <a:extLst>
                <a:ext uri="{FF2B5EF4-FFF2-40B4-BE49-F238E27FC236}">
                  <a16:creationId xmlns:a16="http://schemas.microsoft.com/office/drawing/2014/main" id="{AEFCCCE5-3150-4C79-AB40-E2E7329FB01D}"/>
                </a:ext>
              </a:extLst>
            </p:cNvPr>
            <p:cNvSpPr/>
            <p:nvPr/>
          </p:nvSpPr>
          <p:spPr bwMode="auto">
            <a:xfrm>
              <a:off x="6328972" y="4611051"/>
              <a:ext cx="165245" cy="36854"/>
            </a:xfrm>
            <a:custGeom>
              <a:avLst/>
              <a:gdLst>
                <a:gd name="T0" fmla="*/ 56 w 95"/>
                <a:gd name="T1" fmla="*/ 5 h 21"/>
                <a:gd name="T2" fmla="*/ 46 w 95"/>
                <a:gd name="T3" fmla="*/ 5 h 21"/>
                <a:gd name="T4" fmla="*/ 0 w 95"/>
                <a:gd name="T5" fmla="*/ 21 h 21"/>
                <a:gd name="T6" fmla="*/ 56 w 95"/>
                <a:gd name="T7" fmla="*/ 5 h 21"/>
                <a:gd name="T8" fmla="*/ 95 w 95"/>
                <a:gd name="T9" fmla="*/ 0 h 21"/>
                <a:gd name="T10" fmla="*/ 93 w 95"/>
                <a:gd name="T11" fmla="*/ 1 h 21"/>
                <a:gd name="T12" fmla="*/ 93 w 95"/>
                <a:gd name="T13" fmla="*/ 1 h 21"/>
                <a:gd name="T14" fmla="*/ 95 w 95"/>
                <a:gd name="T15" fmla="*/ 1 h 21"/>
                <a:gd name="T16" fmla="*/ 95 w 95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" h="21">
                  <a:moveTo>
                    <a:pt x="56" y="5"/>
                  </a:moveTo>
                  <a:cubicBezTo>
                    <a:pt x="53" y="5"/>
                    <a:pt x="49" y="5"/>
                    <a:pt x="46" y="5"/>
                  </a:cubicBezTo>
                  <a:cubicBezTo>
                    <a:pt x="20" y="8"/>
                    <a:pt x="1" y="13"/>
                    <a:pt x="0" y="21"/>
                  </a:cubicBezTo>
                  <a:cubicBezTo>
                    <a:pt x="2" y="13"/>
                    <a:pt x="26" y="8"/>
                    <a:pt x="56" y="5"/>
                  </a:cubicBezTo>
                  <a:moveTo>
                    <a:pt x="95" y="0"/>
                  </a:moveTo>
                  <a:cubicBezTo>
                    <a:pt x="94" y="1"/>
                    <a:pt x="94" y="1"/>
                    <a:pt x="93" y="1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4" y="1"/>
                    <a:pt x="94" y="1"/>
                    <a:pt x="95" y="1"/>
                  </a:cubicBezTo>
                  <a:cubicBezTo>
                    <a:pt x="95" y="0"/>
                    <a:pt x="95" y="0"/>
                    <a:pt x="95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ṣ1ïďè">
              <a:extLst>
                <a:ext uri="{FF2B5EF4-FFF2-40B4-BE49-F238E27FC236}">
                  <a16:creationId xmlns:a16="http://schemas.microsoft.com/office/drawing/2014/main" id="{B3B92ECD-8469-4F4B-9B67-1385D4B73596}"/>
                </a:ext>
              </a:extLst>
            </p:cNvPr>
            <p:cNvSpPr/>
            <p:nvPr/>
          </p:nvSpPr>
          <p:spPr bwMode="auto">
            <a:xfrm>
              <a:off x="6409811" y="4613428"/>
              <a:ext cx="80839" cy="7132"/>
            </a:xfrm>
            <a:custGeom>
              <a:avLst/>
              <a:gdLst>
                <a:gd name="T0" fmla="*/ 47 w 47"/>
                <a:gd name="T1" fmla="*/ 0 h 4"/>
                <a:gd name="T2" fmla="*/ 0 w 47"/>
                <a:gd name="T3" fmla="*/ 4 h 4"/>
                <a:gd name="T4" fmla="*/ 10 w 47"/>
                <a:gd name="T5" fmla="*/ 4 h 4"/>
                <a:gd name="T6" fmla="*/ 47 w 47"/>
                <a:gd name="T7" fmla="*/ 0 h 4"/>
                <a:gd name="T8" fmla="*/ 47 w 4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">
                  <a:moveTo>
                    <a:pt x="47" y="0"/>
                  </a:moveTo>
                  <a:cubicBezTo>
                    <a:pt x="31" y="1"/>
                    <a:pt x="14" y="2"/>
                    <a:pt x="0" y="4"/>
                  </a:cubicBezTo>
                  <a:cubicBezTo>
                    <a:pt x="3" y="4"/>
                    <a:pt x="7" y="4"/>
                    <a:pt x="10" y="4"/>
                  </a:cubicBezTo>
                  <a:cubicBezTo>
                    <a:pt x="21" y="2"/>
                    <a:pt x="34" y="1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</a:path>
              </a:pathLst>
            </a:custGeom>
            <a:solidFill>
              <a:srgbClr val="747C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śľidé">
              <a:extLst>
                <a:ext uri="{FF2B5EF4-FFF2-40B4-BE49-F238E27FC236}">
                  <a16:creationId xmlns:a16="http://schemas.microsoft.com/office/drawing/2014/main" id="{2B072DC5-AA75-4CE1-9627-BFE59278CC16}"/>
                </a:ext>
              </a:extLst>
            </p:cNvPr>
            <p:cNvSpPr/>
            <p:nvPr/>
          </p:nvSpPr>
          <p:spPr bwMode="auto">
            <a:xfrm>
              <a:off x="6328972" y="4608674"/>
              <a:ext cx="332866" cy="92727"/>
            </a:xfrm>
            <a:custGeom>
              <a:avLst/>
              <a:gdLst>
                <a:gd name="T0" fmla="*/ 191 w 191"/>
                <a:gd name="T1" fmla="*/ 0 h 54"/>
                <a:gd name="T2" fmla="*/ 182 w 191"/>
                <a:gd name="T3" fmla="*/ 0 h 54"/>
                <a:gd name="T4" fmla="*/ 167 w 191"/>
                <a:gd name="T5" fmla="*/ 1 h 54"/>
                <a:gd name="T6" fmla="*/ 95 w 191"/>
                <a:gd name="T7" fmla="*/ 3 h 54"/>
                <a:gd name="T8" fmla="*/ 95 w 191"/>
                <a:gd name="T9" fmla="*/ 3 h 54"/>
                <a:gd name="T10" fmla="*/ 93 w 191"/>
                <a:gd name="T11" fmla="*/ 3 h 54"/>
                <a:gd name="T12" fmla="*/ 56 w 191"/>
                <a:gd name="T13" fmla="*/ 7 h 54"/>
                <a:gd name="T14" fmla="*/ 0 w 191"/>
                <a:gd name="T15" fmla="*/ 23 h 54"/>
                <a:gd name="T16" fmla="*/ 0 w 191"/>
                <a:gd name="T17" fmla="*/ 23 h 54"/>
                <a:gd name="T18" fmla="*/ 15 w 191"/>
                <a:gd name="T19" fmla="*/ 54 h 54"/>
                <a:gd name="T20" fmla="*/ 6 w 191"/>
                <a:gd name="T21" fmla="*/ 30 h 54"/>
                <a:gd name="T22" fmla="*/ 191 w 191"/>
                <a:gd name="T23" fmla="*/ 6 h 54"/>
                <a:gd name="T24" fmla="*/ 191 w 191"/>
                <a:gd name="T25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1" h="54">
                  <a:moveTo>
                    <a:pt x="191" y="0"/>
                  </a:moveTo>
                  <a:cubicBezTo>
                    <a:pt x="191" y="0"/>
                    <a:pt x="187" y="0"/>
                    <a:pt x="182" y="0"/>
                  </a:cubicBezTo>
                  <a:cubicBezTo>
                    <a:pt x="178" y="0"/>
                    <a:pt x="173" y="1"/>
                    <a:pt x="167" y="1"/>
                  </a:cubicBezTo>
                  <a:cubicBezTo>
                    <a:pt x="148" y="1"/>
                    <a:pt x="122" y="2"/>
                    <a:pt x="95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4" y="3"/>
                    <a:pt x="94" y="3"/>
                    <a:pt x="93" y="3"/>
                  </a:cubicBezTo>
                  <a:cubicBezTo>
                    <a:pt x="80" y="4"/>
                    <a:pt x="67" y="5"/>
                    <a:pt x="56" y="7"/>
                  </a:cubicBezTo>
                  <a:cubicBezTo>
                    <a:pt x="26" y="10"/>
                    <a:pt x="2" y="15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5"/>
                    <a:pt x="6" y="46"/>
                    <a:pt x="15" y="54"/>
                  </a:cubicBezTo>
                  <a:cubicBezTo>
                    <a:pt x="9" y="47"/>
                    <a:pt x="6" y="39"/>
                    <a:pt x="6" y="30"/>
                  </a:cubicBezTo>
                  <a:cubicBezTo>
                    <a:pt x="6" y="9"/>
                    <a:pt x="157" y="6"/>
                    <a:pt x="191" y="6"/>
                  </a:cubicBezTo>
                  <a:cubicBezTo>
                    <a:pt x="191" y="0"/>
                    <a:pt x="191" y="0"/>
                    <a:pt x="191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şľîḍè">
              <a:extLst>
                <a:ext uri="{FF2B5EF4-FFF2-40B4-BE49-F238E27FC236}">
                  <a16:creationId xmlns:a16="http://schemas.microsoft.com/office/drawing/2014/main" id="{DBA9450F-4DF2-431D-9E87-2441B27E3845}"/>
                </a:ext>
              </a:extLst>
            </p:cNvPr>
            <p:cNvSpPr/>
            <p:nvPr/>
          </p:nvSpPr>
          <p:spPr bwMode="auto">
            <a:xfrm>
              <a:off x="4454220" y="3750353"/>
              <a:ext cx="2753283" cy="1972236"/>
            </a:xfrm>
            <a:custGeom>
              <a:avLst/>
              <a:gdLst>
                <a:gd name="T0" fmla="*/ 0 w 2316"/>
                <a:gd name="T1" fmla="*/ 386 h 1659"/>
                <a:gd name="T2" fmla="*/ 0 w 2316"/>
                <a:gd name="T3" fmla="*/ 1659 h 1659"/>
                <a:gd name="T4" fmla="*/ 2251 w 2316"/>
                <a:gd name="T5" fmla="*/ 1659 h 1659"/>
                <a:gd name="T6" fmla="*/ 2251 w 2316"/>
                <a:gd name="T7" fmla="*/ 0 h 1659"/>
                <a:gd name="T8" fmla="*/ 2316 w 2316"/>
                <a:gd name="T9" fmla="*/ 0 h 1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6" h="1659">
                  <a:moveTo>
                    <a:pt x="0" y="386"/>
                  </a:moveTo>
                  <a:lnTo>
                    <a:pt x="0" y="1659"/>
                  </a:lnTo>
                  <a:lnTo>
                    <a:pt x="2251" y="1659"/>
                  </a:lnTo>
                  <a:lnTo>
                    <a:pt x="2251" y="0"/>
                  </a:lnTo>
                  <a:lnTo>
                    <a:pt x="2316" y="0"/>
                  </a:lnTo>
                </a:path>
              </a:pathLst>
            </a:custGeom>
            <a:noFill/>
            <a:ln w="28575" cap="flat">
              <a:solidFill>
                <a:srgbClr val="4748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ṣḻîďè">
              <a:extLst>
                <a:ext uri="{FF2B5EF4-FFF2-40B4-BE49-F238E27FC236}">
                  <a16:creationId xmlns:a16="http://schemas.microsoft.com/office/drawing/2014/main" id="{87E60140-C3FD-4A56-BDBA-D5465F3E3DA1}"/>
                </a:ext>
              </a:extLst>
            </p:cNvPr>
            <p:cNvSpPr/>
            <p:nvPr/>
          </p:nvSpPr>
          <p:spPr bwMode="auto">
            <a:xfrm>
              <a:off x="3431492" y="1218950"/>
              <a:ext cx="2118207" cy="29884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ṥļïḍe">
              <a:extLst>
                <a:ext uri="{FF2B5EF4-FFF2-40B4-BE49-F238E27FC236}">
                  <a16:creationId xmlns:a16="http://schemas.microsoft.com/office/drawing/2014/main" id="{3CB8BBDD-D10C-4944-88A2-F78997498FC4}"/>
                </a:ext>
              </a:extLst>
            </p:cNvPr>
            <p:cNvSpPr/>
            <p:nvPr/>
          </p:nvSpPr>
          <p:spPr bwMode="auto">
            <a:xfrm>
              <a:off x="3431492" y="1218950"/>
              <a:ext cx="2118207" cy="29884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ṧ1iḓè">
              <a:extLst>
                <a:ext uri="{FF2B5EF4-FFF2-40B4-BE49-F238E27FC236}">
                  <a16:creationId xmlns:a16="http://schemas.microsoft.com/office/drawing/2014/main" id="{0102F56F-D2CA-4BC4-A7CA-8FC18A0B37DF}"/>
                </a:ext>
              </a:extLst>
            </p:cNvPr>
            <p:cNvSpPr/>
            <p:nvPr/>
          </p:nvSpPr>
          <p:spPr bwMode="auto">
            <a:xfrm>
              <a:off x="3330758" y="1218950"/>
              <a:ext cx="100734" cy="298843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śḷídê">
              <a:extLst>
                <a:ext uri="{FF2B5EF4-FFF2-40B4-BE49-F238E27FC236}">
                  <a16:creationId xmlns:a16="http://schemas.microsoft.com/office/drawing/2014/main" id="{C58ECA14-C19F-486C-8E3E-F4F39A54752A}"/>
                </a:ext>
              </a:extLst>
            </p:cNvPr>
            <p:cNvSpPr/>
            <p:nvPr/>
          </p:nvSpPr>
          <p:spPr bwMode="auto">
            <a:xfrm>
              <a:off x="3781262" y="3433693"/>
              <a:ext cx="1420067" cy="34977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$ľíḋé">
              <a:extLst>
                <a:ext uri="{FF2B5EF4-FFF2-40B4-BE49-F238E27FC236}">
                  <a16:creationId xmlns:a16="http://schemas.microsoft.com/office/drawing/2014/main" id="{AE0FA14F-F3CB-49C2-AA16-5F13343B8C4F}"/>
                </a:ext>
              </a:extLst>
            </p:cNvPr>
            <p:cNvSpPr/>
            <p:nvPr/>
          </p:nvSpPr>
          <p:spPr bwMode="auto">
            <a:xfrm>
              <a:off x="3781262" y="3569406"/>
              <a:ext cx="1420067" cy="36376"/>
            </a:xfrm>
            <a:prstGeom prst="rect">
              <a:avLst/>
            </a:prstGeom>
            <a:solidFill>
              <a:srgbClr val="69F0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ṧlîḓe">
              <a:extLst>
                <a:ext uri="{FF2B5EF4-FFF2-40B4-BE49-F238E27FC236}">
                  <a16:creationId xmlns:a16="http://schemas.microsoft.com/office/drawing/2014/main" id="{9B5661AE-772C-43D1-9072-6ED7799A5F37}"/>
                </a:ext>
              </a:extLst>
            </p:cNvPr>
            <p:cNvSpPr/>
            <p:nvPr/>
          </p:nvSpPr>
          <p:spPr bwMode="auto">
            <a:xfrm>
              <a:off x="3781262" y="3705116"/>
              <a:ext cx="1420067" cy="36376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ṥļîďè">
              <a:extLst>
                <a:ext uri="{FF2B5EF4-FFF2-40B4-BE49-F238E27FC236}">
                  <a16:creationId xmlns:a16="http://schemas.microsoft.com/office/drawing/2014/main" id="{7D6889EE-D5CE-4042-86AF-6F74E51E5820}"/>
                </a:ext>
              </a:extLst>
            </p:cNvPr>
            <p:cNvSpPr/>
            <p:nvPr/>
          </p:nvSpPr>
          <p:spPr bwMode="auto">
            <a:xfrm>
              <a:off x="3781262" y="3840826"/>
              <a:ext cx="1420067" cy="36376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ṩḻíḍè">
              <a:extLst>
                <a:ext uri="{FF2B5EF4-FFF2-40B4-BE49-F238E27FC236}">
                  <a16:creationId xmlns:a16="http://schemas.microsoft.com/office/drawing/2014/main" id="{2D7EE366-1BDC-4B8C-98A6-32797943538E}"/>
                </a:ext>
              </a:extLst>
            </p:cNvPr>
            <p:cNvSpPr/>
            <p:nvPr/>
          </p:nvSpPr>
          <p:spPr bwMode="auto">
            <a:xfrm>
              <a:off x="3781262" y="3976537"/>
              <a:ext cx="1420067" cy="36376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ṥliďe">
              <a:extLst>
                <a:ext uri="{FF2B5EF4-FFF2-40B4-BE49-F238E27FC236}">
                  <a16:creationId xmlns:a16="http://schemas.microsoft.com/office/drawing/2014/main" id="{DF0D5B19-35A8-4FA0-8883-815AA98D04EF}"/>
                </a:ext>
              </a:extLst>
            </p:cNvPr>
            <p:cNvSpPr/>
            <p:nvPr/>
          </p:nvSpPr>
          <p:spPr bwMode="auto">
            <a:xfrm>
              <a:off x="3809244" y="1460992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ṥļiḋê">
              <a:extLst>
                <a:ext uri="{FF2B5EF4-FFF2-40B4-BE49-F238E27FC236}">
                  <a16:creationId xmlns:a16="http://schemas.microsoft.com/office/drawing/2014/main" id="{61F58896-3CC9-4EF6-99E3-7255D22C6754}"/>
                </a:ext>
              </a:extLst>
            </p:cNvPr>
            <p:cNvSpPr/>
            <p:nvPr/>
          </p:nvSpPr>
          <p:spPr bwMode="auto">
            <a:xfrm>
              <a:off x="4080666" y="1868124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ṣliḓé">
              <a:extLst>
                <a:ext uri="{FF2B5EF4-FFF2-40B4-BE49-F238E27FC236}">
                  <a16:creationId xmlns:a16="http://schemas.microsoft.com/office/drawing/2014/main" id="{8CFE56D2-FF1B-4B2A-B6DA-4BAF9BA17165}"/>
                </a:ext>
              </a:extLst>
            </p:cNvPr>
            <p:cNvSpPr/>
            <p:nvPr/>
          </p:nvSpPr>
          <p:spPr bwMode="auto">
            <a:xfrm>
              <a:off x="4359082" y="1460992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1idè">
              <a:extLst>
                <a:ext uri="{FF2B5EF4-FFF2-40B4-BE49-F238E27FC236}">
                  <a16:creationId xmlns:a16="http://schemas.microsoft.com/office/drawing/2014/main" id="{4BAE89C6-6638-4B52-A367-F936A93768F7}"/>
                </a:ext>
              </a:extLst>
            </p:cNvPr>
            <p:cNvSpPr/>
            <p:nvPr/>
          </p:nvSpPr>
          <p:spPr bwMode="auto">
            <a:xfrm>
              <a:off x="4696260" y="1868124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sľíḍé">
              <a:extLst>
                <a:ext uri="{FF2B5EF4-FFF2-40B4-BE49-F238E27FC236}">
                  <a16:creationId xmlns:a16="http://schemas.microsoft.com/office/drawing/2014/main" id="{415EB404-7B7D-48BD-8D22-23EBC168F7D5}"/>
                </a:ext>
              </a:extLst>
            </p:cNvPr>
            <p:cNvSpPr/>
            <p:nvPr/>
          </p:nvSpPr>
          <p:spPr bwMode="auto">
            <a:xfrm>
              <a:off x="3922569" y="2742549"/>
              <a:ext cx="1775434" cy="419724"/>
            </a:xfrm>
            <a:prstGeom prst="rect">
              <a:avLst/>
            </a:pr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Sḷiḓé">
              <a:extLst>
                <a:ext uri="{FF2B5EF4-FFF2-40B4-BE49-F238E27FC236}">
                  <a16:creationId xmlns:a16="http://schemas.microsoft.com/office/drawing/2014/main" id="{5D1BB6DE-0EF8-4557-95BE-3E5B3CBF983D}"/>
                </a:ext>
              </a:extLst>
            </p:cNvPr>
            <p:cNvSpPr/>
            <p:nvPr/>
          </p:nvSpPr>
          <p:spPr bwMode="auto">
            <a:xfrm>
              <a:off x="3922569" y="2742549"/>
              <a:ext cx="1775434" cy="4197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şḻiďe">
              <a:extLst>
                <a:ext uri="{FF2B5EF4-FFF2-40B4-BE49-F238E27FC236}">
                  <a16:creationId xmlns:a16="http://schemas.microsoft.com/office/drawing/2014/main" id="{5FEB5D23-9E33-4A0A-BC60-5F19EABE7E94}"/>
                </a:ext>
              </a:extLst>
            </p:cNvPr>
            <p:cNvSpPr/>
            <p:nvPr/>
          </p:nvSpPr>
          <p:spPr bwMode="auto">
            <a:xfrm>
              <a:off x="4395458" y="2843283"/>
              <a:ext cx="521858" cy="237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şlïḍe">
              <a:extLst>
                <a:ext uri="{FF2B5EF4-FFF2-40B4-BE49-F238E27FC236}">
                  <a16:creationId xmlns:a16="http://schemas.microsoft.com/office/drawing/2014/main" id="{67E2E0A7-77AB-47ED-9519-7DDAA6F93CC8}"/>
                </a:ext>
              </a:extLst>
            </p:cNvPr>
            <p:cNvSpPr/>
            <p:nvPr/>
          </p:nvSpPr>
          <p:spPr bwMode="auto">
            <a:xfrm>
              <a:off x="4395458" y="2896448"/>
              <a:ext cx="521858" cy="23784"/>
            </a:xfrm>
            <a:prstGeom prst="rect">
              <a:avLst/>
            </a:pr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ŝḷiḑè">
              <a:extLst>
                <a:ext uri="{FF2B5EF4-FFF2-40B4-BE49-F238E27FC236}">
                  <a16:creationId xmlns:a16="http://schemas.microsoft.com/office/drawing/2014/main" id="{C6411E3B-86D4-4BEE-90B2-259739E5586E}"/>
                </a:ext>
              </a:extLst>
            </p:cNvPr>
            <p:cNvSpPr/>
            <p:nvPr/>
          </p:nvSpPr>
          <p:spPr bwMode="auto">
            <a:xfrm>
              <a:off x="4395458" y="2896448"/>
              <a:ext cx="521858" cy="23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ṡļïḍé">
              <a:extLst>
                <a:ext uri="{FF2B5EF4-FFF2-40B4-BE49-F238E27FC236}">
                  <a16:creationId xmlns:a16="http://schemas.microsoft.com/office/drawing/2014/main" id="{49F929E4-778A-48DF-A1B5-904855C30C97}"/>
                </a:ext>
              </a:extLst>
            </p:cNvPr>
            <p:cNvSpPr/>
            <p:nvPr/>
          </p:nvSpPr>
          <p:spPr bwMode="auto">
            <a:xfrm>
              <a:off x="4395458" y="2984590"/>
              <a:ext cx="1018531" cy="2378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ṩ1ïḋe">
              <a:extLst>
                <a:ext uri="{FF2B5EF4-FFF2-40B4-BE49-F238E27FC236}">
                  <a16:creationId xmlns:a16="http://schemas.microsoft.com/office/drawing/2014/main" id="{59EE7930-5FFB-4532-9379-E29764ACF2B9}"/>
                </a:ext>
              </a:extLst>
            </p:cNvPr>
            <p:cNvSpPr/>
            <p:nvPr/>
          </p:nvSpPr>
          <p:spPr bwMode="auto">
            <a:xfrm>
              <a:off x="4012110" y="2837686"/>
              <a:ext cx="223853" cy="223853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Sḻíḓê">
              <a:extLst>
                <a:ext uri="{FF2B5EF4-FFF2-40B4-BE49-F238E27FC236}">
                  <a16:creationId xmlns:a16="http://schemas.microsoft.com/office/drawing/2014/main" id="{7F9DAFB1-BED9-4715-AFD5-AB1F7B4C729C}"/>
                </a:ext>
              </a:extLst>
            </p:cNvPr>
            <p:cNvSpPr/>
            <p:nvPr/>
          </p:nvSpPr>
          <p:spPr bwMode="auto">
            <a:xfrm>
              <a:off x="4012110" y="2837686"/>
              <a:ext cx="223853" cy="22385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98" name="ïṣḻïḑe">
              <a:extLst>
                <a:ext uri="{FF2B5EF4-FFF2-40B4-BE49-F238E27FC236}">
                  <a16:creationId xmlns:a16="http://schemas.microsoft.com/office/drawing/2014/main" id="{8DEBB854-6F55-4009-8A97-0CB1ACDB03FB}"/>
                </a:ext>
              </a:extLst>
            </p:cNvPr>
            <p:cNvGrpSpPr/>
            <p:nvPr/>
          </p:nvGrpSpPr>
          <p:grpSpPr>
            <a:xfrm>
              <a:off x="3641354" y="1433853"/>
              <a:ext cx="849241" cy="839788"/>
              <a:chOff x="2928938" y="714375"/>
              <a:chExt cx="963612" cy="839788"/>
            </a:xfrm>
          </p:grpSpPr>
          <p:cxnSp>
            <p:nvCxnSpPr>
              <p:cNvPr id="102" name="直接连接符 101">
                <a:extLst>
                  <a:ext uri="{FF2B5EF4-FFF2-40B4-BE49-F238E27FC236}">
                    <a16:creationId xmlns:a16="http://schemas.microsoft.com/office/drawing/2014/main" id="{8568C648-1FAE-4A39-8298-918EF1FF8A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4375"/>
                <a:ext cx="963612" cy="0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>
                <a:extLst>
                  <a:ext uri="{FF2B5EF4-FFF2-40B4-BE49-F238E27FC236}">
                    <a16:creationId xmlns:a16="http://schemas.microsoft.com/office/drawing/2014/main" id="{779BAD9D-045A-4801-9619-4841A3191C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6756"/>
                <a:ext cx="0" cy="837407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ïṧļiḋé">
              <a:extLst>
                <a:ext uri="{FF2B5EF4-FFF2-40B4-BE49-F238E27FC236}">
                  <a16:creationId xmlns:a16="http://schemas.microsoft.com/office/drawing/2014/main" id="{3B9F39C0-59B2-47B5-956A-4B3AD419FB25}"/>
                </a:ext>
              </a:extLst>
            </p:cNvPr>
            <p:cNvGrpSpPr/>
            <p:nvPr/>
          </p:nvGrpSpPr>
          <p:grpSpPr>
            <a:xfrm flipH="1" flipV="1">
              <a:off x="4444427" y="1500753"/>
              <a:ext cx="849241" cy="839788"/>
              <a:chOff x="2928938" y="714375"/>
              <a:chExt cx="963612" cy="839788"/>
            </a:xfrm>
          </p:grpSpPr>
          <p:cxnSp>
            <p:nvCxnSpPr>
              <p:cNvPr id="100" name="直接连接符 99">
                <a:extLst>
                  <a:ext uri="{FF2B5EF4-FFF2-40B4-BE49-F238E27FC236}">
                    <a16:creationId xmlns:a16="http://schemas.microsoft.com/office/drawing/2014/main" id="{9E8925BC-4216-41D8-9F51-9B6F44B20A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4375"/>
                <a:ext cx="963612" cy="0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>
                <a:extLst>
                  <a:ext uri="{FF2B5EF4-FFF2-40B4-BE49-F238E27FC236}">
                    <a16:creationId xmlns:a16="http://schemas.microsoft.com/office/drawing/2014/main" id="{96DCBD32-A71F-4A85-A3B5-98B2105BA4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6756"/>
                <a:ext cx="0" cy="837407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4" name="TextBox 6">
            <a:extLst>
              <a:ext uri="{FF2B5EF4-FFF2-40B4-BE49-F238E27FC236}">
                <a16:creationId xmlns:a16="http://schemas.microsoft.com/office/drawing/2014/main" id="{2981605C-796A-4015-9619-FD37E13BC32D}"/>
              </a:ext>
            </a:extLst>
          </p:cNvPr>
          <p:cNvSpPr txBox="1"/>
          <p:nvPr/>
        </p:nvSpPr>
        <p:spPr>
          <a:xfrm>
            <a:off x="1125190" y="2123854"/>
            <a:ext cx="4207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dirty="0">
                <a:latin typeface="张海山锐谐体" panose="02000000000000000000" pitchFamily="2" charset="-122"/>
                <a:ea typeface="张海山锐谐体" panose="02000000000000000000" pitchFamily="2" charset="-122"/>
              </a:rPr>
              <a:t>簡報問題答復二</a:t>
            </a:r>
            <a:endParaRPr lang="id-ID" sz="4400" dirty="0">
              <a:latin typeface="张海山锐谐体" panose="02000000000000000000" pitchFamily="2" charset="-122"/>
              <a:ea typeface="张海山锐谐体" panose="02000000000000000000" pitchFamily="2" charset="-122"/>
            </a:endParaRPr>
          </a:p>
        </p:txBody>
      </p:sp>
      <p:sp>
        <p:nvSpPr>
          <p:cNvPr id="105" name="Rectangle: Rounded Corners 7">
            <a:extLst>
              <a:ext uri="{FF2B5EF4-FFF2-40B4-BE49-F238E27FC236}">
                <a16:creationId xmlns:a16="http://schemas.microsoft.com/office/drawing/2014/main" id="{3BA2DF51-B127-4FDE-8298-F6EC7B2E33A4}"/>
              </a:ext>
            </a:extLst>
          </p:cNvPr>
          <p:cNvSpPr/>
          <p:nvPr/>
        </p:nvSpPr>
        <p:spPr>
          <a:xfrm>
            <a:off x="1252984" y="2080455"/>
            <a:ext cx="347346" cy="36000"/>
          </a:xfrm>
          <a:prstGeom prst="roundRect">
            <a:avLst>
              <a:gd name="adj" fmla="val 6090"/>
            </a:avLst>
          </a:prstGeom>
          <a:solidFill>
            <a:srgbClr val="25E0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tx1"/>
              </a:solidFill>
            </a:endParaRPr>
          </a:p>
        </p:txBody>
      </p:sp>
      <p:sp>
        <p:nvSpPr>
          <p:cNvPr id="106" name="Rectangle 8">
            <a:extLst>
              <a:ext uri="{FF2B5EF4-FFF2-40B4-BE49-F238E27FC236}">
                <a16:creationId xmlns:a16="http://schemas.microsoft.com/office/drawing/2014/main" id="{A7318A95-89CD-44B0-B636-8B4D01CDCEAA}"/>
              </a:ext>
            </a:extLst>
          </p:cNvPr>
          <p:cNvSpPr/>
          <p:nvPr/>
        </p:nvSpPr>
        <p:spPr>
          <a:xfrm>
            <a:off x="1213948" y="3909630"/>
            <a:ext cx="128272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>
                <a:latin typeface="张海山锐线体2.0" panose="02000000000000000000" pitchFamily="2" charset="-122"/>
                <a:cs typeface="Segoe UI Light" panose="020B0502040204020203" pitchFamily="34" charset="0"/>
              </a:rPr>
              <a:t>Question</a:t>
            </a:r>
            <a:r>
              <a:rPr lang="zh-CN" altLang="en-US" sz="1600" dirty="0">
                <a:latin typeface="张海山锐线体2.0" panose="02000000000000000000" pitchFamily="2" charset="-122"/>
                <a:cs typeface="Segoe UI Light" panose="020B0502040204020203" pitchFamily="34" charset="0"/>
              </a:rPr>
              <a:t>：</a:t>
            </a:r>
            <a:endParaRPr lang="en-US" altLang="zh-CN" sz="1600" dirty="0">
              <a:latin typeface="张海山锐线体2.0" panose="02000000000000000000" pitchFamily="2" charset="-122"/>
              <a:cs typeface="Segoe UI Light" panose="020B0502040204020203" pitchFamily="34" charset="0"/>
            </a:endParaRPr>
          </a:p>
        </p:txBody>
      </p:sp>
      <p:cxnSp>
        <p:nvCxnSpPr>
          <p:cNvPr id="109" name="Straight Connector 5">
            <a:extLst>
              <a:ext uri="{FF2B5EF4-FFF2-40B4-BE49-F238E27FC236}">
                <a16:creationId xmlns:a16="http://schemas.microsoft.com/office/drawing/2014/main" id="{3AC255FB-13CF-48C6-9E36-C63405435E6C}"/>
              </a:ext>
            </a:extLst>
          </p:cNvPr>
          <p:cNvCxnSpPr>
            <a:cxnSpLocks/>
          </p:cNvCxnSpPr>
          <p:nvPr/>
        </p:nvCxnSpPr>
        <p:spPr>
          <a:xfrm>
            <a:off x="7979392" y="2370576"/>
            <a:ext cx="309454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2C1EC852-A535-44BB-BD0D-09332125DF81}"/>
              </a:ext>
            </a:extLst>
          </p:cNvPr>
          <p:cNvSpPr txBox="1"/>
          <p:nvPr/>
        </p:nvSpPr>
        <p:spPr>
          <a:xfrm>
            <a:off x="1213948" y="4467143"/>
            <a:ext cx="51482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手語手套是否適合大多數群體使用（適用性）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2583496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6" presetClass="entr" presetSubtype="37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4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/>
      <p:bldP spid="105" grpId="0" animBg="1"/>
      <p:bldP spid="10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8D537F49-6596-4036-872E-7FACCD9552F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37"/>
          <a:stretch/>
        </p:blipFill>
        <p:spPr>
          <a:xfrm>
            <a:off x="-97398" y="0"/>
            <a:ext cx="12289397" cy="6915150"/>
          </a:xfrm>
          <a:prstGeom prst="rect">
            <a:avLst/>
          </a:prstGeom>
        </p:spPr>
      </p:pic>
      <p:sp>
        <p:nvSpPr>
          <p:cNvPr id="3" name="圆角矩形 3">
            <a:extLst>
              <a:ext uri="{FF2B5EF4-FFF2-40B4-BE49-F238E27FC236}">
                <a16:creationId xmlns:a16="http://schemas.microsoft.com/office/drawing/2014/main" id="{496C21AC-103A-41FE-A900-0AAD150EED14}"/>
              </a:ext>
            </a:extLst>
          </p:cNvPr>
          <p:cNvSpPr/>
          <p:nvPr/>
        </p:nvSpPr>
        <p:spPr>
          <a:xfrm>
            <a:off x="694502" y="568339"/>
            <a:ext cx="10802533" cy="5694503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ln w="12700">
            <a:noFill/>
          </a:ln>
          <a:effectLst>
            <a:outerShdw blurRad="381000" dist="38100" dir="5400000" algn="t" rotWithShape="0">
              <a:srgbClr val="B8B8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prstClr val="white"/>
              </a:solidFill>
            </a:endParaRPr>
          </a:p>
        </p:txBody>
      </p:sp>
      <p:grpSp>
        <p:nvGrpSpPr>
          <p:cNvPr id="4" name="c14c19f6-979a-41d9-8fd9-c37f22741f3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8C2DE36-B47E-43FD-8001-AF19B25F56D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632553" y="1416553"/>
            <a:ext cx="5046115" cy="4082043"/>
            <a:chOff x="3260725" y="1135411"/>
            <a:chExt cx="5670550" cy="4587178"/>
          </a:xfrm>
        </p:grpSpPr>
        <p:sp>
          <p:nvSpPr>
            <p:cNvPr id="5" name="iṣlidê">
              <a:extLst>
                <a:ext uri="{FF2B5EF4-FFF2-40B4-BE49-F238E27FC236}">
                  <a16:creationId xmlns:a16="http://schemas.microsoft.com/office/drawing/2014/main" id="{A36E0343-DE59-4918-92C4-3CF2E02CB067}"/>
                </a:ext>
              </a:extLst>
            </p:cNvPr>
            <p:cNvSpPr/>
            <p:nvPr/>
          </p:nvSpPr>
          <p:spPr bwMode="auto">
            <a:xfrm>
              <a:off x="3260725" y="1135411"/>
              <a:ext cx="2385286" cy="314549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îṣliḋè">
              <a:extLst>
                <a:ext uri="{FF2B5EF4-FFF2-40B4-BE49-F238E27FC236}">
                  <a16:creationId xmlns:a16="http://schemas.microsoft.com/office/drawing/2014/main" id="{C28083AB-64BB-4FE0-BBD2-055981F9AC33}"/>
                </a:ext>
              </a:extLst>
            </p:cNvPr>
            <p:cNvSpPr/>
            <p:nvPr/>
          </p:nvSpPr>
          <p:spPr bwMode="auto">
            <a:xfrm>
              <a:off x="6490649" y="4167626"/>
              <a:ext cx="202098" cy="1097272"/>
            </a:xfrm>
            <a:custGeom>
              <a:avLst/>
              <a:gdLst>
                <a:gd name="T0" fmla="*/ 71 w 170"/>
                <a:gd name="T1" fmla="*/ 0 h 923"/>
                <a:gd name="T2" fmla="*/ 0 w 170"/>
                <a:gd name="T3" fmla="*/ 923 h 923"/>
                <a:gd name="T4" fmla="*/ 71 w 170"/>
                <a:gd name="T5" fmla="*/ 923 h 923"/>
                <a:gd name="T6" fmla="*/ 170 w 170"/>
                <a:gd name="T7" fmla="*/ 0 h 923"/>
                <a:gd name="T8" fmla="*/ 71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1" y="0"/>
                  </a:moveTo>
                  <a:lnTo>
                    <a:pt x="0" y="923"/>
                  </a:lnTo>
                  <a:lnTo>
                    <a:pt x="71" y="923"/>
                  </a:lnTo>
                  <a:lnTo>
                    <a:pt x="170" y="0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íṧļiḓè">
              <a:extLst>
                <a:ext uri="{FF2B5EF4-FFF2-40B4-BE49-F238E27FC236}">
                  <a16:creationId xmlns:a16="http://schemas.microsoft.com/office/drawing/2014/main" id="{02C3D017-4D0F-4054-931C-99A4A3A45EB1}"/>
                </a:ext>
              </a:extLst>
            </p:cNvPr>
            <p:cNvSpPr/>
            <p:nvPr/>
          </p:nvSpPr>
          <p:spPr bwMode="auto">
            <a:xfrm>
              <a:off x="6490649" y="4167626"/>
              <a:ext cx="202098" cy="1097272"/>
            </a:xfrm>
            <a:custGeom>
              <a:avLst/>
              <a:gdLst>
                <a:gd name="T0" fmla="*/ 71 w 170"/>
                <a:gd name="T1" fmla="*/ 0 h 923"/>
                <a:gd name="T2" fmla="*/ 0 w 170"/>
                <a:gd name="T3" fmla="*/ 923 h 923"/>
                <a:gd name="T4" fmla="*/ 71 w 170"/>
                <a:gd name="T5" fmla="*/ 923 h 923"/>
                <a:gd name="T6" fmla="*/ 170 w 170"/>
                <a:gd name="T7" fmla="*/ 0 h 923"/>
                <a:gd name="T8" fmla="*/ 71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1" y="0"/>
                  </a:moveTo>
                  <a:lnTo>
                    <a:pt x="0" y="923"/>
                  </a:lnTo>
                  <a:lnTo>
                    <a:pt x="71" y="923"/>
                  </a:lnTo>
                  <a:lnTo>
                    <a:pt x="170" y="0"/>
                  </a:lnTo>
                  <a:lnTo>
                    <a:pt x="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í$ḻiďé">
              <a:extLst>
                <a:ext uri="{FF2B5EF4-FFF2-40B4-BE49-F238E27FC236}">
                  <a16:creationId xmlns:a16="http://schemas.microsoft.com/office/drawing/2014/main" id="{5981D908-CBDC-48BA-B642-22C42E1FCFF3}"/>
                </a:ext>
              </a:extLst>
            </p:cNvPr>
            <p:cNvSpPr/>
            <p:nvPr/>
          </p:nvSpPr>
          <p:spPr bwMode="auto">
            <a:xfrm>
              <a:off x="8729177" y="4131961"/>
              <a:ext cx="202098" cy="1097272"/>
            </a:xfrm>
            <a:custGeom>
              <a:avLst/>
              <a:gdLst>
                <a:gd name="T0" fmla="*/ 99 w 170"/>
                <a:gd name="T1" fmla="*/ 0 h 923"/>
                <a:gd name="T2" fmla="*/ 170 w 170"/>
                <a:gd name="T3" fmla="*/ 923 h 923"/>
                <a:gd name="T4" fmla="*/ 99 w 170"/>
                <a:gd name="T5" fmla="*/ 923 h 923"/>
                <a:gd name="T6" fmla="*/ 0 w 170"/>
                <a:gd name="T7" fmla="*/ 0 h 923"/>
                <a:gd name="T8" fmla="*/ 99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99" y="0"/>
                  </a:moveTo>
                  <a:lnTo>
                    <a:pt x="170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$ḻïḓè">
              <a:extLst>
                <a:ext uri="{FF2B5EF4-FFF2-40B4-BE49-F238E27FC236}">
                  <a16:creationId xmlns:a16="http://schemas.microsoft.com/office/drawing/2014/main" id="{32F6E5DE-C819-4F71-B571-F48F30F4EB48}"/>
                </a:ext>
              </a:extLst>
            </p:cNvPr>
            <p:cNvSpPr/>
            <p:nvPr/>
          </p:nvSpPr>
          <p:spPr bwMode="auto">
            <a:xfrm>
              <a:off x="8729176" y="4131961"/>
              <a:ext cx="202098" cy="1097272"/>
            </a:xfrm>
            <a:custGeom>
              <a:avLst/>
              <a:gdLst>
                <a:gd name="T0" fmla="*/ 99 w 170"/>
                <a:gd name="T1" fmla="*/ 0 h 923"/>
                <a:gd name="T2" fmla="*/ 170 w 170"/>
                <a:gd name="T3" fmla="*/ 923 h 923"/>
                <a:gd name="T4" fmla="*/ 99 w 170"/>
                <a:gd name="T5" fmla="*/ 923 h 923"/>
                <a:gd name="T6" fmla="*/ 0 w 170"/>
                <a:gd name="T7" fmla="*/ 0 h 923"/>
                <a:gd name="T8" fmla="*/ 99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99" y="0"/>
                  </a:moveTo>
                  <a:lnTo>
                    <a:pt x="170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slíḋe">
              <a:extLst>
                <a:ext uri="{FF2B5EF4-FFF2-40B4-BE49-F238E27FC236}">
                  <a16:creationId xmlns:a16="http://schemas.microsoft.com/office/drawing/2014/main" id="{DE103C51-0BFB-43F3-AB7F-2769A52891B4}"/>
                </a:ext>
              </a:extLst>
            </p:cNvPr>
            <p:cNvSpPr/>
            <p:nvPr/>
          </p:nvSpPr>
          <p:spPr bwMode="auto">
            <a:xfrm>
              <a:off x="6817572" y="4118884"/>
              <a:ext cx="202098" cy="1097272"/>
            </a:xfrm>
            <a:custGeom>
              <a:avLst/>
              <a:gdLst>
                <a:gd name="T0" fmla="*/ 70 w 170"/>
                <a:gd name="T1" fmla="*/ 0 h 923"/>
                <a:gd name="T2" fmla="*/ 0 w 170"/>
                <a:gd name="T3" fmla="*/ 923 h 923"/>
                <a:gd name="T4" fmla="*/ 70 w 170"/>
                <a:gd name="T5" fmla="*/ 923 h 923"/>
                <a:gd name="T6" fmla="*/ 170 w 170"/>
                <a:gd name="T7" fmla="*/ 0 h 923"/>
                <a:gd name="T8" fmla="*/ 70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0" y="0"/>
                  </a:moveTo>
                  <a:lnTo>
                    <a:pt x="0" y="923"/>
                  </a:lnTo>
                  <a:lnTo>
                    <a:pt x="70" y="923"/>
                  </a:lnTo>
                  <a:lnTo>
                    <a:pt x="170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šlïdê">
              <a:extLst>
                <a:ext uri="{FF2B5EF4-FFF2-40B4-BE49-F238E27FC236}">
                  <a16:creationId xmlns:a16="http://schemas.microsoft.com/office/drawing/2014/main" id="{BA30FC56-D679-41AC-A059-916CB055D9B4}"/>
                </a:ext>
              </a:extLst>
            </p:cNvPr>
            <p:cNvSpPr/>
            <p:nvPr/>
          </p:nvSpPr>
          <p:spPr bwMode="auto">
            <a:xfrm>
              <a:off x="8423652" y="4167626"/>
              <a:ext cx="200909" cy="1097272"/>
            </a:xfrm>
            <a:custGeom>
              <a:avLst/>
              <a:gdLst>
                <a:gd name="T0" fmla="*/ 99 w 169"/>
                <a:gd name="T1" fmla="*/ 0 h 923"/>
                <a:gd name="T2" fmla="*/ 169 w 169"/>
                <a:gd name="T3" fmla="*/ 923 h 923"/>
                <a:gd name="T4" fmla="*/ 99 w 169"/>
                <a:gd name="T5" fmla="*/ 923 h 923"/>
                <a:gd name="T6" fmla="*/ 0 w 169"/>
                <a:gd name="T7" fmla="*/ 0 h 923"/>
                <a:gd name="T8" fmla="*/ 99 w 169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923">
                  <a:moveTo>
                    <a:pt x="99" y="0"/>
                  </a:moveTo>
                  <a:lnTo>
                    <a:pt x="169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ïṧľíḍê">
              <a:extLst>
                <a:ext uri="{FF2B5EF4-FFF2-40B4-BE49-F238E27FC236}">
                  <a16:creationId xmlns:a16="http://schemas.microsoft.com/office/drawing/2014/main" id="{77BF115E-C9B5-456C-ABE6-F95BB4A7AC9E}"/>
                </a:ext>
              </a:extLst>
            </p:cNvPr>
            <p:cNvSpPr/>
            <p:nvPr/>
          </p:nvSpPr>
          <p:spPr bwMode="auto">
            <a:xfrm>
              <a:off x="8423652" y="4167626"/>
              <a:ext cx="200909" cy="1097272"/>
            </a:xfrm>
            <a:custGeom>
              <a:avLst/>
              <a:gdLst>
                <a:gd name="T0" fmla="*/ 99 w 169"/>
                <a:gd name="T1" fmla="*/ 0 h 923"/>
                <a:gd name="T2" fmla="*/ 169 w 169"/>
                <a:gd name="T3" fmla="*/ 923 h 923"/>
                <a:gd name="T4" fmla="*/ 99 w 169"/>
                <a:gd name="T5" fmla="*/ 923 h 923"/>
                <a:gd name="T6" fmla="*/ 0 w 169"/>
                <a:gd name="T7" fmla="*/ 0 h 923"/>
                <a:gd name="T8" fmla="*/ 99 w 169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923">
                  <a:moveTo>
                    <a:pt x="99" y="0"/>
                  </a:moveTo>
                  <a:lnTo>
                    <a:pt x="169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šľiḓè">
              <a:extLst>
                <a:ext uri="{FF2B5EF4-FFF2-40B4-BE49-F238E27FC236}">
                  <a16:creationId xmlns:a16="http://schemas.microsoft.com/office/drawing/2014/main" id="{4564C047-F095-45AB-8B75-3EBB823B30BA}"/>
                </a:ext>
              </a:extLst>
            </p:cNvPr>
            <p:cNvSpPr/>
            <p:nvPr/>
          </p:nvSpPr>
          <p:spPr bwMode="auto">
            <a:xfrm>
              <a:off x="6421698" y="4104618"/>
              <a:ext cx="2001954" cy="104615"/>
            </a:xfrm>
            <a:prstGeom prst="rect">
              <a:avLst/>
            </a:pr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$ḷîḋê">
              <a:extLst>
                <a:ext uri="{FF2B5EF4-FFF2-40B4-BE49-F238E27FC236}">
                  <a16:creationId xmlns:a16="http://schemas.microsoft.com/office/drawing/2014/main" id="{09A8F721-4D76-4DCA-BC20-6EE5FBCCC90B}"/>
                </a:ext>
              </a:extLst>
            </p:cNvPr>
            <p:cNvSpPr/>
            <p:nvPr/>
          </p:nvSpPr>
          <p:spPr bwMode="auto">
            <a:xfrm>
              <a:off x="6421698" y="4104618"/>
              <a:ext cx="200195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šḻïde">
              <a:extLst>
                <a:ext uri="{FF2B5EF4-FFF2-40B4-BE49-F238E27FC236}">
                  <a16:creationId xmlns:a16="http://schemas.microsoft.com/office/drawing/2014/main" id="{D00A0659-8D51-4ACC-A79F-24F9FE9EC0A3}"/>
                </a:ext>
              </a:extLst>
            </p:cNvPr>
            <p:cNvSpPr/>
            <p:nvPr/>
          </p:nvSpPr>
          <p:spPr bwMode="auto">
            <a:xfrm>
              <a:off x="8423652" y="4104618"/>
              <a:ext cx="458881" cy="104615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išļíḍê">
              <a:extLst>
                <a:ext uri="{FF2B5EF4-FFF2-40B4-BE49-F238E27FC236}">
                  <a16:creationId xmlns:a16="http://schemas.microsoft.com/office/drawing/2014/main" id="{6B534724-0D51-4799-B878-DEF4C4FAA84E}"/>
                </a:ext>
              </a:extLst>
            </p:cNvPr>
            <p:cNvSpPr/>
            <p:nvPr/>
          </p:nvSpPr>
          <p:spPr bwMode="auto">
            <a:xfrm>
              <a:off x="8423652" y="4104618"/>
              <a:ext cx="458881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ṩ1iḋe">
              <a:extLst>
                <a:ext uri="{FF2B5EF4-FFF2-40B4-BE49-F238E27FC236}">
                  <a16:creationId xmlns:a16="http://schemas.microsoft.com/office/drawing/2014/main" id="{D089CF38-78A9-4D2F-ABCA-CE3AD9E97C80}"/>
                </a:ext>
              </a:extLst>
            </p:cNvPr>
            <p:cNvSpPr/>
            <p:nvPr/>
          </p:nvSpPr>
          <p:spPr bwMode="auto">
            <a:xfrm>
              <a:off x="8427220" y="4104618"/>
              <a:ext cx="458881" cy="104615"/>
            </a:xfrm>
            <a:custGeom>
              <a:avLst/>
              <a:gdLst>
                <a:gd name="T0" fmla="*/ 386 w 386"/>
                <a:gd name="T1" fmla="*/ 0 h 88"/>
                <a:gd name="T2" fmla="*/ 0 w 386"/>
                <a:gd name="T3" fmla="*/ 0 h 88"/>
                <a:gd name="T4" fmla="*/ 383 w 386"/>
                <a:gd name="T5" fmla="*/ 0 h 88"/>
                <a:gd name="T6" fmla="*/ 383 w 386"/>
                <a:gd name="T7" fmla="*/ 88 h 88"/>
                <a:gd name="T8" fmla="*/ 386 w 386"/>
                <a:gd name="T9" fmla="*/ 88 h 88"/>
                <a:gd name="T10" fmla="*/ 386 w 386"/>
                <a:gd name="T1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6" h="88">
                  <a:moveTo>
                    <a:pt x="386" y="0"/>
                  </a:moveTo>
                  <a:lnTo>
                    <a:pt x="0" y="0"/>
                  </a:lnTo>
                  <a:lnTo>
                    <a:pt x="383" y="0"/>
                  </a:lnTo>
                  <a:lnTo>
                    <a:pt x="383" y="88"/>
                  </a:lnTo>
                  <a:lnTo>
                    <a:pt x="386" y="88"/>
                  </a:lnTo>
                  <a:lnTo>
                    <a:pt x="38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ṣḷïḍê">
              <a:extLst>
                <a:ext uri="{FF2B5EF4-FFF2-40B4-BE49-F238E27FC236}">
                  <a16:creationId xmlns:a16="http://schemas.microsoft.com/office/drawing/2014/main" id="{7DBF0EC7-332B-466B-843E-E4E2FDDE6B0F}"/>
                </a:ext>
              </a:extLst>
            </p:cNvPr>
            <p:cNvSpPr/>
            <p:nvPr/>
          </p:nvSpPr>
          <p:spPr bwMode="auto">
            <a:xfrm>
              <a:off x="8427220" y="4104618"/>
              <a:ext cx="458881" cy="104615"/>
            </a:xfrm>
            <a:custGeom>
              <a:avLst/>
              <a:gdLst>
                <a:gd name="T0" fmla="*/ 386 w 386"/>
                <a:gd name="T1" fmla="*/ 0 h 88"/>
                <a:gd name="T2" fmla="*/ 0 w 386"/>
                <a:gd name="T3" fmla="*/ 0 h 88"/>
                <a:gd name="T4" fmla="*/ 383 w 386"/>
                <a:gd name="T5" fmla="*/ 0 h 88"/>
                <a:gd name="T6" fmla="*/ 383 w 386"/>
                <a:gd name="T7" fmla="*/ 88 h 88"/>
                <a:gd name="T8" fmla="*/ 386 w 386"/>
                <a:gd name="T9" fmla="*/ 88 h 88"/>
                <a:gd name="T10" fmla="*/ 386 w 386"/>
                <a:gd name="T1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6" h="88">
                  <a:moveTo>
                    <a:pt x="386" y="0"/>
                  </a:moveTo>
                  <a:lnTo>
                    <a:pt x="0" y="0"/>
                  </a:lnTo>
                  <a:lnTo>
                    <a:pt x="383" y="0"/>
                  </a:lnTo>
                  <a:lnTo>
                    <a:pt x="383" y="88"/>
                  </a:lnTo>
                  <a:lnTo>
                    <a:pt x="386" y="88"/>
                  </a:lnTo>
                  <a:lnTo>
                    <a:pt x="3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iSľïḑe">
              <a:extLst>
                <a:ext uri="{FF2B5EF4-FFF2-40B4-BE49-F238E27FC236}">
                  <a16:creationId xmlns:a16="http://schemas.microsoft.com/office/drawing/2014/main" id="{4CB01ECD-C664-48B6-B164-8ACCFEAF242C}"/>
                </a:ext>
              </a:extLst>
            </p:cNvPr>
            <p:cNvSpPr/>
            <p:nvPr/>
          </p:nvSpPr>
          <p:spPr bwMode="auto">
            <a:xfrm>
              <a:off x="8427220" y="4104618"/>
              <a:ext cx="455314" cy="104615"/>
            </a:xfrm>
            <a:prstGeom prst="rect">
              <a:avLst/>
            </a:pr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sļídè">
              <a:extLst>
                <a:ext uri="{FF2B5EF4-FFF2-40B4-BE49-F238E27FC236}">
                  <a16:creationId xmlns:a16="http://schemas.microsoft.com/office/drawing/2014/main" id="{AC31EB4A-803A-49F6-8B91-001E2EB17F59}"/>
                </a:ext>
              </a:extLst>
            </p:cNvPr>
            <p:cNvSpPr/>
            <p:nvPr/>
          </p:nvSpPr>
          <p:spPr bwMode="auto">
            <a:xfrm>
              <a:off x="8427220" y="4104618"/>
              <a:ext cx="45531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ïşḷiḋé">
              <a:extLst>
                <a:ext uri="{FF2B5EF4-FFF2-40B4-BE49-F238E27FC236}">
                  <a16:creationId xmlns:a16="http://schemas.microsoft.com/office/drawing/2014/main" id="{0AFA8C08-4691-478D-9276-460EA87F6AB3}"/>
                </a:ext>
              </a:extLst>
            </p:cNvPr>
            <p:cNvSpPr/>
            <p:nvPr/>
          </p:nvSpPr>
          <p:spPr bwMode="auto">
            <a:xfrm>
              <a:off x="7207502" y="3437696"/>
              <a:ext cx="937971" cy="59083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Sľîďe">
              <a:extLst>
                <a:ext uri="{FF2B5EF4-FFF2-40B4-BE49-F238E27FC236}">
                  <a16:creationId xmlns:a16="http://schemas.microsoft.com/office/drawing/2014/main" id="{F5576F20-4B8F-45CF-89B4-6FA7B4EA37AF}"/>
                </a:ext>
              </a:extLst>
            </p:cNvPr>
            <p:cNvSpPr/>
            <p:nvPr/>
          </p:nvSpPr>
          <p:spPr bwMode="auto">
            <a:xfrm>
              <a:off x="7227711" y="3459095"/>
              <a:ext cx="876153" cy="54804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ŝḻîḍé">
              <a:extLst>
                <a:ext uri="{FF2B5EF4-FFF2-40B4-BE49-F238E27FC236}">
                  <a16:creationId xmlns:a16="http://schemas.microsoft.com/office/drawing/2014/main" id="{BC8F9B22-E791-4764-BCCB-242094F98B2B}"/>
                </a:ext>
              </a:extLst>
            </p:cNvPr>
            <p:cNvSpPr/>
            <p:nvPr/>
          </p:nvSpPr>
          <p:spPr bwMode="auto">
            <a:xfrm>
              <a:off x="7533235" y="3958395"/>
              <a:ext cx="285314" cy="1462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şľiḓe">
              <a:extLst>
                <a:ext uri="{FF2B5EF4-FFF2-40B4-BE49-F238E27FC236}">
                  <a16:creationId xmlns:a16="http://schemas.microsoft.com/office/drawing/2014/main" id="{C70385A0-A7A4-4B5F-9026-38A5951F79FC}"/>
                </a:ext>
              </a:extLst>
            </p:cNvPr>
            <p:cNvSpPr/>
            <p:nvPr/>
          </p:nvSpPr>
          <p:spPr bwMode="auto">
            <a:xfrm>
              <a:off x="7543934" y="3958395"/>
              <a:ext cx="243706" cy="14622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ślíďè">
              <a:extLst>
                <a:ext uri="{FF2B5EF4-FFF2-40B4-BE49-F238E27FC236}">
                  <a16:creationId xmlns:a16="http://schemas.microsoft.com/office/drawing/2014/main" id="{C007093A-2428-4E17-8106-3868DB016466}"/>
                </a:ext>
              </a:extLst>
            </p:cNvPr>
            <p:cNvSpPr/>
            <p:nvPr/>
          </p:nvSpPr>
          <p:spPr bwMode="auto">
            <a:xfrm>
              <a:off x="8103864" y="3459095"/>
              <a:ext cx="27343" cy="548042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íŝľîḋè">
              <a:extLst>
                <a:ext uri="{FF2B5EF4-FFF2-40B4-BE49-F238E27FC236}">
                  <a16:creationId xmlns:a16="http://schemas.microsoft.com/office/drawing/2014/main" id="{C8A5A57D-C47B-4E92-BD15-99166315D2DE}"/>
                </a:ext>
              </a:extLst>
            </p:cNvPr>
            <p:cNvSpPr/>
            <p:nvPr/>
          </p:nvSpPr>
          <p:spPr bwMode="auto">
            <a:xfrm>
              <a:off x="7784074" y="3958395"/>
              <a:ext cx="20210" cy="146224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şľiḑè">
              <a:extLst>
                <a:ext uri="{FF2B5EF4-FFF2-40B4-BE49-F238E27FC236}">
                  <a16:creationId xmlns:a16="http://schemas.microsoft.com/office/drawing/2014/main" id="{F7B8FAD3-EC05-4CF8-8BDB-7752C10FF67D}"/>
                </a:ext>
              </a:extLst>
            </p:cNvPr>
            <p:cNvSpPr/>
            <p:nvPr/>
          </p:nvSpPr>
          <p:spPr bwMode="auto">
            <a:xfrm>
              <a:off x="7637851" y="3660003"/>
              <a:ext cx="55874" cy="55874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ṩ1iḍê">
              <a:extLst>
                <a:ext uri="{FF2B5EF4-FFF2-40B4-BE49-F238E27FC236}">
                  <a16:creationId xmlns:a16="http://schemas.microsoft.com/office/drawing/2014/main" id="{965BC1D9-542C-42E4-B519-5735546F4F15}"/>
                </a:ext>
              </a:extLst>
            </p:cNvPr>
            <p:cNvSpPr/>
            <p:nvPr/>
          </p:nvSpPr>
          <p:spPr bwMode="auto">
            <a:xfrm>
              <a:off x="6161351" y="3596998"/>
              <a:ext cx="602726" cy="485034"/>
            </a:xfrm>
            <a:custGeom>
              <a:avLst/>
              <a:gdLst>
                <a:gd name="T0" fmla="*/ 124 w 507"/>
                <a:gd name="T1" fmla="*/ 0 h 408"/>
                <a:gd name="T2" fmla="*/ 507 w 507"/>
                <a:gd name="T3" fmla="*/ 164 h 408"/>
                <a:gd name="T4" fmla="*/ 378 w 507"/>
                <a:gd name="T5" fmla="*/ 408 h 408"/>
                <a:gd name="T6" fmla="*/ 0 w 507"/>
                <a:gd name="T7" fmla="*/ 269 h 408"/>
                <a:gd name="T8" fmla="*/ 124 w 507"/>
                <a:gd name="T9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7" h="408">
                  <a:moveTo>
                    <a:pt x="124" y="0"/>
                  </a:moveTo>
                  <a:lnTo>
                    <a:pt x="507" y="164"/>
                  </a:lnTo>
                  <a:lnTo>
                    <a:pt x="378" y="408"/>
                  </a:lnTo>
                  <a:lnTo>
                    <a:pt x="0" y="269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šḷïḋe">
              <a:extLst>
                <a:ext uri="{FF2B5EF4-FFF2-40B4-BE49-F238E27FC236}">
                  <a16:creationId xmlns:a16="http://schemas.microsoft.com/office/drawing/2014/main" id="{DF2CD74C-FD9E-43A0-93A9-659906FCA525}"/>
                </a:ext>
              </a:extLst>
            </p:cNvPr>
            <p:cNvSpPr/>
            <p:nvPr/>
          </p:nvSpPr>
          <p:spPr bwMode="auto">
            <a:xfrm>
              <a:off x="6161351" y="3596998"/>
              <a:ext cx="602726" cy="485034"/>
            </a:xfrm>
            <a:custGeom>
              <a:avLst/>
              <a:gdLst>
                <a:gd name="T0" fmla="*/ 124 w 507"/>
                <a:gd name="T1" fmla="*/ 0 h 408"/>
                <a:gd name="T2" fmla="*/ 507 w 507"/>
                <a:gd name="T3" fmla="*/ 164 h 408"/>
                <a:gd name="T4" fmla="*/ 378 w 507"/>
                <a:gd name="T5" fmla="*/ 408 h 408"/>
                <a:gd name="T6" fmla="*/ 0 w 507"/>
                <a:gd name="T7" fmla="*/ 269 h 408"/>
                <a:gd name="T8" fmla="*/ 124 w 507"/>
                <a:gd name="T9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7" h="408">
                  <a:moveTo>
                    <a:pt x="124" y="0"/>
                  </a:moveTo>
                  <a:lnTo>
                    <a:pt x="507" y="164"/>
                  </a:lnTo>
                  <a:lnTo>
                    <a:pt x="378" y="408"/>
                  </a:lnTo>
                  <a:lnTo>
                    <a:pt x="0" y="269"/>
                  </a:lnTo>
                  <a:lnTo>
                    <a:pt x="1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š1îḑê">
              <a:extLst>
                <a:ext uri="{FF2B5EF4-FFF2-40B4-BE49-F238E27FC236}">
                  <a16:creationId xmlns:a16="http://schemas.microsoft.com/office/drawing/2014/main" id="{0BA013DB-D9DC-438C-A8DF-ADDC15CE506D}"/>
                </a:ext>
              </a:extLst>
            </p:cNvPr>
            <p:cNvSpPr/>
            <p:nvPr/>
          </p:nvSpPr>
          <p:spPr bwMode="auto">
            <a:xfrm>
              <a:off x="6327783" y="4524268"/>
              <a:ext cx="124825" cy="104615"/>
            </a:xfrm>
            <a:prstGeom prst="rect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ş1iḋè">
              <a:extLst>
                <a:ext uri="{FF2B5EF4-FFF2-40B4-BE49-F238E27FC236}">
                  <a16:creationId xmlns:a16="http://schemas.microsoft.com/office/drawing/2014/main" id="{B2FF22A6-F3BA-472B-8A4B-32F718762394}"/>
                </a:ext>
              </a:extLst>
            </p:cNvPr>
            <p:cNvSpPr/>
            <p:nvPr/>
          </p:nvSpPr>
          <p:spPr bwMode="auto">
            <a:xfrm>
              <a:off x="6327783" y="4524268"/>
              <a:ext cx="124825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ŝľîdè">
              <a:extLst>
                <a:ext uri="{FF2B5EF4-FFF2-40B4-BE49-F238E27FC236}">
                  <a16:creationId xmlns:a16="http://schemas.microsoft.com/office/drawing/2014/main" id="{C4F83D7C-DAFE-44E8-A9DC-BC52B185F226}"/>
                </a:ext>
              </a:extLst>
            </p:cNvPr>
            <p:cNvSpPr/>
            <p:nvPr/>
          </p:nvSpPr>
          <p:spPr bwMode="auto">
            <a:xfrm>
              <a:off x="6494217" y="4524268"/>
              <a:ext cx="126014" cy="104615"/>
            </a:xfrm>
            <a:prstGeom prst="rect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şľiḑè">
              <a:extLst>
                <a:ext uri="{FF2B5EF4-FFF2-40B4-BE49-F238E27FC236}">
                  <a16:creationId xmlns:a16="http://schemas.microsoft.com/office/drawing/2014/main" id="{AD496C00-D297-45B1-AFD1-7F7F5534DBEB}"/>
                </a:ext>
              </a:extLst>
            </p:cNvPr>
            <p:cNvSpPr/>
            <p:nvPr/>
          </p:nvSpPr>
          <p:spPr bwMode="auto">
            <a:xfrm>
              <a:off x="6494217" y="4524268"/>
              <a:ext cx="12601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iṩḻíḍe">
              <a:extLst>
                <a:ext uri="{FF2B5EF4-FFF2-40B4-BE49-F238E27FC236}">
                  <a16:creationId xmlns:a16="http://schemas.microsoft.com/office/drawing/2014/main" id="{7D86DF7F-0C05-425F-A4BA-EECDE3502E75}"/>
                </a:ext>
              </a:extLst>
            </p:cNvPr>
            <p:cNvSpPr/>
            <p:nvPr/>
          </p:nvSpPr>
          <p:spPr bwMode="auto">
            <a:xfrm>
              <a:off x="6441910" y="3059656"/>
              <a:ext cx="332866" cy="332866"/>
            </a:xfrm>
            <a:prstGeom prst="ellipse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śľíḓè">
              <a:extLst>
                <a:ext uri="{FF2B5EF4-FFF2-40B4-BE49-F238E27FC236}">
                  <a16:creationId xmlns:a16="http://schemas.microsoft.com/office/drawing/2014/main" id="{0E895F58-52C7-4798-B798-C2C786F6710C}"/>
                </a:ext>
              </a:extLst>
            </p:cNvPr>
            <p:cNvSpPr/>
            <p:nvPr/>
          </p:nvSpPr>
          <p:spPr bwMode="auto">
            <a:xfrm>
              <a:off x="6597643" y="3298605"/>
              <a:ext cx="166434" cy="166434"/>
            </a:xfrm>
            <a:custGeom>
              <a:avLst/>
              <a:gdLst>
                <a:gd name="T0" fmla="*/ 140 w 140"/>
                <a:gd name="T1" fmla="*/ 140 h 140"/>
                <a:gd name="T2" fmla="*/ 17 w 140"/>
                <a:gd name="T3" fmla="*/ 140 h 140"/>
                <a:gd name="T4" fmla="*/ 0 w 140"/>
                <a:gd name="T5" fmla="*/ 0 h 140"/>
                <a:gd name="T6" fmla="*/ 105 w 140"/>
                <a:gd name="T7" fmla="*/ 0 h 140"/>
                <a:gd name="T8" fmla="*/ 140 w 140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40">
                  <a:moveTo>
                    <a:pt x="140" y="140"/>
                  </a:moveTo>
                  <a:lnTo>
                    <a:pt x="17" y="140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40" y="140"/>
                  </a:lnTo>
                  <a:close/>
                </a:path>
              </a:pathLst>
            </a:cu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išľîďé">
              <a:extLst>
                <a:ext uri="{FF2B5EF4-FFF2-40B4-BE49-F238E27FC236}">
                  <a16:creationId xmlns:a16="http://schemas.microsoft.com/office/drawing/2014/main" id="{1E7E3D6D-7651-45D9-83D2-6CE005B2841B}"/>
                </a:ext>
              </a:extLst>
            </p:cNvPr>
            <p:cNvSpPr/>
            <p:nvPr/>
          </p:nvSpPr>
          <p:spPr bwMode="auto">
            <a:xfrm>
              <a:off x="6597643" y="3298605"/>
              <a:ext cx="166434" cy="166434"/>
            </a:xfrm>
            <a:custGeom>
              <a:avLst/>
              <a:gdLst>
                <a:gd name="T0" fmla="*/ 140 w 140"/>
                <a:gd name="T1" fmla="*/ 140 h 140"/>
                <a:gd name="T2" fmla="*/ 17 w 140"/>
                <a:gd name="T3" fmla="*/ 140 h 140"/>
                <a:gd name="T4" fmla="*/ 0 w 140"/>
                <a:gd name="T5" fmla="*/ 0 h 140"/>
                <a:gd name="T6" fmla="*/ 105 w 140"/>
                <a:gd name="T7" fmla="*/ 0 h 140"/>
                <a:gd name="T8" fmla="*/ 140 w 140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40">
                  <a:moveTo>
                    <a:pt x="140" y="140"/>
                  </a:moveTo>
                  <a:lnTo>
                    <a:pt x="17" y="140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40" y="1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ślïḍé">
              <a:extLst>
                <a:ext uri="{FF2B5EF4-FFF2-40B4-BE49-F238E27FC236}">
                  <a16:creationId xmlns:a16="http://schemas.microsoft.com/office/drawing/2014/main" id="{CB7E2B95-F15A-4E54-8A69-72DA14ABE0C3}"/>
                </a:ext>
              </a:extLst>
            </p:cNvPr>
            <p:cNvSpPr/>
            <p:nvPr/>
          </p:nvSpPr>
          <p:spPr bwMode="auto">
            <a:xfrm>
              <a:off x="6162539" y="3922731"/>
              <a:ext cx="767971" cy="645524"/>
            </a:xfrm>
            <a:custGeom>
              <a:avLst/>
              <a:gdLst>
                <a:gd name="T0" fmla="*/ 394 w 442"/>
                <a:gd name="T1" fmla="*/ 0 h 372"/>
                <a:gd name="T2" fmla="*/ 406 w 442"/>
                <a:gd name="T3" fmla="*/ 84 h 372"/>
                <a:gd name="T4" fmla="*/ 131 w 442"/>
                <a:gd name="T5" fmla="*/ 120 h 372"/>
                <a:gd name="T6" fmla="*/ 179 w 442"/>
                <a:gd name="T7" fmla="*/ 372 h 372"/>
                <a:gd name="T8" fmla="*/ 83 w 442"/>
                <a:gd name="T9" fmla="*/ 372 h 372"/>
                <a:gd name="T10" fmla="*/ 31 w 442"/>
                <a:gd name="T11" fmla="*/ 101 h 372"/>
                <a:gd name="T12" fmla="*/ 83 w 442"/>
                <a:gd name="T13" fmla="*/ 24 h 372"/>
                <a:gd name="T14" fmla="*/ 394 w 442"/>
                <a:gd name="T15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372">
                  <a:moveTo>
                    <a:pt x="394" y="0"/>
                  </a:moveTo>
                  <a:cubicBezTo>
                    <a:pt x="394" y="0"/>
                    <a:pt x="442" y="24"/>
                    <a:pt x="406" y="84"/>
                  </a:cubicBezTo>
                  <a:cubicBezTo>
                    <a:pt x="370" y="144"/>
                    <a:pt x="131" y="120"/>
                    <a:pt x="131" y="120"/>
                  </a:cubicBezTo>
                  <a:cubicBezTo>
                    <a:pt x="131" y="120"/>
                    <a:pt x="191" y="264"/>
                    <a:pt x="179" y="372"/>
                  </a:cubicBezTo>
                  <a:cubicBezTo>
                    <a:pt x="83" y="372"/>
                    <a:pt x="83" y="372"/>
                    <a:pt x="83" y="372"/>
                  </a:cubicBezTo>
                  <a:cubicBezTo>
                    <a:pt x="83" y="372"/>
                    <a:pt x="54" y="125"/>
                    <a:pt x="31" y="101"/>
                  </a:cubicBezTo>
                  <a:cubicBezTo>
                    <a:pt x="0" y="70"/>
                    <a:pt x="23" y="12"/>
                    <a:pt x="83" y="24"/>
                  </a:cubicBezTo>
                  <a:cubicBezTo>
                    <a:pt x="143" y="36"/>
                    <a:pt x="394" y="0"/>
                    <a:pt x="39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ṡḷiḓe">
              <a:extLst>
                <a:ext uri="{FF2B5EF4-FFF2-40B4-BE49-F238E27FC236}">
                  <a16:creationId xmlns:a16="http://schemas.microsoft.com/office/drawing/2014/main" id="{9A443A16-CD40-46F5-A6D9-BC012C79460C}"/>
                </a:ext>
              </a:extLst>
            </p:cNvPr>
            <p:cNvSpPr/>
            <p:nvPr/>
          </p:nvSpPr>
          <p:spPr bwMode="auto">
            <a:xfrm>
              <a:off x="6558413" y="4134338"/>
              <a:ext cx="28532" cy="1189"/>
            </a:xfrm>
            <a:custGeom>
              <a:avLst/>
              <a:gdLst>
                <a:gd name="T0" fmla="*/ 0 w 16"/>
                <a:gd name="T1" fmla="*/ 0 h 1"/>
                <a:gd name="T2" fmla="*/ 0 w 16"/>
                <a:gd name="T3" fmla="*/ 1 h 1"/>
                <a:gd name="T4" fmla="*/ 6 w 16"/>
                <a:gd name="T5" fmla="*/ 1 h 1"/>
                <a:gd name="T6" fmla="*/ 16 w 16"/>
                <a:gd name="T7" fmla="*/ 1 h 1"/>
                <a:gd name="T8" fmla="*/ 0 w 1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4" y="1"/>
                    <a:pt x="6" y="1"/>
                  </a:cubicBezTo>
                  <a:cubicBezTo>
                    <a:pt x="9" y="1"/>
                    <a:pt x="13" y="1"/>
                    <a:pt x="16" y="1"/>
                  </a:cubicBezTo>
                  <a:cubicBezTo>
                    <a:pt x="11" y="0"/>
                    <a:pt x="5" y="0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ṧlïḑe">
              <a:extLst>
                <a:ext uri="{FF2B5EF4-FFF2-40B4-BE49-F238E27FC236}">
                  <a16:creationId xmlns:a16="http://schemas.microsoft.com/office/drawing/2014/main" id="{D23E20D2-DB1F-45DC-8037-4F48C3FA59F3}"/>
                </a:ext>
              </a:extLst>
            </p:cNvPr>
            <p:cNvSpPr/>
            <p:nvPr/>
          </p:nvSpPr>
          <p:spPr bwMode="auto">
            <a:xfrm>
              <a:off x="6191070" y="3958395"/>
              <a:ext cx="92727" cy="85595"/>
            </a:xfrm>
            <a:custGeom>
              <a:avLst/>
              <a:gdLst>
                <a:gd name="T0" fmla="*/ 49 w 54"/>
                <a:gd name="T1" fmla="*/ 0 h 49"/>
                <a:gd name="T2" fmla="*/ 1 w 54"/>
                <a:gd name="T3" fmla="*/ 49 h 49"/>
                <a:gd name="T4" fmla="*/ 52 w 54"/>
                <a:gd name="T5" fmla="*/ 1 h 49"/>
                <a:gd name="T6" fmla="*/ 54 w 54"/>
                <a:gd name="T7" fmla="*/ 2 h 49"/>
                <a:gd name="T8" fmla="*/ 49 w 54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49" y="0"/>
                  </a:moveTo>
                  <a:cubicBezTo>
                    <a:pt x="17" y="1"/>
                    <a:pt x="0" y="25"/>
                    <a:pt x="1" y="49"/>
                  </a:cubicBezTo>
                  <a:cubicBezTo>
                    <a:pt x="1" y="25"/>
                    <a:pt x="19" y="1"/>
                    <a:pt x="52" y="1"/>
                  </a:cubicBezTo>
                  <a:cubicBezTo>
                    <a:pt x="53" y="1"/>
                    <a:pt x="53" y="1"/>
                    <a:pt x="54" y="2"/>
                  </a:cubicBezTo>
                  <a:cubicBezTo>
                    <a:pt x="49" y="0"/>
                    <a:pt x="49" y="0"/>
                    <a:pt x="4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ṧļïḑe">
              <a:extLst>
                <a:ext uri="{FF2B5EF4-FFF2-40B4-BE49-F238E27FC236}">
                  <a16:creationId xmlns:a16="http://schemas.microsoft.com/office/drawing/2014/main" id="{6B1FB6A6-085E-416F-B4B3-DE7542DFF766}"/>
                </a:ext>
              </a:extLst>
            </p:cNvPr>
            <p:cNvSpPr/>
            <p:nvPr/>
          </p:nvSpPr>
          <p:spPr bwMode="auto">
            <a:xfrm>
              <a:off x="6275475" y="3957206"/>
              <a:ext cx="22588" cy="4756"/>
            </a:xfrm>
            <a:custGeom>
              <a:avLst/>
              <a:gdLst>
                <a:gd name="T0" fmla="*/ 3 w 13"/>
                <a:gd name="T1" fmla="*/ 0 h 3"/>
                <a:gd name="T2" fmla="*/ 0 w 13"/>
                <a:gd name="T3" fmla="*/ 1 h 3"/>
                <a:gd name="T4" fmla="*/ 5 w 13"/>
                <a:gd name="T5" fmla="*/ 3 h 3"/>
                <a:gd name="T6" fmla="*/ 6 w 13"/>
                <a:gd name="T7" fmla="*/ 3 h 3"/>
                <a:gd name="T8" fmla="*/ 13 w 13"/>
                <a:gd name="T9" fmla="*/ 1 h 3"/>
                <a:gd name="T10" fmla="*/ 3 w 13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"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8" y="2"/>
                    <a:pt x="11" y="2"/>
                    <a:pt x="13" y="1"/>
                  </a:cubicBezTo>
                  <a:cubicBezTo>
                    <a:pt x="9" y="1"/>
                    <a:pt x="6" y="0"/>
                    <a:pt x="3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ṩḻiḑe">
              <a:extLst>
                <a:ext uri="{FF2B5EF4-FFF2-40B4-BE49-F238E27FC236}">
                  <a16:creationId xmlns:a16="http://schemas.microsoft.com/office/drawing/2014/main" id="{68D6B442-CB23-443F-BB50-D1089C6937DD}"/>
                </a:ext>
              </a:extLst>
            </p:cNvPr>
            <p:cNvSpPr/>
            <p:nvPr/>
          </p:nvSpPr>
          <p:spPr bwMode="auto">
            <a:xfrm>
              <a:off x="6192259" y="3960772"/>
              <a:ext cx="149790" cy="602727"/>
            </a:xfrm>
            <a:custGeom>
              <a:avLst/>
              <a:gdLst>
                <a:gd name="T0" fmla="*/ 51 w 86"/>
                <a:gd name="T1" fmla="*/ 0 h 347"/>
                <a:gd name="T2" fmla="*/ 0 w 86"/>
                <a:gd name="T3" fmla="*/ 48 h 347"/>
                <a:gd name="T4" fmla="*/ 14 w 86"/>
                <a:gd name="T5" fmla="*/ 77 h 347"/>
                <a:gd name="T6" fmla="*/ 66 w 86"/>
                <a:gd name="T7" fmla="*/ 347 h 347"/>
                <a:gd name="T8" fmla="*/ 86 w 86"/>
                <a:gd name="T9" fmla="*/ 347 h 347"/>
                <a:gd name="T10" fmla="*/ 33 w 86"/>
                <a:gd name="T11" fmla="*/ 77 h 347"/>
                <a:gd name="T12" fmla="*/ 54 w 86"/>
                <a:gd name="T13" fmla="*/ 1 h 347"/>
                <a:gd name="T14" fmla="*/ 53 w 86"/>
                <a:gd name="T15" fmla="*/ 1 h 347"/>
                <a:gd name="T16" fmla="*/ 51 w 86"/>
                <a:gd name="T17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347">
                  <a:moveTo>
                    <a:pt x="51" y="0"/>
                  </a:moveTo>
                  <a:cubicBezTo>
                    <a:pt x="18" y="0"/>
                    <a:pt x="0" y="24"/>
                    <a:pt x="0" y="48"/>
                  </a:cubicBezTo>
                  <a:cubicBezTo>
                    <a:pt x="1" y="58"/>
                    <a:pt x="5" y="69"/>
                    <a:pt x="14" y="77"/>
                  </a:cubicBezTo>
                  <a:cubicBezTo>
                    <a:pt x="37" y="101"/>
                    <a:pt x="66" y="347"/>
                    <a:pt x="66" y="347"/>
                  </a:cubicBezTo>
                  <a:cubicBezTo>
                    <a:pt x="86" y="347"/>
                    <a:pt x="86" y="347"/>
                    <a:pt x="86" y="347"/>
                  </a:cubicBezTo>
                  <a:cubicBezTo>
                    <a:pt x="86" y="347"/>
                    <a:pt x="57" y="101"/>
                    <a:pt x="33" y="77"/>
                  </a:cubicBezTo>
                  <a:cubicBezTo>
                    <a:pt x="9" y="53"/>
                    <a:pt x="19" y="10"/>
                    <a:pt x="54" y="1"/>
                  </a:cubicBezTo>
                  <a:cubicBezTo>
                    <a:pt x="54" y="1"/>
                    <a:pt x="53" y="1"/>
                    <a:pt x="53" y="1"/>
                  </a:cubicBezTo>
                  <a:cubicBezTo>
                    <a:pt x="52" y="0"/>
                    <a:pt x="52" y="0"/>
                    <a:pt x="51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ŝ1ïḓè">
              <a:extLst>
                <a:ext uri="{FF2B5EF4-FFF2-40B4-BE49-F238E27FC236}">
                  <a16:creationId xmlns:a16="http://schemas.microsoft.com/office/drawing/2014/main" id="{4811C979-0822-415D-91FE-2906E6A0F10F}"/>
                </a:ext>
              </a:extLst>
            </p:cNvPr>
            <p:cNvSpPr/>
            <p:nvPr/>
          </p:nvSpPr>
          <p:spPr bwMode="auto">
            <a:xfrm>
              <a:off x="6161351" y="4608674"/>
              <a:ext cx="332866" cy="103427"/>
            </a:xfrm>
            <a:custGeom>
              <a:avLst/>
              <a:gdLst>
                <a:gd name="T0" fmla="*/ 192 w 192"/>
                <a:gd name="T1" fmla="*/ 0 h 60"/>
                <a:gd name="T2" fmla="*/ 0 w 192"/>
                <a:gd name="T3" fmla="*/ 24 h 60"/>
                <a:gd name="T4" fmla="*/ 24 w 192"/>
                <a:gd name="T5" fmla="*/ 60 h 60"/>
                <a:gd name="T6" fmla="*/ 192 w 192"/>
                <a:gd name="T7" fmla="*/ 60 h 60"/>
                <a:gd name="T8" fmla="*/ 192 w 192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60">
                  <a:moveTo>
                    <a:pt x="192" y="0"/>
                  </a:moveTo>
                  <a:cubicBezTo>
                    <a:pt x="192" y="0"/>
                    <a:pt x="0" y="0"/>
                    <a:pt x="0" y="24"/>
                  </a:cubicBezTo>
                  <a:cubicBezTo>
                    <a:pt x="0" y="48"/>
                    <a:pt x="24" y="60"/>
                    <a:pt x="24" y="60"/>
                  </a:cubicBezTo>
                  <a:cubicBezTo>
                    <a:pt x="192" y="60"/>
                    <a:pt x="192" y="60"/>
                    <a:pt x="192" y="60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ś1idê">
              <a:extLst>
                <a:ext uri="{FF2B5EF4-FFF2-40B4-BE49-F238E27FC236}">
                  <a16:creationId xmlns:a16="http://schemas.microsoft.com/office/drawing/2014/main" id="{15B11CC0-4E4E-4CE4-9938-9D045960C1E5}"/>
                </a:ext>
              </a:extLst>
            </p:cNvPr>
            <p:cNvSpPr/>
            <p:nvPr/>
          </p:nvSpPr>
          <p:spPr bwMode="auto">
            <a:xfrm>
              <a:off x="6157783" y="4606296"/>
              <a:ext cx="332866" cy="95105"/>
            </a:xfrm>
            <a:custGeom>
              <a:avLst/>
              <a:gdLst>
                <a:gd name="T0" fmla="*/ 98 w 192"/>
                <a:gd name="T1" fmla="*/ 3 h 55"/>
                <a:gd name="T2" fmla="*/ 0 w 192"/>
                <a:gd name="T3" fmla="*/ 24 h 55"/>
                <a:gd name="T4" fmla="*/ 16 w 192"/>
                <a:gd name="T5" fmla="*/ 55 h 55"/>
                <a:gd name="T6" fmla="*/ 14 w 192"/>
                <a:gd name="T7" fmla="*/ 52 h 55"/>
                <a:gd name="T8" fmla="*/ 2 w 192"/>
                <a:gd name="T9" fmla="*/ 25 h 55"/>
                <a:gd name="T10" fmla="*/ 98 w 192"/>
                <a:gd name="T11" fmla="*/ 4 h 55"/>
                <a:gd name="T12" fmla="*/ 98 w 192"/>
                <a:gd name="T13" fmla="*/ 3 h 55"/>
                <a:gd name="T14" fmla="*/ 192 w 192"/>
                <a:gd name="T15" fmla="*/ 0 h 55"/>
                <a:gd name="T16" fmla="*/ 170 w 192"/>
                <a:gd name="T17" fmla="*/ 1 h 55"/>
                <a:gd name="T18" fmla="*/ 170 w 192"/>
                <a:gd name="T19" fmla="*/ 2 h 55"/>
                <a:gd name="T20" fmla="*/ 192 w 192"/>
                <a:gd name="T21" fmla="*/ 1 h 55"/>
                <a:gd name="T22" fmla="*/ 192 w 192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2" h="55">
                  <a:moveTo>
                    <a:pt x="98" y="3"/>
                  </a:moveTo>
                  <a:cubicBezTo>
                    <a:pt x="50" y="6"/>
                    <a:pt x="0" y="12"/>
                    <a:pt x="0" y="24"/>
                  </a:cubicBezTo>
                  <a:cubicBezTo>
                    <a:pt x="1" y="36"/>
                    <a:pt x="7" y="47"/>
                    <a:pt x="16" y="55"/>
                  </a:cubicBezTo>
                  <a:cubicBezTo>
                    <a:pt x="15" y="54"/>
                    <a:pt x="14" y="53"/>
                    <a:pt x="14" y="52"/>
                  </a:cubicBezTo>
                  <a:cubicBezTo>
                    <a:pt x="8" y="46"/>
                    <a:pt x="2" y="37"/>
                    <a:pt x="2" y="25"/>
                  </a:cubicBezTo>
                  <a:cubicBezTo>
                    <a:pt x="2" y="13"/>
                    <a:pt x="50" y="7"/>
                    <a:pt x="98" y="4"/>
                  </a:cubicBezTo>
                  <a:cubicBezTo>
                    <a:pt x="98" y="3"/>
                    <a:pt x="98" y="3"/>
                    <a:pt x="98" y="3"/>
                  </a:cubicBezTo>
                  <a:moveTo>
                    <a:pt x="192" y="0"/>
                  </a:moveTo>
                  <a:cubicBezTo>
                    <a:pt x="192" y="0"/>
                    <a:pt x="183" y="0"/>
                    <a:pt x="170" y="1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81" y="1"/>
                    <a:pt x="189" y="1"/>
                    <a:pt x="192" y="1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ṡļíḑê">
              <a:extLst>
                <a:ext uri="{FF2B5EF4-FFF2-40B4-BE49-F238E27FC236}">
                  <a16:creationId xmlns:a16="http://schemas.microsoft.com/office/drawing/2014/main" id="{20D36FE1-DDA0-4E4C-9558-DDDCE44A238A}"/>
                </a:ext>
              </a:extLst>
            </p:cNvPr>
            <p:cNvSpPr/>
            <p:nvPr/>
          </p:nvSpPr>
          <p:spPr bwMode="auto">
            <a:xfrm>
              <a:off x="6327783" y="4608674"/>
              <a:ext cx="124825" cy="4756"/>
            </a:xfrm>
            <a:custGeom>
              <a:avLst/>
              <a:gdLst>
                <a:gd name="T0" fmla="*/ 72 w 72"/>
                <a:gd name="T1" fmla="*/ 0 h 3"/>
                <a:gd name="T2" fmla="*/ 0 w 72"/>
                <a:gd name="T3" fmla="*/ 2 h 3"/>
                <a:gd name="T4" fmla="*/ 0 w 72"/>
                <a:gd name="T5" fmla="*/ 3 h 3"/>
                <a:gd name="T6" fmla="*/ 72 w 72"/>
                <a:gd name="T7" fmla="*/ 1 h 3"/>
                <a:gd name="T8" fmla="*/ 72 w 7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">
                  <a:moveTo>
                    <a:pt x="72" y="0"/>
                  </a:moveTo>
                  <a:cubicBezTo>
                    <a:pt x="54" y="0"/>
                    <a:pt x="27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7" y="2"/>
                    <a:pt x="54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ṡľíḍe">
              <a:extLst>
                <a:ext uri="{FF2B5EF4-FFF2-40B4-BE49-F238E27FC236}">
                  <a16:creationId xmlns:a16="http://schemas.microsoft.com/office/drawing/2014/main" id="{7CA19CF3-9E8F-4A3E-9AC3-B3D3821D92E5}"/>
                </a:ext>
              </a:extLst>
            </p:cNvPr>
            <p:cNvSpPr/>
            <p:nvPr/>
          </p:nvSpPr>
          <p:spPr bwMode="auto">
            <a:xfrm>
              <a:off x="6161351" y="4608674"/>
              <a:ext cx="329301" cy="87971"/>
            </a:xfrm>
            <a:custGeom>
              <a:avLst/>
              <a:gdLst>
                <a:gd name="T0" fmla="*/ 190 w 190"/>
                <a:gd name="T1" fmla="*/ 0 h 51"/>
                <a:gd name="T2" fmla="*/ 168 w 190"/>
                <a:gd name="T3" fmla="*/ 1 h 51"/>
                <a:gd name="T4" fmla="*/ 96 w 190"/>
                <a:gd name="T5" fmla="*/ 3 h 51"/>
                <a:gd name="T6" fmla="*/ 0 w 190"/>
                <a:gd name="T7" fmla="*/ 24 h 51"/>
                <a:gd name="T8" fmla="*/ 12 w 190"/>
                <a:gd name="T9" fmla="*/ 51 h 51"/>
                <a:gd name="T10" fmla="*/ 5 w 190"/>
                <a:gd name="T11" fmla="*/ 30 h 51"/>
                <a:gd name="T12" fmla="*/ 143 w 190"/>
                <a:gd name="T13" fmla="*/ 7 h 51"/>
                <a:gd name="T14" fmla="*/ 190 w 190"/>
                <a:gd name="T15" fmla="*/ 3 h 51"/>
                <a:gd name="T16" fmla="*/ 190 w 190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51">
                  <a:moveTo>
                    <a:pt x="190" y="0"/>
                  </a:moveTo>
                  <a:cubicBezTo>
                    <a:pt x="187" y="0"/>
                    <a:pt x="179" y="0"/>
                    <a:pt x="168" y="1"/>
                  </a:cubicBezTo>
                  <a:cubicBezTo>
                    <a:pt x="150" y="1"/>
                    <a:pt x="123" y="2"/>
                    <a:pt x="96" y="3"/>
                  </a:cubicBezTo>
                  <a:cubicBezTo>
                    <a:pt x="48" y="6"/>
                    <a:pt x="0" y="12"/>
                    <a:pt x="0" y="24"/>
                  </a:cubicBezTo>
                  <a:cubicBezTo>
                    <a:pt x="0" y="36"/>
                    <a:pt x="6" y="45"/>
                    <a:pt x="12" y="51"/>
                  </a:cubicBezTo>
                  <a:cubicBezTo>
                    <a:pt x="7" y="45"/>
                    <a:pt x="5" y="38"/>
                    <a:pt x="5" y="30"/>
                  </a:cubicBezTo>
                  <a:cubicBezTo>
                    <a:pt x="5" y="14"/>
                    <a:pt x="86" y="9"/>
                    <a:pt x="143" y="7"/>
                  </a:cubicBezTo>
                  <a:cubicBezTo>
                    <a:pt x="157" y="5"/>
                    <a:pt x="174" y="4"/>
                    <a:pt x="190" y="3"/>
                  </a:cubicBezTo>
                  <a:cubicBezTo>
                    <a:pt x="190" y="0"/>
                    <a:pt x="190" y="0"/>
                    <a:pt x="19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śḷiďê">
              <a:extLst>
                <a:ext uri="{FF2B5EF4-FFF2-40B4-BE49-F238E27FC236}">
                  <a16:creationId xmlns:a16="http://schemas.microsoft.com/office/drawing/2014/main" id="{943E63D4-08C7-4689-B493-D095B32608FC}"/>
                </a:ext>
              </a:extLst>
            </p:cNvPr>
            <p:cNvSpPr/>
            <p:nvPr/>
          </p:nvSpPr>
          <p:spPr bwMode="auto">
            <a:xfrm>
              <a:off x="6327783" y="3922731"/>
              <a:ext cx="769160" cy="645524"/>
            </a:xfrm>
            <a:custGeom>
              <a:avLst/>
              <a:gdLst>
                <a:gd name="T0" fmla="*/ 395 w 443"/>
                <a:gd name="T1" fmla="*/ 0 h 372"/>
                <a:gd name="T2" fmla="*/ 407 w 443"/>
                <a:gd name="T3" fmla="*/ 84 h 372"/>
                <a:gd name="T4" fmla="*/ 132 w 443"/>
                <a:gd name="T5" fmla="*/ 120 h 372"/>
                <a:gd name="T6" fmla="*/ 180 w 443"/>
                <a:gd name="T7" fmla="*/ 372 h 372"/>
                <a:gd name="T8" fmla="*/ 84 w 443"/>
                <a:gd name="T9" fmla="*/ 372 h 372"/>
                <a:gd name="T10" fmla="*/ 36 w 443"/>
                <a:gd name="T11" fmla="*/ 96 h 372"/>
                <a:gd name="T12" fmla="*/ 84 w 443"/>
                <a:gd name="T13" fmla="*/ 24 h 372"/>
                <a:gd name="T14" fmla="*/ 395 w 443"/>
                <a:gd name="T15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3" h="372">
                  <a:moveTo>
                    <a:pt x="395" y="0"/>
                  </a:moveTo>
                  <a:cubicBezTo>
                    <a:pt x="395" y="0"/>
                    <a:pt x="443" y="24"/>
                    <a:pt x="407" y="84"/>
                  </a:cubicBezTo>
                  <a:cubicBezTo>
                    <a:pt x="371" y="144"/>
                    <a:pt x="132" y="120"/>
                    <a:pt x="132" y="120"/>
                  </a:cubicBezTo>
                  <a:cubicBezTo>
                    <a:pt x="132" y="120"/>
                    <a:pt x="192" y="264"/>
                    <a:pt x="180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4" y="372"/>
                    <a:pt x="72" y="120"/>
                    <a:pt x="36" y="96"/>
                  </a:cubicBezTo>
                  <a:cubicBezTo>
                    <a:pt x="0" y="72"/>
                    <a:pt x="24" y="12"/>
                    <a:pt x="84" y="24"/>
                  </a:cubicBezTo>
                  <a:cubicBezTo>
                    <a:pt x="144" y="36"/>
                    <a:pt x="395" y="0"/>
                    <a:pt x="395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śḻîḋe">
              <a:extLst>
                <a:ext uri="{FF2B5EF4-FFF2-40B4-BE49-F238E27FC236}">
                  <a16:creationId xmlns:a16="http://schemas.microsoft.com/office/drawing/2014/main" id="{1DBD7B53-97E6-41BA-8F47-868FF0C67334}"/>
                </a:ext>
              </a:extLst>
            </p:cNvPr>
            <p:cNvSpPr/>
            <p:nvPr/>
          </p:nvSpPr>
          <p:spPr bwMode="auto">
            <a:xfrm>
              <a:off x="6327783" y="4608674"/>
              <a:ext cx="334056" cy="103427"/>
            </a:xfrm>
            <a:custGeom>
              <a:avLst/>
              <a:gdLst>
                <a:gd name="T0" fmla="*/ 192 w 192"/>
                <a:gd name="T1" fmla="*/ 0 h 60"/>
                <a:gd name="T2" fmla="*/ 0 w 192"/>
                <a:gd name="T3" fmla="*/ 24 h 60"/>
                <a:gd name="T4" fmla="*/ 24 w 192"/>
                <a:gd name="T5" fmla="*/ 60 h 60"/>
                <a:gd name="T6" fmla="*/ 192 w 192"/>
                <a:gd name="T7" fmla="*/ 60 h 60"/>
                <a:gd name="T8" fmla="*/ 192 w 192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60">
                  <a:moveTo>
                    <a:pt x="192" y="0"/>
                  </a:moveTo>
                  <a:cubicBezTo>
                    <a:pt x="192" y="0"/>
                    <a:pt x="0" y="0"/>
                    <a:pt x="0" y="24"/>
                  </a:cubicBezTo>
                  <a:cubicBezTo>
                    <a:pt x="0" y="48"/>
                    <a:pt x="24" y="60"/>
                    <a:pt x="24" y="60"/>
                  </a:cubicBezTo>
                  <a:cubicBezTo>
                    <a:pt x="192" y="60"/>
                    <a:pt x="192" y="60"/>
                    <a:pt x="192" y="60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ṧ1ïḑè">
              <a:extLst>
                <a:ext uri="{FF2B5EF4-FFF2-40B4-BE49-F238E27FC236}">
                  <a16:creationId xmlns:a16="http://schemas.microsoft.com/office/drawing/2014/main" id="{3640E887-4429-48FC-AA36-2CD40170474A}"/>
                </a:ext>
              </a:extLst>
            </p:cNvPr>
            <p:cNvSpPr/>
            <p:nvPr/>
          </p:nvSpPr>
          <p:spPr bwMode="auto">
            <a:xfrm>
              <a:off x="6546525" y="3403220"/>
              <a:ext cx="549230" cy="570628"/>
            </a:xfrm>
            <a:custGeom>
              <a:avLst/>
              <a:gdLst>
                <a:gd name="T0" fmla="*/ 108 w 316"/>
                <a:gd name="T1" fmla="*/ 0 h 329"/>
                <a:gd name="T2" fmla="*/ 138 w 316"/>
                <a:gd name="T3" fmla="*/ 0 h 329"/>
                <a:gd name="T4" fmla="*/ 166 w 316"/>
                <a:gd name="T5" fmla="*/ 37 h 329"/>
                <a:gd name="T6" fmla="*/ 222 w 316"/>
                <a:gd name="T7" fmla="*/ 183 h 329"/>
                <a:gd name="T8" fmla="*/ 300 w 316"/>
                <a:gd name="T9" fmla="*/ 297 h 329"/>
                <a:gd name="T10" fmla="*/ 18 w 316"/>
                <a:gd name="T11" fmla="*/ 328 h 329"/>
                <a:gd name="T12" fmla="*/ 30 w 316"/>
                <a:gd name="T13" fmla="*/ 223 h 329"/>
                <a:gd name="T14" fmla="*/ 31 w 316"/>
                <a:gd name="T15" fmla="*/ 68 h 329"/>
                <a:gd name="T16" fmla="*/ 108 w 316"/>
                <a:gd name="T1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29">
                  <a:moveTo>
                    <a:pt x="108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49" y="0"/>
                    <a:pt x="157" y="29"/>
                    <a:pt x="166" y="37"/>
                  </a:cubicBezTo>
                  <a:cubicBezTo>
                    <a:pt x="184" y="55"/>
                    <a:pt x="172" y="87"/>
                    <a:pt x="222" y="183"/>
                  </a:cubicBezTo>
                  <a:cubicBezTo>
                    <a:pt x="268" y="274"/>
                    <a:pt x="284" y="266"/>
                    <a:pt x="300" y="297"/>
                  </a:cubicBezTo>
                  <a:cubicBezTo>
                    <a:pt x="316" y="329"/>
                    <a:pt x="18" y="328"/>
                    <a:pt x="18" y="328"/>
                  </a:cubicBezTo>
                  <a:cubicBezTo>
                    <a:pt x="18" y="328"/>
                    <a:pt x="33" y="267"/>
                    <a:pt x="30" y="223"/>
                  </a:cubicBezTo>
                  <a:cubicBezTo>
                    <a:pt x="23" y="132"/>
                    <a:pt x="0" y="100"/>
                    <a:pt x="31" y="68"/>
                  </a:cubicBezTo>
                  <a:cubicBezTo>
                    <a:pt x="31" y="68"/>
                    <a:pt x="65" y="0"/>
                    <a:pt x="108" y="0"/>
                  </a:cubicBezTo>
                </a:path>
              </a:pathLst>
            </a:custGeom>
            <a:solidFill>
              <a:srgbClr val="FF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şḷîḓe">
              <a:extLst>
                <a:ext uri="{FF2B5EF4-FFF2-40B4-BE49-F238E27FC236}">
                  <a16:creationId xmlns:a16="http://schemas.microsoft.com/office/drawing/2014/main" id="{CFD30D46-129C-48B3-9DBD-C49E37553E26}"/>
                </a:ext>
              </a:extLst>
            </p:cNvPr>
            <p:cNvSpPr/>
            <p:nvPr/>
          </p:nvSpPr>
          <p:spPr bwMode="auto">
            <a:xfrm>
              <a:off x="6252887" y="3677836"/>
              <a:ext cx="112937" cy="170000"/>
            </a:xfrm>
            <a:custGeom>
              <a:avLst/>
              <a:gdLst>
                <a:gd name="T0" fmla="*/ 57 w 95"/>
                <a:gd name="T1" fmla="*/ 0 h 143"/>
                <a:gd name="T2" fmla="*/ 0 w 95"/>
                <a:gd name="T3" fmla="*/ 124 h 143"/>
                <a:gd name="T4" fmla="*/ 38 w 95"/>
                <a:gd name="T5" fmla="*/ 143 h 143"/>
                <a:gd name="T6" fmla="*/ 95 w 95"/>
                <a:gd name="T7" fmla="*/ 19 h 143"/>
                <a:gd name="T8" fmla="*/ 57 w 95"/>
                <a:gd name="T9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43">
                  <a:moveTo>
                    <a:pt x="57" y="0"/>
                  </a:moveTo>
                  <a:lnTo>
                    <a:pt x="0" y="124"/>
                  </a:lnTo>
                  <a:lnTo>
                    <a:pt x="38" y="143"/>
                  </a:lnTo>
                  <a:lnTo>
                    <a:pt x="95" y="19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ṥḷïďe">
              <a:extLst>
                <a:ext uri="{FF2B5EF4-FFF2-40B4-BE49-F238E27FC236}">
                  <a16:creationId xmlns:a16="http://schemas.microsoft.com/office/drawing/2014/main" id="{C9895484-6935-4DF8-B895-C7F8E49E5B74}"/>
                </a:ext>
              </a:extLst>
            </p:cNvPr>
            <p:cNvSpPr/>
            <p:nvPr/>
          </p:nvSpPr>
          <p:spPr bwMode="auto">
            <a:xfrm>
              <a:off x="6441910" y="3230844"/>
              <a:ext cx="168811" cy="172378"/>
            </a:xfrm>
            <a:custGeom>
              <a:avLst/>
              <a:gdLst>
                <a:gd name="T0" fmla="*/ 0 w 97"/>
                <a:gd name="T1" fmla="*/ 0 h 99"/>
                <a:gd name="T2" fmla="*/ 0 w 97"/>
                <a:gd name="T3" fmla="*/ 4 h 99"/>
                <a:gd name="T4" fmla="*/ 95 w 97"/>
                <a:gd name="T5" fmla="*/ 99 h 99"/>
                <a:gd name="T6" fmla="*/ 96 w 97"/>
                <a:gd name="T7" fmla="*/ 99 h 99"/>
                <a:gd name="T8" fmla="*/ 97 w 97"/>
                <a:gd name="T9" fmla="*/ 99 h 99"/>
                <a:gd name="T10" fmla="*/ 97 w 97"/>
                <a:gd name="T11" fmla="*/ 98 h 99"/>
                <a:gd name="T12" fmla="*/ 75 w 97"/>
                <a:gd name="T13" fmla="*/ 90 h 99"/>
                <a:gd name="T14" fmla="*/ 0 w 97"/>
                <a:gd name="T15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99">
                  <a:moveTo>
                    <a:pt x="0" y="0"/>
                  </a:moveTo>
                  <a:cubicBezTo>
                    <a:pt x="0" y="1"/>
                    <a:pt x="0" y="2"/>
                    <a:pt x="0" y="4"/>
                  </a:cubicBezTo>
                  <a:cubicBezTo>
                    <a:pt x="0" y="56"/>
                    <a:pt x="43" y="99"/>
                    <a:pt x="95" y="99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96" y="99"/>
                    <a:pt x="97" y="99"/>
                    <a:pt x="97" y="99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89" y="96"/>
                    <a:pt x="82" y="94"/>
                    <a:pt x="75" y="90"/>
                  </a:cubicBezTo>
                  <a:cubicBezTo>
                    <a:pt x="33" y="81"/>
                    <a:pt x="1" y="44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ṧlïďè">
              <a:extLst>
                <a:ext uri="{FF2B5EF4-FFF2-40B4-BE49-F238E27FC236}">
                  <a16:creationId xmlns:a16="http://schemas.microsoft.com/office/drawing/2014/main" id="{DA818537-C520-476D-8703-6F485507192E}"/>
                </a:ext>
              </a:extLst>
            </p:cNvPr>
            <p:cNvSpPr/>
            <p:nvPr/>
          </p:nvSpPr>
          <p:spPr bwMode="auto">
            <a:xfrm>
              <a:off x="6441910" y="3133361"/>
              <a:ext cx="130769" cy="254405"/>
            </a:xfrm>
            <a:custGeom>
              <a:avLst/>
              <a:gdLst>
                <a:gd name="T0" fmla="*/ 20 w 75"/>
                <a:gd name="T1" fmla="*/ 0 h 146"/>
                <a:gd name="T2" fmla="*/ 0 w 75"/>
                <a:gd name="T3" fmla="*/ 56 h 146"/>
                <a:gd name="T4" fmla="*/ 75 w 75"/>
                <a:gd name="T5" fmla="*/ 146 h 146"/>
                <a:gd name="T6" fmla="*/ 20 w 75"/>
                <a:gd name="T7" fmla="*/ 69 h 146"/>
                <a:gd name="T8" fmla="*/ 37 w 75"/>
                <a:gd name="T9" fmla="*/ 3 h 146"/>
                <a:gd name="T10" fmla="*/ 20 w 75"/>
                <a:gd name="T11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46">
                  <a:moveTo>
                    <a:pt x="20" y="0"/>
                  </a:moveTo>
                  <a:cubicBezTo>
                    <a:pt x="8" y="16"/>
                    <a:pt x="1" y="35"/>
                    <a:pt x="0" y="56"/>
                  </a:cubicBezTo>
                  <a:cubicBezTo>
                    <a:pt x="1" y="100"/>
                    <a:pt x="33" y="137"/>
                    <a:pt x="75" y="146"/>
                  </a:cubicBezTo>
                  <a:cubicBezTo>
                    <a:pt x="45" y="133"/>
                    <a:pt x="23" y="104"/>
                    <a:pt x="20" y="69"/>
                  </a:cubicBezTo>
                  <a:cubicBezTo>
                    <a:pt x="17" y="45"/>
                    <a:pt x="24" y="22"/>
                    <a:pt x="37" y="3"/>
                  </a:cubicBezTo>
                  <a:cubicBezTo>
                    <a:pt x="31" y="3"/>
                    <a:pt x="26" y="2"/>
                    <a:pt x="20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Sliḋê">
              <a:extLst>
                <a:ext uri="{FF2B5EF4-FFF2-40B4-BE49-F238E27FC236}">
                  <a16:creationId xmlns:a16="http://schemas.microsoft.com/office/drawing/2014/main" id="{D7E397AE-7BEC-44C5-B209-A2CC3F83ABD6}"/>
                </a:ext>
              </a:extLst>
            </p:cNvPr>
            <p:cNvSpPr/>
            <p:nvPr/>
          </p:nvSpPr>
          <p:spPr bwMode="auto">
            <a:xfrm>
              <a:off x="6610720" y="3400843"/>
              <a:ext cx="14266" cy="2378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0 w 8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1"/>
                    <a:pt x="8" y="1"/>
                  </a:cubicBezTo>
                  <a:cubicBezTo>
                    <a:pt x="5" y="1"/>
                    <a:pt x="3" y="0"/>
                    <a:pt x="0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ŝlídê">
              <a:extLst>
                <a:ext uri="{FF2B5EF4-FFF2-40B4-BE49-F238E27FC236}">
                  <a16:creationId xmlns:a16="http://schemas.microsoft.com/office/drawing/2014/main" id="{F1EFC3C5-9153-4EC6-8496-6A796E8A0159}"/>
                </a:ext>
              </a:extLst>
            </p:cNvPr>
            <p:cNvSpPr/>
            <p:nvPr/>
          </p:nvSpPr>
          <p:spPr bwMode="auto">
            <a:xfrm>
              <a:off x="6402678" y="2951473"/>
              <a:ext cx="569440" cy="411328"/>
            </a:xfrm>
            <a:custGeom>
              <a:avLst/>
              <a:gdLst>
                <a:gd name="T0" fmla="*/ 14 w 328"/>
                <a:gd name="T1" fmla="*/ 53 h 237"/>
                <a:gd name="T2" fmla="*/ 50 w 328"/>
                <a:gd name="T3" fmla="*/ 37 h 237"/>
                <a:gd name="T4" fmla="*/ 108 w 328"/>
                <a:gd name="T5" fmla="*/ 21 h 237"/>
                <a:gd name="T6" fmla="*/ 160 w 328"/>
                <a:gd name="T7" fmla="*/ 12 h 237"/>
                <a:gd name="T8" fmla="*/ 192 w 328"/>
                <a:gd name="T9" fmla="*/ 17 h 237"/>
                <a:gd name="T10" fmla="*/ 206 w 328"/>
                <a:gd name="T11" fmla="*/ 12 h 237"/>
                <a:gd name="T12" fmla="*/ 251 w 328"/>
                <a:gd name="T13" fmla="*/ 2 h 237"/>
                <a:gd name="T14" fmla="*/ 295 w 328"/>
                <a:gd name="T15" fmla="*/ 11 h 237"/>
                <a:gd name="T16" fmla="*/ 312 w 328"/>
                <a:gd name="T17" fmla="*/ 86 h 237"/>
                <a:gd name="T18" fmla="*/ 299 w 328"/>
                <a:gd name="T19" fmla="*/ 99 h 237"/>
                <a:gd name="T20" fmla="*/ 268 w 328"/>
                <a:gd name="T21" fmla="*/ 113 h 237"/>
                <a:gd name="T22" fmla="*/ 261 w 328"/>
                <a:gd name="T23" fmla="*/ 167 h 237"/>
                <a:gd name="T24" fmla="*/ 235 w 328"/>
                <a:gd name="T25" fmla="*/ 210 h 237"/>
                <a:gd name="T26" fmla="*/ 210 w 328"/>
                <a:gd name="T27" fmla="*/ 232 h 237"/>
                <a:gd name="T28" fmla="*/ 179 w 328"/>
                <a:gd name="T29" fmla="*/ 228 h 237"/>
                <a:gd name="T30" fmla="*/ 169 w 328"/>
                <a:gd name="T31" fmla="*/ 206 h 237"/>
                <a:gd name="T32" fmla="*/ 129 w 328"/>
                <a:gd name="T33" fmla="*/ 119 h 237"/>
                <a:gd name="T34" fmla="*/ 73 w 328"/>
                <a:gd name="T35" fmla="*/ 109 h 237"/>
                <a:gd name="T36" fmla="*/ 22 w 328"/>
                <a:gd name="T37" fmla="*/ 98 h 237"/>
                <a:gd name="T38" fmla="*/ 9 w 328"/>
                <a:gd name="T39" fmla="*/ 89 h 237"/>
                <a:gd name="T40" fmla="*/ 14 w 328"/>
                <a:gd name="T41" fmla="*/ 53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8" h="237">
                  <a:moveTo>
                    <a:pt x="14" y="53"/>
                  </a:moveTo>
                  <a:cubicBezTo>
                    <a:pt x="24" y="44"/>
                    <a:pt x="37" y="40"/>
                    <a:pt x="50" y="37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25" y="17"/>
                    <a:pt x="143" y="12"/>
                    <a:pt x="160" y="12"/>
                  </a:cubicBezTo>
                  <a:cubicBezTo>
                    <a:pt x="171" y="12"/>
                    <a:pt x="182" y="14"/>
                    <a:pt x="192" y="17"/>
                  </a:cubicBezTo>
                  <a:cubicBezTo>
                    <a:pt x="197" y="15"/>
                    <a:pt x="203" y="14"/>
                    <a:pt x="206" y="12"/>
                  </a:cubicBezTo>
                  <a:cubicBezTo>
                    <a:pt x="221" y="7"/>
                    <a:pt x="235" y="4"/>
                    <a:pt x="251" y="2"/>
                  </a:cubicBezTo>
                  <a:cubicBezTo>
                    <a:pt x="266" y="0"/>
                    <a:pt x="281" y="3"/>
                    <a:pt x="295" y="11"/>
                  </a:cubicBezTo>
                  <a:cubicBezTo>
                    <a:pt x="320" y="27"/>
                    <a:pt x="328" y="60"/>
                    <a:pt x="312" y="86"/>
                  </a:cubicBezTo>
                  <a:cubicBezTo>
                    <a:pt x="309" y="91"/>
                    <a:pt x="304" y="96"/>
                    <a:pt x="299" y="99"/>
                  </a:cubicBezTo>
                  <a:cubicBezTo>
                    <a:pt x="290" y="106"/>
                    <a:pt x="279" y="111"/>
                    <a:pt x="268" y="113"/>
                  </a:cubicBezTo>
                  <a:cubicBezTo>
                    <a:pt x="270" y="131"/>
                    <a:pt x="267" y="149"/>
                    <a:pt x="261" y="167"/>
                  </a:cubicBezTo>
                  <a:cubicBezTo>
                    <a:pt x="255" y="182"/>
                    <a:pt x="246" y="197"/>
                    <a:pt x="235" y="210"/>
                  </a:cubicBezTo>
                  <a:cubicBezTo>
                    <a:pt x="228" y="219"/>
                    <a:pt x="221" y="228"/>
                    <a:pt x="210" y="232"/>
                  </a:cubicBezTo>
                  <a:cubicBezTo>
                    <a:pt x="200" y="237"/>
                    <a:pt x="187" y="236"/>
                    <a:pt x="179" y="228"/>
                  </a:cubicBezTo>
                  <a:cubicBezTo>
                    <a:pt x="173" y="222"/>
                    <a:pt x="171" y="214"/>
                    <a:pt x="169" y="206"/>
                  </a:cubicBezTo>
                  <a:cubicBezTo>
                    <a:pt x="163" y="173"/>
                    <a:pt x="157" y="136"/>
                    <a:pt x="129" y="119"/>
                  </a:cubicBezTo>
                  <a:cubicBezTo>
                    <a:pt x="112" y="108"/>
                    <a:pt x="92" y="109"/>
                    <a:pt x="73" y="109"/>
                  </a:cubicBezTo>
                  <a:cubicBezTo>
                    <a:pt x="55" y="109"/>
                    <a:pt x="38" y="105"/>
                    <a:pt x="22" y="98"/>
                  </a:cubicBezTo>
                  <a:cubicBezTo>
                    <a:pt x="17" y="96"/>
                    <a:pt x="13" y="93"/>
                    <a:pt x="9" y="89"/>
                  </a:cubicBezTo>
                  <a:cubicBezTo>
                    <a:pt x="0" y="79"/>
                    <a:pt x="4" y="62"/>
                    <a:pt x="14" y="53"/>
                  </a:cubicBezTo>
                </a:path>
              </a:pathLst>
            </a:custGeom>
            <a:solidFill>
              <a:srgbClr val="FCCC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$ḷiḋé">
              <a:extLst>
                <a:ext uri="{FF2B5EF4-FFF2-40B4-BE49-F238E27FC236}">
                  <a16:creationId xmlns:a16="http://schemas.microsoft.com/office/drawing/2014/main" id="{F5E69C02-B700-42F8-B099-FA0BAEB5FBF9}"/>
                </a:ext>
              </a:extLst>
            </p:cNvPr>
            <p:cNvSpPr/>
            <p:nvPr/>
          </p:nvSpPr>
          <p:spPr bwMode="auto">
            <a:xfrm>
              <a:off x="6682049" y="2953852"/>
              <a:ext cx="278181" cy="103427"/>
            </a:xfrm>
            <a:custGeom>
              <a:avLst/>
              <a:gdLst>
                <a:gd name="T0" fmla="*/ 155 w 160"/>
                <a:gd name="T1" fmla="*/ 36 h 60"/>
                <a:gd name="T2" fmla="*/ 159 w 160"/>
                <a:gd name="T3" fmla="*/ 60 h 60"/>
                <a:gd name="T4" fmla="*/ 159 w 160"/>
                <a:gd name="T5" fmla="*/ 53 h 60"/>
                <a:gd name="T6" fmla="*/ 155 w 160"/>
                <a:gd name="T7" fmla="*/ 36 h 60"/>
                <a:gd name="T8" fmla="*/ 0 w 160"/>
                <a:gd name="T9" fmla="*/ 11 h 60"/>
                <a:gd name="T10" fmla="*/ 0 w 160"/>
                <a:gd name="T11" fmla="*/ 11 h 60"/>
                <a:gd name="T12" fmla="*/ 31 w 160"/>
                <a:gd name="T13" fmla="*/ 16 h 60"/>
                <a:gd name="T14" fmla="*/ 32 w 160"/>
                <a:gd name="T15" fmla="*/ 16 h 60"/>
                <a:gd name="T16" fmla="*/ 0 w 160"/>
                <a:gd name="T17" fmla="*/ 11 h 60"/>
                <a:gd name="T18" fmla="*/ 98 w 160"/>
                <a:gd name="T19" fmla="*/ 0 h 60"/>
                <a:gd name="T20" fmla="*/ 98 w 160"/>
                <a:gd name="T21" fmla="*/ 0 h 60"/>
                <a:gd name="T22" fmla="*/ 134 w 160"/>
                <a:gd name="T23" fmla="*/ 10 h 60"/>
                <a:gd name="T24" fmla="*/ 141 w 160"/>
                <a:gd name="T25" fmla="*/ 16 h 60"/>
                <a:gd name="T26" fmla="*/ 134 w 160"/>
                <a:gd name="T27" fmla="*/ 10 h 60"/>
                <a:gd name="T28" fmla="*/ 98 w 160"/>
                <a:gd name="T2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" h="60">
                  <a:moveTo>
                    <a:pt x="155" y="36"/>
                  </a:moveTo>
                  <a:cubicBezTo>
                    <a:pt x="158" y="44"/>
                    <a:pt x="160" y="52"/>
                    <a:pt x="159" y="60"/>
                  </a:cubicBezTo>
                  <a:cubicBezTo>
                    <a:pt x="159" y="58"/>
                    <a:pt x="159" y="55"/>
                    <a:pt x="159" y="53"/>
                  </a:cubicBezTo>
                  <a:cubicBezTo>
                    <a:pt x="159" y="47"/>
                    <a:pt x="157" y="41"/>
                    <a:pt x="155" y="36"/>
                  </a:cubicBezTo>
                  <a:moveTo>
                    <a:pt x="0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0" y="11"/>
                    <a:pt x="21" y="13"/>
                    <a:pt x="31" y="16"/>
                  </a:cubicBezTo>
                  <a:cubicBezTo>
                    <a:pt x="31" y="16"/>
                    <a:pt x="32" y="16"/>
                    <a:pt x="32" y="16"/>
                  </a:cubicBezTo>
                  <a:cubicBezTo>
                    <a:pt x="21" y="13"/>
                    <a:pt x="10" y="11"/>
                    <a:pt x="0" y="11"/>
                  </a:cubicBezTo>
                  <a:moveTo>
                    <a:pt x="98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110" y="0"/>
                    <a:pt x="123" y="4"/>
                    <a:pt x="134" y="10"/>
                  </a:cubicBezTo>
                  <a:cubicBezTo>
                    <a:pt x="137" y="12"/>
                    <a:pt x="139" y="14"/>
                    <a:pt x="141" y="16"/>
                  </a:cubicBezTo>
                  <a:cubicBezTo>
                    <a:pt x="139" y="14"/>
                    <a:pt x="137" y="12"/>
                    <a:pt x="134" y="10"/>
                  </a:cubicBezTo>
                  <a:cubicBezTo>
                    <a:pt x="123" y="4"/>
                    <a:pt x="110" y="0"/>
                    <a:pt x="9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ṡļîḑè">
              <a:extLst>
                <a:ext uri="{FF2B5EF4-FFF2-40B4-BE49-F238E27FC236}">
                  <a16:creationId xmlns:a16="http://schemas.microsoft.com/office/drawing/2014/main" id="{D4A9404A-0D88-4DF5-9440-804367D0DE23}"/>
                </a:ext>
              </a:extLst>
            </p:cNvPr>
            <p:cNvSpPr/>
            <p:nvPr/>
          </p:nvSpPr>
          <p:spPr bwMode="auto">
            <a:xfrm>
              <a:off x="6407434" y="2953852"/>
              <a:ext cx="552797" cy="140280"/>
            </a:xfrm>
            <a:custGeom>
              <a:avLst/>
              <a:gdLst>
                <a:gd name="T0" fmla="*/ 256 w 318"/>
                <a:gd name="T1" fmla="*/ 0 h 81"/>
                <a:gd name="T2" fmla="*/ 248 w 318"/>
                <a:gd name="T3" fmla="*/ 1 h 81"/>
                <a:gd name="T4" fmla="*/ 203 w 318"/>
                <a:gd name="T5" fmla="*/ 11 h 81"/>
                <a:gd name="T6" fmla="*/ 190 w 318"/>
                <a:gd name="T7" fmla="*/ 16 h 81"/>
                <a:gd name="T8" fmla="*/ 190 w 318"/>
                <a:gd name="T9" fmla="*/ 16 h 81"/>
                <a:gd name="T10" fmla="*/ 189 w 318"/>
                <a:gd name="T11" fmla="*/ 16 h 81"/>
                <a:gd name="T12" fmla="*/ 158 w 318"/>
                <a:gd name="T13" fmla="*/ 11 h 81"/>
                <a:gd name="T14" fmla="*/ 105 w 318"/>
                <a:gd name="T15" fmla="*/ 20 h 81"/>
                <a:gd name="T16" fmla="*/ 47 w 318"/>
                <a:gd name="T17" fmla="*/ 36 h 81"/>
                <a:gd name="T18" fmla="*/ 11 w 318"/>
                <a:gd name="T19" fmla="*/ 52 h 81"/>
                <a:gd name="T20" fmla="*/ 2 w 318"/>
                <a:gd name="T21" fmla="*/ 81 h 81"/>
                <a:gd name="T22" fmla="*/ 11 w 318"/>
                <a:gd name="T23" fmla="*/ 65 h 81"/>
                <a:gd name="T24" fmla="*/ 47 w 318"/>
                <a:gd name="T25" fmla="*/ 49 h 81"/>
                <a:gd name="T26" fmla="*/ 105 w 318"/>
                <a:gd name="T27" fmla="*/ 33 h 81"/>
                <a:gd name="T28" fmla="*/ 158 w 318"/>
                <a:gd name="T29" fmla="*/ 24 h 81"/>
                <a:gd name="T30" fmla="*/ 190 w 318"/>
                <a:gd name="T31" fmla="*/ 29 h 81"/>
                <a:gd name="T32" fmla="*/ 203 w 318"/>
                <a:gd name="T33" fmla="*/ 25 h 81"/>
                <a:gd name="T34" fmla="*/ 248 w 318"/>
                <a:gd name="T35" fmla="*/ 14 h 81"/>
                <a:gd name="T36" fmla="*/ 256 w 318"/>
                <a:gd name="T37" fmla="*/ 13 h 81"/>
                <a:gd name="T38" fmla="*/ 292 w 318"/>
                <a:gd name="T39" fmla="*/ 23 h 81"/>
                <a:gd name="T40" fmla="*/ 317 w 318"/>
                <a:gd name="T41" fmla="*/ 62 h 81"/>
                <a:gd name="T42" fmla="*/ 317 w 318"/>
                <a:gd name="T43" fmla="*/ 60 h 81"/>
                <a:gd name="T44" fmla="*/ 313 w 318"/>
                <a:gd name="T45" fmla="*/ 36 h 81"/>
                <a:gd name="T46" fmla="*/ 299 w 318"/>
                <a:gd name="T47" fmla="*/ 16 h 81"/>
                <a:gd name="T48" fmla="*/ 292 w 318"/>
                <a:gd name="T49" fmla="*/ 10 h 81"/>
                <a:gd name="T50" fmla="*/ 256 w 318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8" h="81">
                  <a:moveTo>
                    <a:pt x="256" y="0"/>
                  </a:moveTo>
                  <a:cubicBezTo>
                    <a:pt x="253" y="0"/>
                    <a:pt x="250" y="0"/>
                    <a:pt x="248" y="1"/>
                  </a:cubicBezTo>
                  <a:cubicBezTo>
                    <a:pt x="233" y="3"/>
                    <a:pt x="218" y="6"/>
                    <a:pt x="203" y="11"/>
                  </a:cubicBezTo>
                  <a:cubicBezTo>
                    <a:pt x="200" y="13"/>
                    <a:pt x="194" y="14"/>
                    <a:pt x="190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89" y="16"/>
                    <a:pt x="189" y="16"/>
                  </a:cubicBezTo>
                  <a:cubicBezTo>
                    <a:pt x="179" y="13"/>
                    <a:pt x="168" y="11"/>
                    <a:pt x="158" y="11"/>
                  </a:cubicBezTo>
                  <a:cubicBezTo>
                    <a:pt x="140" y="11"/>
                    <a:pt x="122" y="16"/>
                    <a:pt x="105" y="20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34" y="39"/>
                    <a:pt x="21" y="43"/>
                    <a:pt x="11" y="52"/>
                  </a:cubicBezTo>
                  <a:cubicBezTo>
                    <a:pt x="3" y="60"/>
                    <a:pt x="0" y="70"/>
                    <a:pt x="2" y="81"/>
                  </a:cubicBezTo>
                  <a:cubicBezTo>
                    <a:pt x="4" y="75"/>
                    <a:pt x="7" y="70"/>
                    <a:pt x="11" y="65"/>
                  </a:cubicBezTo>
                  <a:cubicBezTo>
                    <a:pt x="21" y="56"/>
                    <a:pt x="34" y="52"/>
                    <a:pt x="47" y="49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22" y="29"/>
                    <a:pt x="140" y="24"/>
                    <a:pt x="158" y="24"/>
                  </a:cubicBezTo>
                  <a:cubicBezTo>
                    <a:pt x="168" y="24"/>
                    <a:pt x="179" y="26"/>
                    <a:pt x="190" y="29"/>
                  </a:cubicBezTo>
                  <a:cubicBezTo>
                    <a:pt x="194" y="27"/>
                    <a:pt x="200" y="26"/>
                    <a:pt x="203" y="25"/>
                  </a:cubicBezTo>
                  <a:cubicBezTo>
                    <a:pt x="218" y="19"/>
                    <a:pt x="233" y="16"/>
                    <a:pt x="248" y="14"/>
                  </a:cubicBezTo>
                  <a:cubicBezTo>
                    <a:pt x="250" y="14"/>
                    <a:pt x="253" y="13"/>
                    <a:pt x="256" y="13"/>
                  </a:cubicBezTo>
                  <a:cubicBezTo>
                    <a:pt x="268" y="13"/>
                    <a:pt x="281" y="17"/>
                    <a:pt x="292" y="23"/>
                  </a:cubicBezTo>
                  <a:cubicBezTo>
                    <a:pt x="305" y="32"/>
                    <a:pt x="315" y="46"/>
                    <a:pt x="317" y="62"/>
                  </a:cubicBezTo>
                  <a:cubicBezTo>
                    <a:pt x="317" y="62"/>
                    <a:pt x="317" y="61"/>
                    <a:pt x="317" y="60"/>
                  </a:cubicBezTo>
                  <a:cubicBezTo>
                    <a:pt x="318" y="52"/>
                    <a:pt x="316" y="44"/>
                    <a:pt x="313" y="36"/>
                  </a:cubicBezTo>
                  <a:cubicBezTo>
                    <a:pt x="310" y="28"/>
                    <a:pt x="306" y="21"/>
                    <a:pt x="299" y="16"/>
                  </a:cubicBezTo>
                  <a:cubicBezTo>
                    <a:pt x="297" y="14"/>
                    <a:pt x="295" y="12"/>
                    <a:pt x="292" y="10"/>
                  </a:cubicBezTo>
                  <a:cubicBezTo>
                    <a:pt x="281" y="4"/>
                    <a:pt x="268" y="0"/>
                    <a:pt x="256" y="0"/>
                  </a:cubicBezTo>
                </a:path>
              </a:pathLst>
            </a:custGeom>
            <a:solidFill>
              <a:srgbClr val="FDD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şľîḓè">
              <a:extLst>
                <a:ext uri="{FF2B5EF4-FFF2-40B4-BE49-F238E27FC236}">
                  <a16:creationId xmlns:a16="http://schemas.microsoft.com/office/drawing/2014/main" id="{219D026B-256C-48CE-A514-53A56B7B9CDE}"/>
                </a:ext>
              </a:extLst>
            </p:cNvPr>
            <p:cNvSpPr/>
            <p:nvPr/>
          </p:nvSpPr>
          <p:spPr bwMode="auto">
            <a:xfrm>
              <a:off x="6868691" y="3170214"/>
              <a:ext cx="0" cy="8322"/>
            </a:xfrm>
            <a:custGeom>
              <a:avLst/>
              <a:gdLst>
                <a:gd name="T0" fmla="*/ 0 h 5"/>
                <a:gd name="T1" fmla="*/ 0 h 5"/>
                <a:gd name="T2" fmla="*/ 2 h 5"/>
                <a:gd name="T3" fmla="*/ 5 h 5"/>
                <a:gd name="T4" fmla="*/ 0 h 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3"/>
                    <a:pt x="0" y="2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$ḻîḍé">
              <a:extLst>
                <a:ext uri="{FF2B5EF4-FFF2-40B4-BE49-F238E27FC236}">
                  <a16:creationId xmlns:a16="http://schemas.microsoft.com/office/drawing/2014/main" id="{6EC836AB-0D33-4B9F-A142-85AD97CC9566}"/>
                </a:ext>
              </a:extLst>
            </p:cNvPr>
            <p:cNvSpPr/>
            <p:nvPr/>
          </p:nvSpPr>
          <p:spPr bwMode="auto">
            <a:xfrm>
              <a:off x="6868691" y="3170214"/>
              <a:ext cx="0" cy="3567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FDD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şḷïḍe">
              <a:extLst>
                <a:ext uri="{FF2B5EF4-FFF2-40B4-BE49-F238E27FC236}">
                  <a16:creationId xmlns:a16="http://schemas.microsoft.com/office/drawing/2014/main" id="{F582A103-E378-4126-830D-3BDABAF5FD4A}"/>
                </a:ext>
              </a:extLst>
            </p:cNvPr>
            <p:cNvSpPr/>
            <p:nvPr/>
          </p:nvSpPr>
          <p:spPr bwMode="auto">
            <a:xfrm>
              <a:off x="6572678" y="3591052"/>
              <a:ext cx="17832" cy="126014"/>
            </a:xfrm>
            <a:custGeom>
              <a:avLst/>
              <a:gdLst>
                <a:gd name="T0" fmla="*/ 0 w 10"/>
                <a:gd name="T1" fmla="*/ 0 h 73"/>
                <a:gd name="T2" fmla="*/ 10 w 10"/>
                <a:gd name="T3" fmla="*/ 73 h 73"/>
                <a:gd name="T4" fmla="*/ 10 w 10"/>
                <a:gd name="T5" fmla="*/ 73 h 73"/>
                <a:gd name="T6" fmla="*/ 0 w 10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3">
                  <a:moveTo>
                    <a:pt x="0" y="0"/>
                  </a:moveTo>
                  <a:cubicBezTo>
                    <a:pt x="0" y="18"/>
                    <a:pt x="6" y="41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6" y="41"/>
                    <a:pt x="0" y="18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Sľïďé">
              <a:extLst>
                <a:ext uri="{FF2B5EF4-FFF2-40B4-BE49-F238E27FC236}">
                  <a16:creationId xmlns:a16="http://schemas.microsoft.com/office/drawing/2014/main" id="{27955438-150D-46F2-AF80-338AC84CB1C6}"/>
                </a:ext>
              </a:extLst>
            </p:cNvPr>
            <p:cNvSpPr/>
            <p:nvPr/>
          </p:nvSpPr>
          <p:spPr bwMode="auto">
            <a:xfrm>
              <a:off x="6590510" y="3717066"/>
              <a:ext cx="8322" cy="99860"/>
            </a:xfrm>
            <a:custGeom>
              <a:avLst/>
              <a:gdLst>
                <a:gd name="T0" fmla="*/ 0 w 5"/>
                <a:gd name="T1" fmla="*/ 0 h 57"/>
                <a:gd name="T2" fmla="*/ 5 w 5"/>
                <a:gd name="T3" fmla="*/ 43 h 57"/>
                <a:gd name="T4" fmla="*/ 5 w 5"/>
                <a:gd name="T5" fmla="*/ 57 h 57"/>
                <a:gd name="T6" fmla="*/ 5 w 5"/>
                <a:gd name="T7" fmla="*/ 42 h 57"/>
                <a:gd name="T8" fmla="*/ 0 w 5"/>
                <a:gd name="T9" fmla="*/ 0 h 57"/>
                <a:gd name="T10" fmla="*/ 0 w 5"/>
                <a:gd name="T1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7">
                  <a:moveTo>
                    <a:pt x="0" y="0"/>
                  </a:moveTo>
                  <a:cubicBezTo>
                    <a:pt x="2" y="13"/>
                    <a:pt x="4" y="27"/>
                    <a:pt x="5" y="43"/>
                  </a:cubicBezTo>
                  <a:cubicBezTo>
                    <a:pt x="5" y="47"/>
                    <a:pt x="5" y="52"/>
                    <a:pt x="5" y="57"/>
                  </a:cubicBezTo>
                  <a:cubicBezTo>
                    <a:pt x="5" y="52"/>
                    <a:pt x="5" y="47"/>
                    <a:pt x="5" y="42"/>
                  </a:cubicBezTo>
                  <a:cubicBezTo>
                    <a:pt x="4" y="26"/>
                    <a:pt x="2" y="1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ṧļïḍè">
              <a:extLst>
                <a:ext uri="{FF2B5EF4-FFF2-40B4-BE49-F238E27FC236}">
                  <a16:creationId xmlns:a16="http://schemas.microsoft.com/office/drawing/2014/main" id="{69330838-86BB-4A02-B2D7-149CE48A6973}"/>
                </a:ext>
              </a:extLst>
            </p:cNvPr>
            <p:cNvSpPr/>
            <p:nvPr/>
          </p:nvSpPr>
          <p:spPr bwMode="auto">
            <a:xfrm>
              <a:off x="6572678" y="3404410"/>
              <a:ext cx="229440" cy="460069"/>
            </a:xfrm>
            <a:custGeom>
              <a:avLst/>
              <a:gdLst>
                <a:gd name="T0" fmla="*/ 123 w 132"/>
                <a:gd name="T1" fmla="*/ 0 h 265"/>
                <a:gd name="T2" fmla="*/ 93 w 132"/>
                <a:gd name="T3" fmla="*/ 0 h 265"/>
                <a:gd name="T4" fmla="*/ 16 w 132"/>
                <a:gd name="T5" fmla="*/ 69 h 265"/>
                <a:gd name="T6" fmla="*/ 0 w 132"/>
                <a:gd name="T7" fmla="*/ 107 h 265"/>
                <a:gd name="T8" fmla="*/ 10 w 132"/>
                <a:gd name="T9" fmla="*/ 180 h 265"/>
                <a:gd name="T10" fmla="*/ 15 w 132"/>
                <a:gd name="T11" fmla="*/ 222 h 265"/>
                <a:gd name="T12" fmla="*/ 15 w 132"/>
                <a:gd name="T13" fmla="*/ 237 h 265"/>
                <a:gd name="T14" fmla="*/ 14 w 132"/>
                <a:gd name="T15" fmla="*/ 265 h 265"/>
                <a:gd name="T16" fmla="*/ 35 w 132"/>
                <a:gd name="T17" fmla="*/ 231 h 265"/>
                <a:gd name="T18" fmla="*/ 34 w 132"/>
                <a:gd name="T19" fmla="*/ 230 h 265"/>
                <a:gd name="T20" fmla="*/ 26 w 132"/>
                <a:gd name="T21" fmla="*/ 164 h 265"/>
                <a:gd name="T22" fmla="*/ 25 w 132"/>
                <a:gd name="T23" fmla="*/ 164 h 265"/>
                <a:gd name="T24" fmla="*/ 25 w 132"/>
                <a:gd name="T25" fmla="*/ 156 h 265"/>
                <a:gd name="T26" fmla="*/ 36 w 132"/>
                <a:gd name="T27" fmla="*/ 75 h 265"/>
                <a:gd name="T28" fmla="*/ 113 w 132"/>
                <a:gd name="T29" fmla="*/ 7 h 265"/>
                <a:gd name="T30" fmla="*/ 132 w 132"/>
                <a:gd name="T31" fmla="*/ 7 h 265"/>
                <a:gd name="T32" fmla="*/ 123 w 132"/>
                <a:gd name="T3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265">
                  <a:moveTo>
                    <a:pt x="123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50" y="0"/>
                    <a:pt x="16" y="69"/>
                    <a:pt x="16" y="69"/>
                  </a:cubicBezTo>
                  <a:cubicBezTo>
                    <a:pt x="4" y="81"/>
                    <a:pt x="0" y="92"/>
                    <a:pt x="0" y="107"/>
                  </a:cubicBezTo>
                  <a:cubicBezTo>
                    <a:pt x="0" y="125"/>
                    <a:pt x="6" y="148"/>
                    <a:pt x="10" y="180"/>
                  </a:cubicBezTo>
                  <a:cubicBezTo>
                    <a:pt x="12" y="193"/>
                    <a:pt x="14" y="206"/>
                    <a:pt x="15" y="222"/>
                  </a:cubicBezTo>
                  <a:cubicBezTo>
                    <a:pt x="15" y="227"/>
                    <a:pt x="15" y="232"/>
                    <a:pt x="15" y="237"/>
                  </a:cubicBezTo>
                  <a:cubicBezTo>
                    <a:pt x="15" y="246"/>
                    <a:pt x="15" y="256"/>
                    <a:pt x="14" y="265"/>
                  </a:cubicBezTo>
                  <a:cubicBezTo>
                    <a:pt x="23" y="255"/>
                    <a:pt x="30" y="244"/>
                    <a:pt x="35" y="231"/>
                  </a:cubicBezTo>
                  <a:cubicBezTo>
                    <a:pt x="35" y="230"/>
                    <a:pt x="35" y="230"/>
                    <a:pt x="34" y="230"/>
                  </a:cubicBezTo>
                  <a:cubicBezTo>
                    <a:pt x="33" y="203"/>
                    <a:pt x="29" y="182"/>
                    <a:pt x="26" y="164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18" y="117"/>
                    <a:pt x="15" y="96"/>
                    <a:pt x="36" y="75"/>
                  </a:cubicBezTo>
                  <a:cubicBezTo>
                    <a:pt x="36" y="75"/>
                    <a:pt x="70" y="7"/>
                    <a:pt x="113" y="7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130" y="3"/>
                    <a:pt x="127" y="1"/>
                    <a:pt x="123" y="0"/>
                  </a:cubicBezTo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šľïdè">
              <a:extLst>
                <a:ext uri="{FF2B5EF4-FFF2-40B4-BE49-F238E27FC236}">
                  <a16:creationId xmlns:a16="http://schemas.microsoft.com/office/drawing/2014/main" id="{7460E637-985F-40D0-842F-E8323F28B89B}"/>
                </a:ext>
              </a:extLst>
            </p:cNvPr>
            <p:cNvSpPr/>
            <p:nvPr/>
          </p:nvSpPr>
          <p:spPr bwMode="auto">
            <a:xfrm>
              <a:off x="6616663" y="3564899"/>
              <a:ext cx="181888" cy="124825"/>
            </a:xfrm>
            <a:prstGeom prst="rect">
              <a:avLst/>
            </a:prstGeom>
            <a:solidFill>
              <a:srgbClr val="FF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ṩḻîḓê">
              <a:extLst>
                <a:ext uri="{FF2B5EF4-FFF2-40B4-BE49-F238E27FC236}">
                  <a16:creationId xmlns:a16="http://schemas.microsoft.com/office/drawing/2014/main" id="{D91F3B43-6AC5-46FA-8E5D-E33D87301C90}"/>
                </a:ext>
              </a:extLst>
            </p:cNvPr>
            <p:cNvSpPr/>
            <p:nvPr/>
          </p:nvSpPr>
          <p:spPr bwMode="auto">
            <a:xfrm>
              <a:off x="6616663" y="3564899"/>
              <a:ext cx="181888" cy="12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ṩḷídè">
              <a:extLst>
                <a:ext uri="{FF2B5EF4-FFF2-40B4-BE49-F238E27FC236}">
                  <a16:creationId xmlns:a16="http://schemas.microsoft.com/office/drawing/2014/main" id="{DFA83931-0965-4935-8C5F-80763DC87FE2}"/>
                </a:ext>
              </a:extLst>
            </p:cNvPr>
            <p:cNvSpPr/>
            <p:nvPr/>
          </p:nvSpPr>
          <p:spPr bwMode="auto">
            <a:xfrm>
              <a:off x="6730790" y="3919164"/>
              <a:ext cx="290069" cy="35664"/>
            </a:xfrm>
            <a:custGeom>
              <a:avLst/>
              <a:gdLst>
                <a:gd name="T0" fmla="*/ 163 w 167"/>
                <a:gd name="T1" fmla="*/ 0 h 21"/>
                <a:gd name="T2" fmla="*/ 3 w 167"/>
                <a:gd name="T3" fmla="*/ 19 h 21"/>
                <a:gd name="T4" fmla="*/ 0 w 167"/>
                <a:gd name="T5" fmla="*/ 21 h 21"/>
                <a:gd name="T6" fmla="*/ 167 w 167"/>
                <a:gd name="T7" fmla="*/ 2 h 21"/>
                <a:gd name="T8" fmla="*/ 163 w 16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21">
                  <a:moveTo>
                    <a:pt x="163" y="0"/>
                  </a:moveTo>
                  <a:cubicBezTo>
                    <a:pt x="163" y="0"/>
                    <a:pt x="83" y="12"/>
                    <a:pt x="3" y="19"/>
                  </a:cubicBezTo>
                  <a:cubicBezTo>
                    <a:pt x="2" y="20"/>
                    <a:pt x="1" y="21"/>
                    <a:pt x="0" y="21"/>
                  </a:cubicBezTo>
                  <a:cubicBezTo>
                    <a:pt x="66" y="16"/>
                    <a:pt x="136" y="7"/>
                    <a:pt x="167" y="2"/>
                  </a:cubicBezTo>
                  <a:cubicBezTo>
                    <a:pt x="166" y="2"/>
                    <a:pt x="164" y="1"/>
                    <a:pt x="163" y="0"/>
                  </a:cubicBezTo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ṥḻîḑé">
              <a:extLst>
                <a:ext uri="{FF2B5EF4-FFF2-40B4-BE49-F238E27FC236}">
                  <a16:creationId xmlns:a16="http://schemas.microsoft.com/office/drawing/2014/main" id="{26715A36-5019-46C5-897A-54FCBD447FF2}"/>
                </a:ext>
              </a:extLst>
            </p:cNvPr>
            <p:cNvSpPr/>
            <p:nvPr/>
          </p:nvSpPr>
          <p:spPr bwMode="auto">
            <a:xfrm>
              <a:off x="6361070" y="4032101"/>
              <a:ext cx="147412" cy="531398"/>
            </a:xfrm>
            <a:custGeom>
              <a:avLst/>
              <a:gdLst>
                <a:gd name="T0" fmla="*/ 0 w 85"/>
                <a:gd name="T1" fmla="*/ 0 h 306"/>
                <a:gd name="T2" fmla="*/ 17 w 85"/>
                <a:gd name="T3" fmla="*/ 31 h 306"/>
                <a:gd name="T4" fmla="*/ 65 w 85"/>
                <a:gd name="T5" fmla="*/ 306 h 306"/>
                <a:gd name="T6" fmla="*/ 85 w 85"/>
                <a:gd name="T7" fmla="*/ 306 h 306"/>
                <a:gd name="T8" fmla="*/ 37 w 85"/>
                <a:gd name="T9" fmla="*/ 31 h 306"/>
                <a:gd name="T10" fmla="*/ 20 w 85"/>
                <a:gd name="T11" fmla="*/ 1 h 306"/>
                <a:gd name="T12" fmla="*/ 10 w 85"/>
                <a:gd name="T13" fmla="*/ 3 h 306"/>
                <a:gd name="T14" fmla="*/ 0 w 85"/>
                <a:gd name="T15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06">
                  <a:moveTo>
                    <a:pt x="0" y="0"/>
                  </a:moveTo>
                  <a:cubicBezTo>
                    <a:pt x="0" y="12"/>
                    <a:pt x="5" y="23"/>
                    <a:pt x="17" y="31"/>
                  </a:cubicBezTo>
                  <a:cubicBezTo>
                    <a:pt x="53" y="55"/>
                    <a:pt x="65" y="306"/>
                    <a:pt x="65" y="306"/>
                  </a:cubicBezTo>
                  <a:cubicBezTo>
                    <a:pt x="85" y="306"/>
                    <a:pt x="85" y="306"/>
                    <a:pt x="85" y="306"/>
                  </a:cubicBezTo>
                  <a:cubicBezTo>
                    <a:pt x="85" y="306"/>
                    <a:pt x="73" y="55"/>
                    <a:pt x="37" y="31"/>
                  </a:cubicBezTo>
                  <a:cubicBezTo>
                    <a:pt x="25" y="23"/>
                    <a:pt x="20" y="12"/>
                    <a:pt x="20" y="1"/>
                  </a:cubicBezTo>
                  <a:cubicBezTo>
                    <a:pt x="17" y="2"/>
                    <a:pt x="13" y="3"/>
                    <a:pt x="10" y="3"/>
                  </a:cubicBezTo>
                  <a:cubicBezTo>
                    <a:pt x="7" y="3"/>
                    <a:pt x="3" y="2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s1îḋê">
              <a:extLst>
                <a:ext uri="{FF2B5EF4-FFF2-40B4-BE49-F238E27FC236}">
                  <a16:creationId xmlns:a16="http://schemas.microsoft.com/office/drawing/2014/main" id="{88BEB59D-7A8E-489F-91FF-B8BF6223DDFB}"/>
                </a:ext>
              </a:extLst>
            </p:cNvPr>
            <p:cNvSpPr/>
            <p:nvPr/>
          </p:nvSpPr>
          <p:spPr bwMode="auto">
            <a:xfrm>
              <a:off x="6590510" y="4127206"/>
              <a:ext cx="162867" cy="8322"/>
            </a:xfrm>
            <a:custGeom>
              <a:avLst/>
              <a:gdLst>
                <a:gd name="T0" fmla="*/ 0 w 94"/>
                <a:gd name="T1" fmla="*/ 0 h 5"/>
                <a:gd name="T2" fmla="*/ 1 w 94"/>
                <a:gd name="T3" fmla="*/ 2 h 5"/>
                <a:gd name="T4" fmla="*/ 84 w 94"/>
                <a:gd name="T5" fmla="*/ 5 h 5"/>
                <a:gd name="T6" fmla="*/ 94 w 94"/>
                <a:gd name="T7" fmla="*/ 5 h 5"/>
                <a:gd name="T8" fmla="*/ 0 w 9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5">
                  <a:moveTo>
                    <a:pt x="0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20" y="3"/>
                    <a:pt x="50" y="5"/>
                    <a:pt x="84" y="5"/>
                  </a:cubicBezTo>
                  <a:cubicBezTo>
                    <a:pt x="87" y="5"/>
                    <a:pt x="91" y="5"/>
                    <a:pt x="94" y="5"/>
                  </a:cubicBezTo>
                  <a:cubicBezTo>
                    <a:pt x="42" y="4"/>
                    <a:pt x="0" y="0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ḷíḓé">
              <a:extLst>
                <a:ext uri="{FF2B5EF4-FFF2-40B4-BE49-F238E27FC236}">
                  <a16:creationId xmlns:a16="http://schemas.microsoft.com/office/drawing/2014/main" id="{AAB2AEBF-7762-4C0F-AE83-DCF60D99FE0E}"/>
                </a:ext>
              </a:extLst>
            </p:cNvPr>
            <p:cNvSpPr/>
            <p:nvPr/>
          </p:nvSpPr>
          <p:spPr bwMode="auto">
            <a:xfrm>
              <a:off x="6345614" y="3652871"/>
              <a:ext cx="441049" cy="388741"/>
            </a:xfrm>
            <a:custGeom>
              <a:avLst/>
              <a:gdLst>
                <a:gd name="T0" fmla="*/ 253 w 254"/>
                <a:gd name="T1" fmla="*/ 0 h 224"/>
                <a:gd name="T2" fmla="*/ 253 w 254"/>
                <a:gd name="T3" fmla="*/ 114 h 224"/>
                <a:gd name="T4" fmla="*/ 180 w 254"/>
                <a:gd name="T5" fmla="*/ 187 h 224"/>
                <a:gd name="T6" fmla="*/ 177 w 254"/>
                <a:gd name="T7" fmla="*/ 187 h 224"/>
                <a:gd name="T8" fmla="*/ 62 w 254"/>
                <a:gd name="T9" fmla="*/ 191 h 224"/>
                <a:gd name="T10" fmla="*/ 30 w 254"/>
                <a:gd name="T11" fmla="*/ 217 h 224"/>
                <a:gd name="T12" fmla="*/ 4 w 254"/>
                <a:gd name="T13" fmla="*/ 214 h 224"/>
                <a:gd name="T14" fmla="*/ 1 w 254"/>
                <a:gd name="T15" fmla="*/ 201 h 224"/>
                <a:gd name="T16" fmla="*/ 26 w 254"/>
                <a:gd name="T17" fmla="*/ 155 h 224"/>
                <a:gd name="T18" fmla="*/ 91 w 254"/>
                <a:gd name="T19" fmla="*/ 146 h 224"/>
                <a:gd name="T20" fmla="*/ 170 w 254"/>
                <a:gd name="T21" fmla="*/ 62 h 224"/>
                <a:gd name="T22" fmla="*/ 170 w 254"/>
                <a:gd name="T23" fmla="*/ 0 h 224"/>
                <a:gd name="T24" fmla="*/ 253 w 254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4" h="224">
                  <a:moveTo>
                    <a:pt x="253" y="0"/>
                  </a:moveTo>
                  <a:cubicBezTo>
                    <a:pt x="253" y="114"/>
                    <a:pt x="253" y="114"/>
                    <a:pt x="253" y="114"/>
                  </a:cubicBezTo>
                  <a:cubicBezTo>
                    <a:pt x="254" y="155"/>
                    <a:pt x="221" y="187"/>
                    <a:pt x="180" y="187"/>
                  </a:cubicBezTo>
                  <a:cubicBezTo>
                    <a:pt x="179" y="187"/>
                    <a:pt x="178" y="187"/>
                    <a:pt x="177" y="187"/>
                  </a:cubicBezTo>
                  <a:cubicBezTo>
                    <a:pt x="127" y="185"/>
                    <a:pt x="69" y="185"/>
                    <a:pt x="62" y="191"/>
                  </a:cubicBezTo>
                  <a:cubicBezTo>
                    <a:pt x="56" y="197"/>
                    <a:pt x="43" y="208"/>
                    <a:pt x="30" y="217"/>
                  </a:cubicBezTo>
                  <a:cubicBezTo>
                    <a:pt x="22" y="224"/>
                    <a:pt x="11" y="222"/>
                    <a:pt x="4" y="214"/>
                  </a:cubicBezTo>
                  <a:cubicBezTo>
                    <a:pt x="1" y="210"/>
                    <a:pt x="0" y="206"/>
                    <a:pt x="1" y="201"/>
                  </a:cubicBezTo>
                  <a:cubicBezTo>
                    <a:pt x="2" y="182"/>
                    <a:pt x="8" y="161"/>
                    <a:pt x="26" y="155"/>
                  </a:cubicBezTo>
                  <a:cubicBezTo>
                    <a:pt x="40" y="151"/>
                    <a:pt x="66" y="148"/>
                    <a:pt x="91" y="146"/>
                  </a:cubicBezTo>
                  <a:cubicBezTo>
                    <a:pt x="135" y="143"/>
                    <a:pt x="170" y="106"/>
                    <a:pt x="170" y="62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sḻíḑê">
              <a:extLst>
                <a:ext uri="{FF2B5EF4-FFF2-40B4-BE49-F238E27FC236}">
                  <a16:creationId xmlns:a16="http://schemas.microsoft.com/office/drawing/2014/main" id="{158BA9EF-4842-4DD1-899C-9419D9D4A22C}"/>
                </a:ext>
              </a:extLst>
            </p:cNvPr>
            <p:cNvSpPr/>
            <p:nvPr/>
          </p:nvSpPr>
          <p:spPr bwMode="auto">
            <a:xfrm>
              <a:off x="6640439" y="3652871"/>
              <a:ext cx="146224" cy="10700"/>
            </a:xfrm>
            <a:custGeom>
              <a:avLst/>
              <a:gdLst>
                <a:gd name="T0" fmla="*/ 123 w 123"/>
                <a:gd name="T1" fmla="*/ 0 h 9"/>
                <a:gd name="T2" fmla="*/ 0 w 123"/>
                <a:gd name="T3" fmla="*/ 0 h 9"/>
                <a:gd name="T4" fmla="*/ 121 w 123"/>
                <a:gd name="T5" fmla="*/ 0 h 9"/>
                <a:gd name="T6" fmla="*/ 121 w 123"/>
                <a:gd name="T7" fmla="*/ 9 h 9"/>
                <a:gd name="T8" fmla="*/ 123 w 123"/>
                <a:gd name="T9" fmla="*/ 9 h 9"/>
                <a:gd name="T10" fmla="*/ 123 w 12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">
                  <a:moveTo>
                    <a:pt x="123" y="0"/>
                  </a:moveTo>
                  <a:lnTo>
                    <a:pt x="0" y="0"/>
                  </a:lnTo>
                  <a:lnTo>
                    <a:pt x="121" y="0"/>
                  </a:lnTo>
                  <a:lnTo>
                    <a:pt x="121" y="9"/>
                  </a:lnTo>
                  <a:lnTo>
                    <a:pt x="123" y="9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$líďè">
              <a:extLst>
                <a:ext uri="{FF2B5EF4-FFF2-40B4-BE49-F238E27FC236}">
                  <a16:creationId xmlns:a16="http://schemas.microsoft.com/office/drawing/2014/main" id="{A9B4621C-2C53-4232-8CA9-F384772B1268}"/>
                </a:ext>
              </a:extLst>
            </p:cNvPr>
            <p:cNvSpPr/>
            <p:nvPr/>
          </p:nvSpPr>
          <p:spPr bwMode="auto">
            <a:xfrm>
              <a:off x="6640439" y="3652871"/>
              <a:ext cx="146224" cy="10700"/>
            </a:xfrm>
            <a:custGeom>
              <a:avLst/>
              <a:gdLst>
                <a:gd name="T0" fmla="*/ 123 w 123"/>
                <a:gd name="T1" fmla="*/ 0 h 9"/>
                <a:gd name="T2" fmla="*/ 0 w 123"/>
                <a:gd name="T3" fmla="*/ 0 h 9"/>
                <a:gd name="T4" fmla="*/ 121 w 123"/>
                <a:gd name="T5" fmla="*/ 0 h 9"/>
                <a:gd name="T6" fmla="*/ 121 w 123"/>
                <a:gd name="T7" fmla="*/ 9 h 9"/>
                <a:gd name="T8" fmla="*/ 123 w 123"/>
                <a:gd name="T9" fmla="*/ 9 h 9"/>
                <a:gd name="T10" fmla="*/ 123 w 12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">
                  <a:moveTo>
                    <a:pt x="123" y="0"/>
                  </a:moveTo>
                  <a:lnTo>
                    <a:pt x="0" y="0"/>
                  </a:lnTo>
                  <a:lnTo>
                    <a:pt x="121" y="0"/>
                  </a:lnTo>
                  <a:lnTo>
                    <a:pt x="121" y="9"/>
                  </a:lnTo>
                  <a:lnTo>
                    <a:pt x="123" y="9"/>
                  </a:lnTo>
                  <a:lnTo>
                    <a:pt x="12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sḷíďê">
              <a:extLst>
                <a:ext uri="{FF2B5EF4-FFF2-40B4-BE49-F238E27FC236}">
                  <a16:creationId xmlns:a16="http://schemas.microsoft.com/office/drawing/2014/main" id="{E14FB14E-ACC1-4FDF-A20D-478621670E8E}"/>
                </a:ext>
              </a:extLst>
            </p:cNvPr>
            <p:cNvSpPr/>
            <p:nvPr/>
          </p:nvSpPr>
          <p:spPr bwMode="auto">
            <a:xfrm>
              <a:off x="6377714" y="3883500"/>
              <a:ext cx="194964" cy="45175"/>
            </a:xfrm>
            <a:custGeom>
              <a:avLst/>
              <a:gdLst>
                <a:gd name="T0" fmla="*/ 112 w 112"/>
                <a:gd name="T1" fmla="*/ 0 h 26"/>
                <a:gd name="T2" fmla="*/ 73 w 112"/>
                <a:gd name="T3" fmla="*/ 13 h 26"/>
                <a:gd name="T4" fmla="*/ 7 w 112"/>
                <a:gd name="T5" fmla="*/ 22 h 26"/>
                <a:gd name="T6" fmla="*/ 0 w 112"/>
                <a:gd name="T7" fmla="*/ 26 h 26"/>
                <a:gd name="T8" fmla="*/ 7 w 112"/>
                <a:gd name="T9" fmla="*/ 22 h 26"/>
                <a:gd name="T10" fmla="*/ 72 w 112"/>
                <a:gd name="T11" fmla="*/ 13 h 26"/>
                <a:gd name="T12" fmla="*/ 112 w 112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26">
                  <a:moveTo>
                    <a:pt x="112" y="0"/>
                  </a:moveTo>
                  <a:cubicBezTo>
                    <a:pt x="101" y="7"/>
                    <a:pt x="87" y="12"/>
                    <a:pt x="73" y="13"/>
                  </a:cubicBezTo>
                  <a:cubicBezTo>
                    <a:pt x="47" y="15"/>
                    <a:pt x="21" y="18"/>
                    <a:pt x="7" y="22"/>
                  </a:cubicBezTo>
                  <a:cubicBezTo>
                    <a:pt x="5" y="23"/>
                    <a:pt x="2" y="24"/>
                    <a:pt x="0" y="26"/>
                  </a:cubicBezTo>
                  <a:cubicBezTo>
                    <a:pt x="2" y="24"/>
                    <a:pt x="4" y="23"/>
                    <a:pt x="7" y="22"/>
                  </a:cubicBezTo>
                  <a:cubicBezTo>
                    <a:pt x="21" y="18"/>
                    <a:pt x="47" y="15"/>
                    <a:pt x="72" y="13"/>
                  </a:cubicBezTo>
                  <a:cubicBezTo>
                    <a:pt x="87" y="12"/>
                    <a:pt x="101" y="7"/>
                    <a:pt x="112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$lïḓê">
              <a:extLst>
                <a:ext uri="{FF2B5EF4-FFF2-40B4-BE49-F238E27FC236}">
                  <a16:creationId xmlns:a16="http://schemas.microsoft.com/office/drawing/2014/main" id="{BECFD27E-8AA7-40D6-A4EB-90DFFCC0B214}"/>
                </a:ext>
              </a:extLst>
            </p:cNvPr>
            <p:cNvSpPr/>
            <p:nvPr/>
          </p:nvSpPr>
          <p:spPr bwMode="auto">
            <a:xfrm>
              <a:off x="6345614" y="3652871"/>
              <a:ext cx="438671" cy="383986"/>
            </a:xfrm>
            <a:custGeom>
              <a:avLst/>
              <a:gdLst>
                <a:gd name="T0" fmla="*/ 253 w 253"/>
                <a:gd name="T1" fmla="*/ 0 h 221"/>
                <a:gd name="T2" fmla="*/ 170 w 253"/>
                <a:gd name="T3" fmla="*/ 0 h 221"/>
                <a:gd name="T4" fmla="*/ 170 w 253"/>
                <a:gd name="T5" fmla="*/ 62 h 221"/>
                <a:gd name="T6" fmla="*/ 131 w 253"/>
                <a:gd name="T7" fmla="*/ 133 h 221"/>
                <a:gd name="T8" fmla="*/ 91 w 253"/>
                <a:gd name="T9" fmla="*/ 146 h 221"/>
                <a:gd name="T10" fmla="*/ 26 w 253"/>
                <a:gd name="T11" fmla="*/ 155 h 221"/>
                <a:gd name="T12" fmla="*/ 19 w 253"/>
                <a:gd name="T13" fmla="*/ 159 h 221"/>
                <a:gd name="T14" fmla="*/ 1 w 253"/>
                <a:gd name="T15" fmla="*/ 201 h 221"/>
                <a:gd name="T16" fmla="*/ 1 w 253"/>
                <a:gd name="T17" fmla="*/ 201 h 221"/>
                <a:gd name="T18" fmla="*/ 18 w 253"/>
                <a:gd name="T19" fmla="*/ 221 h 221"/>
                <a:gd name="T20" fmla="*/ 14 w 253"/>
                <a:gd name="T21" fmla="*/ 207 h 221"/>
                <a:gd name="T22" fmla="*/ 39 w 253"/>
                <a:gd name="T23" fmla="*/ 162 h 221"/>
                <a:gd name="T24" fmla="*/ 105 w 253"/>
                <a:gd name="T25" fmla="*/ 152 h 221"/>
                <a:gd name="T26" fmla="*/ 183 w 253"/>
                <a:gd name="T27" fmla="*/ 68 h 221"/>
                <a:gd name="T28" fmla="*/ 183 w 253"/>
                <a:gd name="T29" fmla="*/ 6 h 221"/>
                <a:gd name="T30" fmla="*/ 253 w 253"/>
                <a:gd name="T31" fmla="*/ 6 h 221"/>
                <a:gd name="T32" fmla="*/ 253 w 253"/>
                <a:gd name="T3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3" h="221">
                  <a:moveTo>
                    <a:pt x="253" y="0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170" y="62"/>
                    <a:pt x="170" y="62"/>
                    <a:pt x="170" y="62"/>
                  </a:cubicBezTo>
                  <a:cubicBezTo>
                    <a:pt x="170" y="91"/>
                    <a:pt x="155" y="118"/>
                    <a:pt x="131" y="133"/>
                  </a:cubicBezTo>
                  <a:cubicBezTo>
                    <a:pt x="120" y="140"/>
                    <a:pt x="106" y="145"/>
                    <a:pt x="91" y="146"/>
                  </a:cubicBezTo>
                  <a:cubicBezTo>
                    <a:pt x="66" y="148"/>
                    <a:pt x="40" y="151"/>
                    <a:pt x="26" y="155"/>
                  </a:cubicBezTo>
                  <a:cubicBezTo>
                    <a:pt x="23" y="156"/>
                    <a:pt x="21" y="157"/>
                    <a:pt x="19" y="159"/>
                  </a:cubicBezTo>
                  <a:cubicBezTo>
                    <a:pt x="7" y="167"/>
                    <a:pt x="2" y="184"/>
                    <a:pt x="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12"/>
                    <a:pt x="8" y="221"/>
                    <a:pt x="18" y="221"/>
                  </a:cubicBezTo>
                  <a:cubicBezTo>
                    <a:pt x="15" y="217"/>
                    <a:pt x="13" y="212"/>
                    <a:pt x="14" y="207"/>
                  </a:cubicBezTo>
                  <a:cubicBezTo>
                    <a:pt x="15" y="188"/>
                    <a:pt x="21" y="168"/>
                    <a:pt x="39" y="162"/>
                  </a:cubicBezTo>
                  <a:cubicBezTo>
                    <a:pt x="53" y="157"/>
                    <a:pt x="79" y="154"/>
                    <a:pt x="105" y="152"/>
                  </a:cubicBezTo>
                  <a:cubicBezTo>
                    <a:pt x="149" y="149"/>
                    <a:pt x="183" y="113"/>
                    <a:pt x="183" y="68"/>
                  </a:cubicBezTo>
                  <a:cubicBezTo>
                    <a:pt x="183" y="6"/>
                    <a:pt x="183" y="6"/>
                    <a:pt x="183" y="6"/>
                  </a:cubicBezTo>
                  <a:cubicBezTo>
                    <a:pt x="253" y="6"/>
                    <a:pt x="253" y="6"/>
                    <a:pt x="253" y="6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ṧliďé">
              <a:extLst>
                <a:ext uri="{FF2B5EF4-FFF2-40B4-BE49-F238E27FC236}">
                  <a16:creationId xmlns:a16="http://schemas.microsoft.com/office/drawing/2014/main" id="{59449BD9-35B1-4F62-BC1B-2368C305A1C3}"/>
                </a:ext>
              </a:extLst>
            </p:cNvPr>
            <p:cNvSpPr/>
            <p:nvPr/>
          </p:nvSpPr>
          <p:spPr bwMode="auto">
            <a:xfrm>
              <a:off x="6494217" y="4606296"/>
              <a:ext cx="167623" cy="11888"/>
            </a:xfrm>
            <a:custGeom>
              <a:avLst/>
              <a:gdLst>
                <a:gd name="T0" fmla="*/ 0 w 96"/>
                <a:gd name="T1" fmla="*/ 3 h 7"/>
                <a:gd name="T2" fmla="*/ 0 w 96"/>
                <a:gd name="T3" fmla="*/ 3 h 7"/>
                <a:gd name="T4" fmla="*/ 0 w 96"/>
                <a:gd name="T5" fmla="*/ 4 h 7"/>
                <a:gd name="T6" fmla="*/ 0 w 96"/>
                <a:gd name="T7" fmla="*/ 4 h 7"/>
                <a:gd name="T8" fmla="*/ 0 w 96"/>
                <a:gd name="T9" fmla="*/ 3 h 7"/>
                <a:gd name="T10" fmla="*/ 96 w 96"/>
                <a:gd name="T11" fmla="*/ 0 h 7"/>
                <a:gd name="T12" fmla="*/ 87 w 96"/>
                <a:gd name="T13" fmla="*/ 0 h 7"/>
                <a:gd name="T14" fmla="*/ 87 w 96"/>
                <a:gd name="T15" fmla="*/ 1 h 7"/>
                <a:gd name="T16" fmla="*/ 96 w 96"/>
                <a:gd name="T17" fmla="*/ 1 h 7"/>
                <a:gd name="T18" fmla="*/ 96 w 96"/>
                <a:gd name="T19" fmla="*/ 7 h 7"/>
                <a:gd name="T20" fmla="*/ 96 w 96"/>
                <a:gd name="T21" fmla="*/ 7 h 7"/>
                <a:gd name="T22" fmla="*/ 96 w 96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7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96" y="0"/>
                  </a:moveTo>
                  <a:cubicBezTo>
                    <a:pt x="96" y="0"/>
                    <a:pt x="93" y="0"/>
                    <a:pt x="87" y="0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92" y="1"/>
                    <a:pt x="96" y="1"/>
                    <a:pt x="96" y="1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0"/>
                    <a:pt x="96" y="0"/>
                    <a:pt x="9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ṥḷídê">
              <a:extLst>
                <a:ext uri="{FF2B5EF4-FFF2-40B4-BE49-F238E27FC236}">
                  <a16:creationId xmlns:a16="http://schemas.microsoft.com/office/drawing/2014/main" id="{7379A279-2163-4A67-93B0-F6B2AE3B00AB}"/>
                </a:ext>
              </a:extLst>
            </p:cNvPr>
            <p:cNvSpPr/>
            <p:nvPr/>
          </p:nvSpPr>
          <p:spPr bwMode="auto">
            <a:xfrm>
              <a:off x="6620230" y="4606296"/>
              <a:ext cx="24966" cy="3567"/>
            </a:xfrm>
            <a:custGeom>
              <a:avLst/>
              <a:gdLst>
                <a:gd name="T0" fmla="*/ 15 w 15"/>
                <a:gd name="T1" fmla="*/ 0 h 2"/>
                <a:gd name="T2" fmla="*/ 0 w 15"/>
                <a:gd name="T3" fmla="*/ 1 h 2"/>
                <a:gd name="T4" fmla="*/ 0 w 15"/>
                <a:gd name="T5" fmla="*/ 2 h 2"/>
                <a:gd name="T6" fmla="*/ 15 w 15"/>
                <a:gd name="T7" fmla="*/ 1 h 2"/>
                <a:gd name="T8" fmla="*/ 15 w 1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">
                  <a:moveTo>
                    <a:pt x="15" y="0"/>
                  </a:moveTo>
                  <a:cubicBezTo>
                    <a:pt x="11" y="1"/>
                    <a:pt x="6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6" y="2"/>
                    <a:pt x="11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ṩḻiḑè">
              <a:extLst>
                <a:ext uri="{FF2B5EF4-FFF2-40B4-BE49-F238E27FC236}">
                  <a16:creationId xmlns:a16="http://schemas.microsoft.com/office/drawing/2014/main" id="{26A9EB15-2041-4F64-ACEF-5C3DE8D08CCC}"/>
                </a:ext>
              </a:extLst>
            </p:cNvPr>
            <p:cNvSpPr/>
            <p:nvPr/>
          </p:nvSpPr>
          <p:spPr bwMode="auto">
            <a:xfrm>
              <a:off x="6494217" y="4608674"/>
              <a:ext cx="126014" cy="4756"/>
            </a:xfrm>
            <a:custGeom>
              <a:avLst/>
              <a:gdLst>
                <a:gd name="T0" fmla="*/ 72 w 72"/>
                <a:gd name="T1" fmla="*/ 0 h 3"/>
                <a:gd name="T2" fmla="*/ 0 w 72"/>
                <a:gd name="T3" fmla="*/ 2 h 3"/>
                <a:gd name="T4" fmla="*/ 0 w 72"/>
                <a:gd name="T5" fmla="*/ 3 h 3"/>
                <a:gd name="T6" fmla="*/ 72 w 72"/>
                <a:gd name="T7" fmla="*/ 1 h 3"/>
                <a:gd name="T8" fmla="*/ 72 w 7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">
                  <a:moveTo>
                    <a:pt x="72" y="0"/>
                  </a:moveTo>
                  <a:cubicBezTo>
                    <a:pt x="53" y="0"/>
                    <a:pt x="27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7" y="2"/>
                    <a:pt x="53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ṣ1îḓe">
              <a:extLst>
                <a:ext uri="{FF2B5EF4-FFF2-40B4-BE49-F238E27FC236}">
                  <a16:creationId xmlns:a16="http://schemas.microsoft.com/office/drawing/2014/main" id="{AEFCCCE5-3150-4C79-AB40-E2E7329FB01D}"/>
                </a:ext>
              </a:extLst>
            </p:cNvPr>
            <p:cNvSpPr/>
            <p:nvPr/>
          </p:nvSpPr>
          <p:spPr bwMode="auto">
            <a:xfrm>
              <a:off x="6328972" y="4611051"/>
              <a:ext cx="165245" cy="36854"/>
            </a:xfrm>
            <a:custGeom>
              <a:avLst/>
              <a:gdLst>
                <a:gd name="T0" fmla="*/ 56 w 95"/>
                <a:gd name="T1" fmla="*/ 5 h 21"/>
                <a:gd name="T2" fmla="*/ 46 w 95"/>
                <a:gd name="T3" fmla="*/ 5 h 21"/>
                <a:gd name="T4" fmla="*/ 0 w 95"/>
                <a:gd name="T5" fmla="*/ 21 h 21"/>
                <a:gd name="T6" fmla="*/ 56 w 95"/>
                <a:gd name="T7" fmla="*/ 5 h 21"/>
                <a:gd name="T8" fmla="*/ 95 w 95"/>
                <a:gd name="T9" fmla="*/ 0 h 21"/>
                <a:gd name="T10" fmla="*/ 93 w 95"/>
                <a:gd name="T11" fmla="*/ 1 h 21"/>
                <a:gd name="T12" fmla="*/ 93 w 95"/>
                <a:gd name="T13" fmla="*/ 1 h 21"/>
                <a:gd name="T14" fmla="*/ 95 w 95"/>
                <a:gd name="T15" fmla="*/ 1 h 21"/>
                <a:gd name="T16" fmla="*/ 95 w 95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" h="21">
                  <a:moveTo>
                    <a:pt x="56" y="5"/>
                  </a:moveTo>
                  <a:cubicBezTo>
                    <a:pt x="53" y="5"/>
                    <a:pt x="49" y="5"/>
                    <a:pt x="46" y="5"/>
                  </a:cubicBezTo>
                  <a:cubicBezTo>
                    <a:pt x="20" y="8"/>
                    <a:pt x="1" y="13"/>
                    <a:pt x="0" y="21"/>
                  </a:cubicBezTo>
                  <a:cubicBezTo>
                    <a:pt x="2" y="13"/>
                    <a:pt x="26" y="8"/>
                    <a:pt x="56" y="5"/>
                  </a:cubicBezTo>
                  <a:moveTo>
                    <a:pt x="95" y="0"/>
                  </a:moveTo>
                  <a:cubicBezTo>
                    <a:pt x="94" y="1"/>
                    <a:pt x="94" y="1"/>
                    <a:pt x="93" y="1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4" y="1"/>
                    <a:pt x="94" y="1"/>
                    <a:pt x="95" y="1"/>
                  </a:cubicBezTo>
                  <a:cubicBezTo>
                    <a:pt x="95" y="0"/>
                    <a:pt x="95" y="0"/>
                    <a:pt x="95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ṣ1ïďè">
              <a:extLst>
                <a:ext uri="{FF2B5EF4-FFF2-40B4-BE49-F238E27FC236}">
                  <a16:creationId xmlns:a16="http://schemas.microsoft.com/office/drawing/2014/main" id="{B3B92ECD-8469-4F4B-9B67-1385D4B73596}"/>
                </a:ext>
              </a:extLst>
            </p:cNvPr>
            <p:cNvSpPr/>
            <p:nvPr/>
          </p:nvSpPr>
          <p:spPr bwMode="auto">
            <a:xfrm>
              <a:off x="6409811" y="4613428"/>
              <a:ext cx="80839" cy="7132"/>
            </a:xfrm>
            <a:custGeom>
              <a:avLst/>
              <a:gdLst>
                <a:gd name="T0" fmla="*/ 47 w 47"/>
                <a:gd name="T1" fmla="*/ 0 h 4"/>
                <a:gd name="T2" fmla="*/ 0 w 47"/>
                <a:gd name="T3" fmla="*/ 4 h 4"/>
                <a:gd name="T4" fmla="*/ 10 w 47"/>
                <a:gd name="T5" fmla="*/ 4 h 4"/>
                <a:gd name="T6" fmla="*/ 47 w 47"/>
                <a:gd name="T7" fmla="*/ 0 h 4"/>
                <a:gd name="T8" fmla="*/ 47 w 4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">
                  <a:moveTo>
                    <a:pt x="47" y="0"/>
                  </a:moveTo>
                  <a:cubicBezTo>
                    <a:pt x="31" y="1"/>
                    <a:pt x="14" y="2"/>
                    <a:pt x="0" y="4"/>
                  </a:cubicBezTo>
                  <a:cubicBezTo>
                    <a:pt x="3" y="4"/>
                    <a:pt x="7" y="4"/>
                    <a:pt x="10" y="4"/>
                  </a:cubicBezTo>
                  <a:cubicBezTo>
                    <a:pt x="21" y="2"/>
                    <a:pt x="34" y="1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</a:path>
              </a:pathLst>
            </a:custGeom>
            <a:solidFill>
              <a:srgbClr val="747C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śľidé">
              <a:extLst>
                <a:ext uri="{FF2B5EF4-FFF2-40B4-BE49-F238E27FC236}">
                  <a16:creationId xmlns:a16="http://schemas.microsoft.com/office/drawing/2014/main" id="{2B072DC5-AA75-4CE1-9627-BFE59278CC16}"/>
                </a:ext>
              </a:extLst>
            </p:cNvPr>
            <p:cNvSpPr/>
            <p:nvPr/>
          </p:nvSpPr>
          <p:spPr bwMode="auto">
            <a:xfrm>
              <a:off x="6328972" y="4608674"/>
              <a:ext cx="332866" cy="92727"/>
            </a:xfrm>
            <a:custGeom>
              <a:avLst/>
              <a:gdLst>
                <a:gd name="T0" fmla="*/ 191 w 191"/>
                <a:gd name="T1" fmla="*/ 0 h 54"/>
                <a:gd name="T2" fmla="*/ 182 w 191"/>
                <a:gd name="T3" fmla="*/ 0 h 54"/>
                <a:gd name="T4" fmla="*/ 167 w 191"/>
                <a:gd name="T5" fmla="*/ 1 h 54"/>
                <a:gd name="T6" fmla="*/ 95 w 191"/>
                <a:gd name="T7" fmla="*/ 3 h 54"/>
                <a:gd name="T8" fmla="*/ 95 w 191"/>
                <a:gd name="T9" fmla="*/ 3 h 54"/>
                <a:gd name="T10" fmla="*/ 93 w 191"/>
                <a:gd name="T11" fmla="*/ 3 h 54"/>
                <a:gd name="T12" fmla="*/ 56 w 191"/>
                <a:gd name="T13" fmla="*/ 7 h 54"/>
                <a:gd name="T14" fmla="*/ 0 w 191"/>
                <a:gd name="T15" fmla="*/ 23 h 54"/>
                <a:gd name="T16" fmla="*/ 0 w 191"/>
                <a:gd name="T17" fmla="*/ 23 h 54"/>
                <a:gd name="T18" fmla="*/ 15 w 191"/>
                <a:gd name="T19" fmla="*/ 54 h 54"/>
                <a:gd name="T20" fmla="*/ 6 w 191"/>
                <a:gd name="T21" fmla="*/ 30 h 54"/>
                <a:gd name="T22" fmla="*/ 191 w 191"/>
                <a:gd name="T23" fmla="*/ 6 h 54"/>
                <a:gd name="T24" fmla="*/ 191 w 191"/>
                <a:gd name="T25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1" h="54">
                  <a:moveTo>
                    <a:pt x="191" y="0"/>
                  </a:moveTo>
                  <a:cubicBezTo>
                    <a:pt x="191" y="0"/>
                    <a:pt x="187" y="0"/>
                    <a:pt x="182" y="0"/>
                  </a:cubicBezTo>
                  <a:cubicBezTo>
                    <a:pt x="178" y="0"/>
                    <a:pt x="173" y="1"/>
                    <a:pt x="167" y="1"/>
                  </a:cubicBezTo>
                  <a:cubicBezTo>
                    <a:pt x="148" y="1"/>
                    <a:pt x="122" y="2"/>
                    <a:pt x="95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4" y="3"/>
                    <a:pt x="94" y="3"/>
                    <a:pt x="93" y="3"/>
                  </a:cubicBezTo>
                  <a:cubicBezTo>
                    <a:pt x="80" y="4"/>
                    <a:pt x="67" y="5"/>
                    <a:pt x="56" y="7"/>
                  </a:cubicBezTo>
                  <a:cubicBezTo>
                    <a:pt x="26" y="10"/>
                    <a:pt x="2" y="15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5"/>
                    <a:pt x="6" y="46"/>
                    <a:pt x="15" y="54"/>
                  </a:cubicBezTo>
                  <a:cubicBezTo>
                    <a:pt x="9" y="47"/>
                    <a:pt x="6" y="39"/>
                    <a:pt x="6" y="30"/>
                  </a:cubicBezTo>
                  <a:cubicBezTo>
                    <a:pt x="6" y="9"/>
                    <a:pt x="157" y="6"/>
                    <a:pt x="191" y="6"/>
                  </a:cubicBezTo>
                  <a:cubicBezTo>
                    <a:pt x="191" y="0"/>
                    <a:pt x="191" y="0"/>
                    <a:pt x="191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şľîḍè">
              <a:extLst>
                <a:ext uri="{FF2B5EF4-FFF2-40B4-BE49-F238E27FC236}">
                  <a16:creationId xmlns:a16="http://schemas.microsoft.com/office/drawing/2014/main" id="{DBA9450F-4DF2-431D-9E87-2441B27E3845}"/>
                </a:ext>
              </a:extLst>
            </p:cNvPr>
            <p:cNvSpPr/>
            <p:nvPr/>
          </p:nvSpPr>
          <p:spPr bwMode="auto">
            <a:xfrm>
              <a:off x="4454220" y="3750353"/>
              <a:ext cx="2753283" cy="1972236"/>
            </a:xfrm>
            <a:custGeom>
              <a:avLst/>
              <a:gdLst>
                <a:gd name="T0" fmla="*/ 0 w 2316"/>
                <a:gd name="T1" fmla="*/ 386 h 1659"/>
                <a:gd name="T2" fmla="*/ 0 w 2316"/>
                <a:gd name="T3" fmla="*/ 1659 h 1659"/>
                <a:gd name="T4" fmla="*/ 2251 w 2316"/>
                <a:gd name="T5" fmla="*/ 1659 h 1659"/>
                <a:gd name="T6" fmla="*/ 2251 w 2316"/>
                <a:gd name="T7" fmla="*/ 0 h 1659"/>
                <a:gd name="T8" fmla="*/ 2316 w 2316"/>
                <a:gd name="T9" fmla="*/ 0 h 1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6" h="1659">
                  <a:moveTo>
                    <a:pt x="0" y="386"/>
                  </a:moveTo>
                  <a:lnTo>
                    <a:pt x="0" y="1659"/>
                  </a:lnTo>
                  <a:lnTo>
                    <a:pt x="2251" y="1659"/>
                  </a:lnTo>
                  <a:lnTo>
                    <a:pt x="2251" y="0"/>
                  </a:lnTo>
                  <a:lnTo>
                    <a:pt x="2316" y="0"/>
                  </a:lnTo>
                </a:path>
              </a:pathLst>
            </a:custGeom>
            <a:noFill/>
            <a:ln w="28575" cap="flat">
              <a:solidFill>
                <a:srgbClr val="4748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ṣḻîďè">
              <a:extLst>
                <a:ext uri="{FF2B5EF4-FFF2-40B4-BE49-F238E27FC236}">
                  <a16:creationId xmlns:a16="http://schemas.microsoft.com/office/drawing/2014/main" id="{87E60140-C3FD-4A56-BDBA-D5465F3E3DA1}"/>
                </a:ext>
              </a:extLst>
            </p:cNvPr>
            <p:cNvSpPr/>
            <p:nvPr/>
          </p:nvSpPr>
          <p:spPr bwMode="auto">
            <a:xfrm>
              <a:off x="3431492" y="1218950"/>
              <a:ext cx="2118207" cy="29884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ṥļïḍe">
              <a:extLst>
                <a:ext uri="{FF2B5EF4-FFF2-40B4-BE49-F238E27FC236}">
                  <a16:creationId xmlns:a16="http://schemas.microsoft.com/office/drawing/2014/main" id="{3CB8BBDD-D10C-4944-88A2-F78997498FC4}"/>
                </a:ext>
              </a:extLst>
            </p:cNvPr>
            <p:cNvSpPr/>
            <p:nvPr/>
          </p:nvSpPr>
          <p:spPr bwMode="auto">
            <a:xfrm>
              <a:off x="3431492" y="1218950"/>
              <a:ext cx="2118207" cy="29884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ṧ1iḓè">
              <a:extLst>
                <a:ext uri="{FF2B5EF4-FFF2-40B4-BE49-F238E27FC236}">
                  <a16:creationId xmlns:a16="http://schemas.microsoft.com/office/drawing/2014/main" id="{0102F56F-D2CA-4BC4-A7CA-8FC18A0B37DF}"/>
                </a:ext>
              </a:extLst>
            </p:cNvPr>
            <p:cNvSpPr/>
            <p:nvPr/>
          </p:nvSpPr>
          <p:spPr bwMode="auto">
            <a:xfrm>
              <a:off x="3330758" y="1218950"/>
              <a:ext cx="100734" cy="298843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śḷídê">
              <a:extLst>
                <a:ext uri="{FF2B5EF4-FFF2-40B4-BE49-F238E27FC236}">
                  <a16:creationId xmlns:a16="http://schemas.microsoft.com/office/drawing/2014/main" id="{C58ECA14-C19F-486C-8E3E-F4F39A54752A}"/>
                </a:ext>
              </a:extLst>
            </p:cNvPr>
            <p:cNvSpPr/>
            <p:nvPr/>
          </p:nvSpPr>
          <p:spPr bwMode="auto">
            <a:xfrm>
              <a:off x="3781262" y="3433693"/>
              <a:ext cx="1420067" cy="34977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$ľíḋé">
              <a:extLst>
                <a:ext uri="{FF2B5EF4-FFF2-40B4-BE49-F238E27FC236}">
                  <a16:creationId xmlns:a16="http://schemas.microsoft.com/office/drawing/2014/main" id="{AE0FA14F-F3CB-49C2-AA16-5F13343B8C4F}"/>
                </a:ext>
              </a:extLst>
            </p:cNvPr>
            <p:cNvSpPr/>
            <p:nvPr/>
          </p:nvSpPr>
          <p:spPr bwMode="auto">
            <a:xfrm>
              <a:off x="3781262" y="3569406"/>
              <a:ext cx="1420067" cy="36376"/>
            </a:xfrm>
            <a:prstGeom prst="rect">
              <a:avLst/>
            </a:prstGeom>
            <a:solidFill>
              <a:srgbClr val="69F0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ṧlîḓe">
              <a:extLst>
                <a:ext uri="{FF2B5EF4-FFF2-40B4-BE49-F238E27FC236}">
                  <a16:creationId xmlns:a16="http://schemas.microsoft.com/office/drawing/2014/main" id="{9B5661AE-772C-43D1-9072-6ED7799A5F37}"/>
                </a:ext>
              </a:extLst>
            </p:cNvPr>
            <p:cNvSpPr/>
            <p:nvPr/>
          </p:nvSpPr>
          <p:spPr bwMode="auto">
            <a:xfrm>
              <a:off x="3781262" y="3705116"/>
              <a:ext cx="1420067" cy="36376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ṥļîďè">
              <a:extLst>
                <a:ext uri="{FF2B5EF4-FFF2-40B4-BE49-F238E27FC236}">
                  <a16:creationId xmlns:a16="http://schemas.microsoft.com/office/drawing/2014/main" id="{7D6889EE-D5CE-4042-86AF-6F74E51E5820}"/>
                </a:ext>
              </a:extLst>
            </p:cNvPr>
            <p:cNvSpPr/>
            <p:nvPr/>
          </p:nvSpPr>
          <p:spPr bwMode="auto">
            <a:xfrm>
              <a:off x="3781262" y="3840826"/>
              <a:ext cx="1420067" cy="36376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ṩḻíḍè">
              <a:extLst>
                <a:ext uri="{FF2B5EF4-FFF2-40B4-BE49-F238E27FC236}">
                  <a16:creationId xmlns:a16="http://schemas.microsoft.com/office/drawing/2014/main" id="{2D7EE366-1BDC-4B8C-98A6-32797943538E}"/>
                </a:ext>
              </a:extLst>
            </p:cNvPr>
            <p:cNvSpPr/>
            <p:nvPr/>
          </p:nvSpPr>
          <p:spPr bwMode="auto">
            <a:xfrm>
              <a:off x="3781262" y="3976537"/>
              <a:ext cx="1420067" cy="36376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ṥliďe">
              <a:extLst>
                <a:ext uri="{FF2B5EF4-FFF2-40B4-BE49-F238E27FC236}">
                  <a16:creationId xmlns:a16="http://schemas.microsoft.com/office/drawing/2014/main" id="{DF0D5B19-35A8-4FA0-8883-815AA98D04EF}"/>
                </a:ext>
              </a:extLst>
            </p:cNvPr>
            <p:cNvSpPr/>
            <p:nvPr/>
          </p:nvSpPr>
          <p:spPr bwMode="auto">
            <a:xfrm>
              <a:off x="3809244" y="1460992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ṥļiḋê">
              <a:extLst>
                <a:ext uri="{FF2B5EF4-FFF2-40B4-BE49-F238E27FC236}">
                  <a16:creationId xmlns:a16="http://schemas.microsoft.com/office/drawing/2014/main" id="{61F58896-3CC9-4EF6-99E3-7255D22C6754}"/>
                </a:ext>
              </a:extLst>
            </p:cNvPr>
            <p:cNvSpPr/>
            <p:nvPr/>
          </p:nvSpPr>
          <p:spPr bwMode="auto">
            <a:xfrm>
              <a:off x="4080666" y="1868124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ṣliḓé">
              <a:extLst>
                <a:ext uri="{FF2B5EF4-FFF2-40B4-BE49-F238E27FC236}">
                  <a16:creationId xmlns:a16="http://schemas.microsoft.com/office/drawing/2014/main" id="{8CFE56D2-FF1B-4B2A-B6DA-4BAF9BA17165}"/>
                </a:ext>
              </a:extLst>
            </p:cNvPr>
            <p:cNvSpPr/>
            <p:nvPr/>
          </p:nvSpPr>
          <p:spPr bwMode="auto">
            <a:xfrm>
              <a:off x="4359082" y="1460992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1idè">
              <a:extLst>
                <a:ext uri="{FF2B5EF4-FFF2-40B4-BE49-F238E27FC236}">
                  <a16:creationId xmlns:a16="http://schemas.microsoft.com/office/drawing/2014/main" id="{4BAE89C6-6638-4B52-A367-F936A93768F7}"/>
                </a:ext>
              </a:extLst>
            </p:cNvPr>
            <p:cNvSpPr/>
            <p:nvPr/>
          </p:nvSpPr>
          <p:spPr bwMode="auto">
            <a:xfrm>
              <a:off x="4696260" y="1868124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sľíḍé">
              <a:extLst>
                <a:ext uri="{FF2B5EF4-FFF2-40B4-BE49-F238E27FC236}">
                  <a16:creationId xmlns:a16="http://schemas.microsoft.com/office/drawing/2014/main" id="{415EB404-7B7D-48BD-8D22-23EBC168F7D5}"/>
                </a:ext>
              </a:extLst>
            </p:cNvPr>
            <p:cNvSpPr/>
            <p:nvPr/>
          </p:nvSpPr>
          <p:spPr bwMode="auto">
            <a:xfrm>
              <a:off x="3922569" y="2742549"/>
              <a:ext cx="1775434" cy="419724"/>
            </a:xfrm>
            <a:prstGeom prst="rect">
              <a:avLst/>
            </a:pr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Sḷiḓé">
              <a:extLst>
                <a:ext uri="{FF2B5EF4-FFF2-40B4-BE49-F238E27FC236}">
                  <a16:creationId xmlns:a16="http://schemas.microsoft.com/office/drawing/2014/main" id="{5D1BB6DE-0EF8-4557-95BE-3E5B3CBF983D}"/>
                </a:ext>
              </a:extLst>
            </p:cNvPr>
            <p:cNvSpPr/>
            <p:nvPr/>
          </p:nvSpPr>
          <p:spPr bwMode="auto">
            <a:xfrm>
              <a:off x="3922569" y="2742549"/>
              <a:ext cx="1775434" cy="4197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şḻiďe">
              <a:extLst>
                <a:ext uri="{FF2B5EF4-FFF2-40B4-BE49-F238E27FC236}">
                  <a16:creationId xmlns:a16="http://schemas.microsoft.com/office/drawing/2014/main" id="{5FEB5D23-9E33-4A0A-BC60-5F19EABE7E94}"/>
                </a:ext>
              </a:extLst>
            </p:cNvPr>
            <p:cNvSpPr/>
            <p:nvPr/>
          </p:nvSpPr>
          <p:spPr bwMode="auto">
            <a:xfrm>
              <a:off x="4395458" y="2843283"/>
              <a:ext cx="521858" cy="237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şlïḍe">
              <a:extLst>
                <a:ext uri="{FF2B5EF4-FFF2-40B4-BE49-F238E27FC236}">
                  <a16:creationId xmlns:a16="http://schemas.microsoft.com/office/drawing/2014/main" id="{67E2E0A7-77AB-47ED-9519-7DDAA6F93CC8}"/>
                </a:ext>
              </a:extLst>
            </p:cNvPr>
            <p:cNvSpPr/>
            <p:nvPr/>
          </p:nvSpPr>
          <p:spPr bwMode="auto">
            <a:xfrm>
              <a:off x="4395458" y="2896448"/>
              <a:ext cx="521858" cy="23784"/>
            </a:xfrm>
            <a:prstGeom prst="rect">
              <a:avLst/>
            </a:pr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ŝḷiḑè">
              <a:extLst>
                <a:ext uri="{FF2B5EF4-FFF2-40B4-BE49-F238E27FC236}">
                  <a16:creationId xmlns:a16="http://schemas.microsoft.com/office/drawing/2014/main" id="{C6411E3B-86D4-4BEE-90B2-259739E5586E}"/>
                </a:ext>
              </a:extLst>
            </p:cNvPr>
            <p:cNvSpPr/>
            <p:nvPr/>
          </p:nvSpPr>
          <p:spPr bwMode="auto">
            <a:xfrm>
              <a:off x="4395458" y="2896448"/>
              <a:ext cx="521858" cy="23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ṡļïḍé">
              <a:extLst>
                <a:ext uri="{FF2B5EF4-FFF2-40B4-BE49-F238E27FC236}">
                  <a16:creationId xmlns:a16="http://schemas.microsoft.com/office/drawing/2014/main" id="{49F929E4-778A-48DF-A1B5-904855C30C97}"/>
                </a:ext>
              </a:extLst>
            </p:cNvPr>
            <p:cNvSpPr/>
            <p:nvPr/>
          </p:nvSpPr>
          <p:spPr bwMode="auto">
            <a:xfrm>
              <a:off x="4395458" y="2984590"/>
              <a:ext cx="1018531" cy="2378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ṩ1ïḋe">
              <a:extLst>
                <a:ext uri="{FF2B5EF4-FFF2-40B4-BE49-F238E27FC236}">
                  <a16:creationId xmlns:a16="http://schemas.microsoft.com/office/drawing/2014/main" id="{59EE7930-5FFB-4532-9379-E29764ACF2B9}"/>
                </a:ext>
              </a:extLst>
            </p:cNvPr>
            <p:cNvSpPr/>
            <p:nvPr/>
          </p:nvSpPr>
          <p:spPr bwMode="auto">
            <a:xfrm>
              <a:off x="4012110" y="2837686"/>
              <a:ext cx="223853" cy="223853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Sḻíḓê">
              <a:extLst>
                <a:ext uri="{FF2B5EF4-FFF2-40B4-BE49-F238E27FC236}">
                  <a16:creationId xmlns:a16="http://schemas.microsoft.com/office/drawing/2014/main" id="{7F9DAFB1-BED9-4715-AFD5-AB1F7B4C729C}"/>
                </a:ext>
              </a:extLst>
            </p:cNvPr>
            <p:cNvSpPr/>
            <p:nvPr/>
          </p:nvSpPr>
          <p:spPr bwMode="auto">
            <a:xfrm>
              <a:off x="4012110" y="2837686"/>
              <a:ext cx="223853" cy="22385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98" name="ïṣḻïḑe">
              <a:extLst>
                <a:ext uri="{FF2B5EF4-FFF2-40B4-BE49-F238E27FC236}">
                  <a16:creationId xmlns:a16="http://schemas.microsoft.com/office/drawing/2014/main" id="{8DEBB854-6F55-4009-8A97-0CB1ACDB03FB}"/>
                </a:ext>
              </a:extLst>
            </p:cNvPr>
            <p:cNvGrpSpPr/>
            <p:nvPr/>
          </p:nvGrpSpPr>
          <p:grpSpPr>
            <a:xfrm>
              <a:off x="3641354" y="1433853"/>
              <a:ext cx="849241" cy="839788"/>
              <a:chOff x="2928938" y="714375"/>
              <a:chExt cx="963612" cy="839788"/>
            </a:xfrm>
          </p:grpSpPr>
          <p:cxnSp>
            <p:nvCxnSpPr>
              <p:cNvPr id="102" name="直接连接符 101">
                <a:extLst>
                  <a:ext uri="{FF2B5EF4-FFF2-40B4-BE49-F238E27FC236}">
                    <a16:creationId xmlns:a16="http://schemas.microsoft.com/office/drawing/2014/main" id="{8568C648-1FAE-4A39-8298-918EF1FF8A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4375"/>
                <a:ext cx="963612" cy="0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>
                <a:extLst>
                  <a:ext uri="{FF2B5EF4-FFF2-40B4-BE49-F238E27FC236}">
                    <a16:creationId xmlns:a16="http://schemas.microsoft.com/office/drawing/2014/main" id="{779BAD9D-045A-4801-9619-4841A3191C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6756"/>
                <a:ext cx="0" cy="837407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ïṧļiḋé">
              <a:extLst>
                <a:ext uri="{FF2B5EF4-FFF2-40B4-BE49-F238E27FC236}">
                  <a16:creationId xmlns:a16="http://schemas.microsoft.com/office/drawing/2014/main" id="{3B9F39C0-59B2-47B5-956A-4B3AD419FB25}"/>
                </a:ext>
              </a:extLst>
            </p:cNvPr>
            <p:cNvGrpSpPr/>
            <p:nvPr/>
          </p:nvGrpSpPr>
          <p:grpSpPr>
            <a:xfrm flipH="1" flipV="1">
              <a:off x="4444427" y="1500753"/>
              <a:ext cx="849241" cy="839788"/>
              <a:chOff x="2928938" y="714375"/>
              <a:chExt cx="963612" cy="839788"/>
            </a:xfrm>
          </p:grpSpPr>
          <p:cxnSp>
            <p:nvCxnSpPr>
              <p:cNvPr id="100" name="直接连接符 99">
                <a:extLst>
                  <a:ext uri="{FF2B5EF4-FFF2-40B4-BE49-F238E27FC236}">
                    <a16:creationId xmlns:a16="http://schemas.microsoft.com/office/drawing/2014/main" id="{9E8925BC-4216-41D8-9F51-9B6F44B20A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4375"/>
                <a:ext cx="963612" cy="0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>
                <a:extLst>
                  <a:ext uri="{FF2B5EF4-FFF2-40B4-BE49-F238E27FC236}">
                    <a16:creationId xmlns:a16="http://schemas.microsoft.com/office/drawing/2014/main" id="{96DCBD32-A71F-4A85-A3B5-98B2105BA4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6756"/>
                <a:ext cx="0" cy="837407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4" name="TextBox 6">
            <a:extLst>
              <a:ext uri="{FF2B5EF4-FFF2-40B4-BE49-F238E27FC236}">
                <a16:creationId xmlns:a16="http://schemas.microsoft.com/office/drawing/2014/main" id="{2981605C-796A-4015-9619-FD37E13BC32D}"/>
              </a:ext>
            </a:extLst>
          </p:cNvPr>
          <p:cNvSpPr txBox="1"/>
          <p:nvPr/>
        </p:nvSpPr>
        <p:spPr>
          <a:xfrm>
            <a:off x="1125190" y="2123854"/>
            <a:ext cx="4207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dirty="0">
                <a:latin typeface="张海山锐谐体" panose="02000000000000000000" pitchFamily="2" charset="-122"/>
                <a:ea typeface="张海山锐谐体" panose="02000000000000000000" pitchFamily="2" charset="-122"/>
              </a:rPr>
              <a:t>簡報問題答復三</a:t>
            </a:r>
            <a:endParaRPr lang="id-ID" sz="4400" dirty="0">
              <a:latin typeface="张海山锐谐体" panose="02000000000000000000" pitchFamily="2" charset="-122"/>
              <a:ea typeface="张海山锐谐体" panose="02000000000000000000" pitchFamily="2" charset="-122"/>
            </a:endParaRPr>
          </a:p>
        </p:txBody>
      </p:sp>
      <p:sp>
        <p:nvSpPr>
          <p:cNvPr id="105" name="Rectangle: Rounded Corners 7">
            <a:extLst>
              <a:ext uri="{FF2B5EF4-FFF2-40B4-BE49-F238E27FC236}">
                <a16:creationId xmlns:a16="http://schemas.microsoft.com/office/drawing/2014/main" id="{3BA2DF51-B127-4FDE-8298-F6EC7B2E33A4}"/>
              </a:ext>
            </a:extLst>
          </p:cNvPr>
          <p:cNvSpPr/>
          <p:nvPr/>
        </p:nvSpPr>
        <p:spPr>
          <a:xfrm>
            <a:off x="1252984" y="2080455"/>
            <a:ext cx="347346" cy="36000"/>
          </a:xfrm>
          <a:prstGeom prst="roundRect">
            <a:avLst>
              <a:gd name="adj" fmla="val 6090"/>
            </a:avLst>
          </a:prstGeom>
          <a:solidFill>
            <a:srgbClr val="25E0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tx1"/>
              </a:solidFill>
            </a:endParaRPr>
          </a:p>
        </p:txBody>
      </p:sp>
      <p:sp>
        <p:nvSpPr>
          <p:cNvPr id="106" name="Rectangle 8">
            <a:extLst>
              <a:ext uri="{FF2B5EF4-FFF2-40B4-BE49-F238E27FC236}">
                <a16:creationId xmlns:a16="http://schemas.microsoft.com/office/drawing/2014/main" id="{A7318A95-89CD-44B0-B636-8B4D01CDCEAA}"/>
              </a:ext>
            </a:extLst>
          </p:cNvPr>
          <p:cNvSpPr/>
          <p:nvPr/>
        </p:nvSpPr>
        <p:spPr>
          <a:xfrm>
            <a:off x="1213948" y="3909630"/>
            <a:ext cx="128272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>
                <a:latin typeface="张海山锐线体2.0" panose="02000000000000000000" pitchFamily="2" charset="-122"/>
                <a:cs typeface="Segoe UI Light" panose="020B0502040204020203" pitchFamily="34" charset="0"/>
              </a:rPr>
              <a:t>Question</a:t>
            </a:r>
            <a:r>
              <a:rPr lang="zh-CN" altLang="en-US" sz="1600" dirty="0">
                <a:latin typeface="张海山锐线体2.0" panose="02000000000000000000" pitchFamily="2" charset="-122"/>
                <a:cs typeface="Segoe UI Light" panose="020B0502040204020203" pitchFamily="34" charset="0"/>
              </a:rPr>
              <a:t>：</a:t>
            </a:r>
            <a:endParaRPr lang="en-US" altLang="zh-CN" sz="1600" dirty="0">
              <a:latin typeface="张海山锐线体2.0" panose="02000000000000000000" pitchFamily="2" charset="-122"/>
              <a:cs typeface="Segoe UI Light" panose="020B0502040204020203" pitchFamily="34" charset="0"/>
            </a:endParaRPr>
          </a:p>
        </p:txBody>
      </p:sp>
      <p:cxnSp>
        <p:nvCxnSpPr>
          <p:cNvPr id="109" name="Straight Connector 5">
            <a:extLst>
              <a:ext uri="{FF2B5EF4-FFF2-40B4-BE49-F238E27FC236}">
                <a16:creationId xmlns:a16="http://schemas.microsoft.com/office/drawing/2014/main" id="{3AC255FB-13CF-48C6-9E36-C63405435E6C}"/>
              </a:ext>
            </a:extLst>
          </p:cNvPr>
          <p:cNvCxnSpPr>
            <a:cxnSpLocks/>
          </p:cNvCxnSpPr>
          <p:nvPr/>
        </p:nvCxnSpPr>
        <p:spPr>
          <a:xfrm>
            <a:off x="7979392" y="2370576"/>
            <a:ext cx="309454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A327F6D6-90E6-4DEB-8AFD-387AF9116A07}"/>
              </a:ext>
            </a:extLst>
          </p:cNvPr>
          <p:cNvSpPr txBox="1"/>
          <p:nvPr/>
        </p:nvSpPr>
        <p:spPr>
          <a:xfrm>
            <a:off x="1213948" y="4467143"/>
            <a:ext cx="514825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手語手套相比市面上採用影像辨識技術</a:t>
            </a:r>
            <a:r>
              <a:rPr lang="en-US" altLang="zh-CN" sz="2800" b="1" dirty="0"/>
              <a:t>real time </a:t>
            </a:r>
            <a:r>
              <a:rPr lang="zh-CN" altLang="en-US" sz="2800" b="1" dirty="0"/>
              <a:t>語言翻譯</a:t>
            </a:r>
            <a:r>
              <a:rPr lang="en-US" altLang="zh-CN" sz="2800" b="1" dirty="0"/>
              <a:t>app</a:t>
            </a:r>
            <a:r>
              <a:rPr lang="zh-CN" altLang="en-US" sz="2800" b="1" dirty="0"/>
              <a:t>，有何優勢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404459641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6" presetClass="entr" presetSubtype="37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4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/>
      <p:bldP spid="105" grpId="0" animBg="1"/>
      <p:bldP spid="10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5">
            <a:extLst>
              <a:ext uri="{FF2B5EF4-FFF2-40B4-BE49-F238E27FC236}">
                <a16:creationId xmlns:a16="http://schemas.microsoft.com/office/drawing/2014/main" id="{D19A76A4-A235-4168-9CEB-2E7E39A3492E}"/>
              </a:ext>
            </a:extLst>
          </p:cNvPr>
          <p:cNvSpPr/>
          <p:nvPr/>
        </p:nvSpPr>
        <p:spPr>
          <a:xfrm flipV="1">
            <a:off x="1" y="0"/>
            <a:ext cx="13285693" cy="9620250"/>
          </a:xfrm>
          <a:custGeom>
            <a:avLst/>
            <a:gdLst>
              <a:gd name="connsiteX0" fmla="*/ 0 w 3983598"/>
              <a:gd name="connsiteY0" fmla="*/ 0 h 6286500"/>
              <a:gd name="connsiteX1" fmla="*/ 3983598 w 3983598"/>
              <a:gd name="connsiteY1" fmla="*/ 0 h 6286500"/>
              <a:gd name="connsiteX2" fmla="*/ 3983598 w 3983598"/>
              <a:gd name="connsiteY2" fmla="*/ 6286500 h 6286500"/>
              <a:gd name="connsiteX3" fmla="*/ 0 w 3983598"/>
              <a:gd name="connsiteY3" fmla="*/ 6286500 h 6286500"/>
              <a:gd name="connsiteX4" fmla="*/ 0 w 3983598"/>
              <a:gd name="connsiteY4" fmla="*/ 0 h 6286500"/>
              <a:gd name="connsiteX0" fmla="*/ 0 w 6498198"/>
              <a:gd name="connsiteY0" fmla="*/ 8538 h 6295038"/>
              <a:gd name="connsiteX1" fmla="*/ 3983598 w 6498198"/>
              <a:gd name="connsiteY1" fmla="*/ 8538 h 6295038"/>
              <a:gd name="connsiteX2" fmla="*/ 3983598 w 6498198"/>
              <a:gd name="connsiteY2" fmla="*/ 6295038 h 6295038"/>
              <a:gd name="connsiteX3" fmla="*/ 0 w 6498198"/>
              <a:gd name="connsiteY3" fmla="*/ 6295038 h 6295038"/>
              <a:gd name="connsiteX4" fmla="*/ 0 w 6498198"/>
              <a:gd name="connsiteY4" fmla="*/ 8538 h 6295038"/>
              <a:gd name="connsiteX0" fmla="*/ 0 w 5676931"/>
              <a:gd name="connsiteY0" fmla="*/ 0 h 6286500"/>
              <a:gd name="connsiteX1" fmla="*/ 3983598 w 5676931"/>
              <a:gd name="connsiteY1" fmla="*/ 0 h 6286500"/>
              <a:gd name="connsiteX2" fmla="*/ 3983598 w 5676931"/>
              <a:gd name="connsiteY2" fmla="*/ 6286500 h 6286500"/>
              <a:gd name="connsiteX3" fmla="*/ 0 w 5676931"/>
              <a:gd name="connsiteY3" fmla="*/ 6286500 h 6286500"/>
              <a:gd name="connsiteX4" fmla="*/ 0 w 5676931"/>
              <a:gd name="connsiteY4" fmla="*/ 0 h 6286500"/>
              <a:gd name="connsiteX0" fmla="*/ 0 w 5676931"/>
              <a:gd name="connsiteY0" fmla="*/ 322170 h 6608670"/>
              <a:gd name="connsiteX1" fmla="*/ 3983598 w 5676931"/>
              <a:gd name="connsiteY1" fmla="*/ 322170 h 6608670"/>
              <a:gd name="connsiteX2" fmla="*/ 3983598 w 5676931"/>
              <a:gd name="connsiteY2" fmla="*/ 6608670 h 6608670"/>
              <a:gd name="connsiteX3" fmla="*/ 0 w 5676931"/>
              <a:gd name="connsiteY3" fmla="*/ 6608670 h 6608670"/>
              <a:gd name="connsiteX4" fmla="*/ 0 w 5676931"/>
              <a:gd name="connsiteY4" fmla="*/ 322170 h 6608670"/>
              <a:gd name="connsiteX0" fmla="*/ 0 w 5194331"/>
              <a:gd name="connsiteY0" fmla="*/ 322170 h 6608670"/>
              <a:gd name="connsiteX1" fmla="*/ 3983598 w 5194331"/>
              <a:gd name="connsiteY1" fmla="*/ 322170 h 6608670"/>
              <a:gd name="connsiteX2" fmla="*/ 3983598 w 5194331"/>
              <a:gd name="connsiteY2" fmla="*/ 6608670 h 6608670"/>
              <a:gd name="connsiteX3" fmla="*/ 0 w 5194331"/>
              <a:gd name="connsiteY3" fmla="*/ 6608670 h 6608670"/>
              <a:gd name="connsiteX4" fmla="*/ 0 w 5194331"/>
              <a:gd name="connsiteY4" fmla="*/ 322170 h 6608670"/>
              <a:gd name="connsiteX0" fmla="*/ 0 w 5194331"/>
              <a:gd name="connsiteY0" fmla="*/ 93260 h 6379760"/>
              <a:gd name="connsiteX1" fmla="*/ 3983598 w 5194331"/>
              <a:gd name="connsiteY1" fmla="*/ 93260 h 6379760"/>
              <a:gd name="connsiteX2" fmla="*/ 3983598 w 5194331"/>
              <a:gd name="connsiteY2" fmla="*/ 6379760 h 6379760"/>
              <a:gd name="connsiteX3" fmla="*/ 0 w 5194331"/>
              <a:gd name="connsiteY3" fmla="*/ 6379760 h 6379760"/>
              <a:gd name="connsiteX4" fmla="*/ 0 w 5194331"/>
              <a:gd name="connsiteY4" fmla="*/ 93260 h 6379760"/>
              <a:gd name="connsiteX0" fmla="*/ 0 w 5055273"/>
              <a:gd name="connsiteY0" fmla="*/ 7129 h 6293629"/>
              <a:gd name="connsiteX1" fmla="*/ 3793098 w 5055273"/>
              <a:gd name="connsiteY1" fmla="*/ 159736 h 6293629"/>
              <a:gd name="connsiteX2" fmla="*/ 3983598 w 5055273"/>
              <a:gd name="connsiteY2" fmla="*/ 6293629 h 6293629"/>
              <a:gd name="connsiteX3" fmla="*/ 0 w 5055273"/>
              <a:gd name="connsiteY3" fmla="*/ 6293629 h 6293629"/>
              <a:gd name="connsiteX4" fmla="*/ 0 w 5055273"/>
              <a:gd name="connsiteY4" fmla="*/ 7129 h 6293629"/>
              <a:gd name="connsiteX0" fmla="*/ 0 w 5909537"/>
              <a:gd name="connsiteY0" fmla="*/ 7129 h 6293629"/>
              <a:gd name="connsiteX1" fmla="*/ 3793098 w 5909537"/>
              <a:gd name="connsiteY1" fmla="*/ 159736 h 6293629"/>
              <a:gd name="connsiteX2" fmla="*/ 3983598 w 5909537"/>
              <a:gd name="connsiteY2" fmla="*/ 6293629 h 6293629"/>
              <a:gd name="connsiteX3" fmla="*/ 0 w 5909537"/>
              <a:gd name="connsiteY3" fmla="*/ 6293629 h 6293629"/>
              <a:gd name="connsiteX4" fmla="*/ 0 w 5909537"/>
              <a:gd name="connsiteY4" fmla="*/ 7129 h 6293629"/>
              <a:gd name="connsiteX0" fmla="*/ 0 w 5909537"/>
              <a:gd name="connsiteY0" fmla="*/ 442559 h 6729059"/>
              <a:gd name="connsiteX1" fmla="*/ 3050148 w 5909537"/>
              <a:gd name="connsiteY1" fmla="*/ 530809 h 6729059"/>
              <a:gd name="connsiteX2" fmla="*/ 3793098 w 5909537"/>
              <a:gd name="connsiteY2" fmla="*/ 595166 h 6729059"/>
              <a:gd name="connsiteX3" fmla="*/ 3983598 w 5909537"/>
              <a:gd name="connsiteY3" fmla="*/ 6729059 h 6729059"/>
              <a:gd name="connsiteX4" fmla="*/ 0 w 5909537"/>
              <a:gd name="connsiteY4" fmla="*/ 6729059 h 6729059"/>
              <a:gd name="connsiteX5" fmla="*/ 0 w 5909537"/>
              <a:gd name="connsiteY5" fmla="*/ 442559 h 6729059"/>
              <a:gd name="connsiteX0" fmla="*/ 0 w 5909537"/>
              <a:gd name="connsiteY0" fmla="*/ 745791 h 7032291"/>
              <a:gd name="connsiteX1" fmla="*/ 2535798 w 5909537"/>
              <a:gd name="connsiteY1" fmla="*/ 71006 h 7032291"/>
              <a:gd name="connsiteX2" fmla="*/ 3793098 w 5909537"/>
              <a:gd name="connsiteY2" fmla="*/ 898398 h 7032291"/>
              <a:gd name="connsiteX3" fmla="*/ 3983598 w 5909537"/>
              <a:gd name="connsiteY3" fmla="*/ 7032291 h 7032291"/>
              <a:gd name="connsiteX4" fmla="*/ 0 w 5909537"/>
              <a:gd name="connsiteY4" fmla="*/ 7032291 h 7032291"/>
              <a:gd name="connsiteX5" fmla="*/ 0 w 5909537"/>
              <a:gd name="connsiteY5" fmla="*/ 745791 h 7032291"/>
              <a:gd name="connsiteX0" fmla="*/ 0 w 5909537"/>
              <a:gd name="connsiteY0" fmla="*/ 745791 h 7032291"/>
              <a:gd name="connsiteX1" fmla="*/ 2535798 w 5909537"/>
              <a:gd name="connsiteY1" fmla="*/ 71006 h 7032291"/>
              <a:gd name="connsiteX2" fmla="*/ 3793098 w 5909537"/>
              <a:gd name="connsiteY2" fmla="*/ 898398 h 7032291"/>
              <a:gd name="connsiteX3" fmla="*/ 3983598 w 5909537"/>
              <a:gd name="connsiteY3" fmla="*/ 7032291 h 7032291"/>
              <a:gd name="connsiteX4" fmla="*/ 0 w 5909537"/>
              <a:gd name="connsiteY4" fmla="*/ 7032291 h 7032291"/>
              <a:gd name="connsiteX5" fmla="*/ 0 w 5909537"/>
              <a:gd name="connsiteY5" fmla="*/ 745791 h 7032291"/>
              <a:gd name="connsiteX0" fmla="*/ 0 w 5909537"/>
              <a:gd name="connsiteY0" fmla="*/ 745791 h 7032291"/>
              <a:gd name="connsiteX1" fmla="*/ 2535798 w 5909537"/>
              <a:gd name="connsiteY1" fmla="*/ 71006 h 7032291"/>
              <a:gd name="connsiteX2" fmla="*/ 3793098 w 5909537"/>
              <a:gd name="connsiteY2" fmla="*/ 898398 h 7032291"/>
              <a:gd name="connsiteX3" fmla="*/ 3983598 w 5909537"/>
              <a:gd name="connsiteY3" fmla="*/ 7032291 h 7032291"/>
              <a:gd name="connsiteX4" fmla="*/ 0 w 5909537"/>
              <a:gd name="connsiteY4" fmla="*/ 7032291 h 7032291"/>
              <a:gd name="connsiteX5" fmla="*/ 0 w 5909537"/>
              <a:gd name="connsiteY5" fmla="*/ 745791 h 7032291"/>
              <a:gd name="connsiteX0" fmla="*/ 0 w 5909537"/>
              <a:gd name="connsiteY0" fmla="*/ 1157397 h 7443897"/>
              <a:gd name="connsiteX1" fmla="*/ 2535798 w 5909537"/>
              <a:gd name="connsiteY1" fmla="*/ 482612 h 7443897"/>
              <a:gd name="connsiteX2" fmla="*/ 3793098 w 5909537"/>
              <a:gd name="connsiteY2" fmla="*/ 1310004 h 7443897"/>
              <a:gd name="connsiteX3" fmla="*/ 3983598 w 5909537"/>
              <a:gd name="connsiteY3" fmla="*/ 7443897 h 7443897"/>
              <a:gd name="connsiteX4" fmla="*/ 0 w 5909537"/>
              <a:gd name="connsiteY4" fmla="*/ 7443897 h 7443897"/>
              <a:gd name="connsiteX5" fmla="*/ 0 w 5909537"/>
              <a:gd name="connsiteY5" fmla="*/ 1157397 h 7443897"/>
              <a:gd name="connsiteX0" fmla="*/ 0 w 5909537"/>
              <a:gd name="connsiteY0" fmla="*/ 1157397 h 7443897"/>
              <a:gd name="connsiteX1" fmla="*/ 2535798 w 5909537"/>
              <a:gd name="connsiteY1" fmla="*/ 482612 h 7443897"/>
              <a:gd name="connsiteX2" fmla="*/ 3793098 w 5909537"/>
              <a:gd name="connsiteY2" fmla="*/ 1310004 h 7443897"/>
              <a:gd name="connsiteX3" fmla="*/ 3983598 w 5909537"/>
              <a:gd name="connsiteY3" fmla="*/ 7443897 h 7443897"/>
              <a:gd name="connsiteX4" fmla="*/ 0 w 5909537"/>
              <a:gd name="connsiteY4" fmla="*/ 7443897 h 7443897"/>
              <a:gd name="connsiteX5" fmla="*/ 0 w 5909537"/>
              <a:gd name="connsiteY5" fmla="*/ 1157397 h 7443897"/>
              <a:gd name="connsiteX0" fmla="*/ 0 w 13636106"/>
              <a:gd name="connsiteY0" fmla="*/ 1157397 h 7443897"/>
              <a:gd name="connsiteX1" fmla="*/ 2535798 w 13636106"/>
              <a:gd name="connsiteY1" fmla="*/ 482612 h 7443897"/>
              <a:gd name="connsiteX2" fmla="*/ 12651348 w 13636106"/>
              <a:gd name="connsiteY2" fmla="*/ 838312 h 7443897"/>
              <a:gd name="connsiteX3" fmla="*/ 3983598 w 13636106"/>
              <a:gd name="connsiteY3" fmla="*/ 7443897 h 7443897"/>
              <a:gd name="connsiteX4" fmla="*/ 0 w 13636106"/>
              <a:gd name="connsiteY4" fmla="*/ 7443897 h 7443897"/>
              <a:gd name="connsiteX5" fmla="*/ 0 w 13636106"/>
              <a:gd name="connsiteY5" fmla="*/ 1157397 h 7443897"/>
              <a:gd name="connsiteX0" fmla="*/ 0 w 13474452"/>
              <a:gd name="connsiteY0" fmla="*/ 1157397 h 7443897"/>
              <a:gd name="connsiteX1" fmla="*/ 2535798 w 13474452"/>
              <a:gd name="connsiteY1" fmla="*/ 482612 h 7443897"/>
              <a:gd name="connsiteX2" fmla="*/ 12651348 w 13474452"/>
              <a:gd name="connsiteY2" fmla="*/ 838312 h 7443897"/>
              <a:gd name="connsiteX3" fmla="*/ 3983598 w 13474452"/>
              <a:gd name="connsiteY3" fmla="*/ 7443897 h 7443897"/>
              <a:gd name="connsiteX4" fmla="*/ 0 w 13474452"/>
              <a:gd name="connsiteY4" fmla="*/ 7443897 h 7443897"/>
              <a:gd name="connsiteX5" fmla="*/ 0 w 13474452"/>
              <a:gd name="connsiteY5" fmla="*/ 1157397 h 7443897"/>
              <a:gd name="connsiteX0" fmla="*/ 0 w 13498871"/>
              <a:gd name="connsiteY0" fmla="*/ 1157397 h 7443897"/>
              <a:gd name="connsiteX1" fmla="*/ 2535798 w 13498871"/>
              <a:gd name="connsiteY1" fmla="*/ 482612 h 7443897"/>
              <a:gd name="connsiteX2" fmla="*/ 12651348 w 13498871"/>
              <a:gd name="connsiteY2" fmla="*/ 838312 h 7443897"/>
              <a:gd name="connsiteX3" fmla="*/ 3983598 w 13498871"/>
              <a:gd name="connsiteY3" fmla="*/ 7443897 h 7443897"/>
              <a:gd name="connsiteX4" fmla="*/ 0 w 13498871"/>
              <a:gd name="connsiteY4" fmla="*/ 7443897 h 7443897"/>
              <a:gd name="connsiteX5" fmla="*/ 0 w 13498871"/>
              <a:gd name="connsiteY5" fmla="*/ 1157397 h 7443897"/>
              <a:gd name="connsiteX0" fmla="*/ 0 w 13285693"/>
              <a:gd name="connsiteY0" fmla="*/ 1157397 h 7443897"/>
              <a:gd name="connsiteX1" fmla="*/ 2535798 w 13285693"/>
              <a:gd name="connsiteY1" fmla="*/ 482612 h 7443897"/>
              <a:gd name="connsiteX2" fmla="*/ 12651348 w 13285693"/>
              <a:gd name="connsiteY2" fmla="*/ 838312 h 7443897"/>
              <a:gd name="connsiteX3" fmla="*/ 3983598 w 13285693"/>
              <a:gd name="connsiteY3" fmla="*/ 7443897 h 7443897"/>
              <a:gd name="connsiteX4" fmla="*/ 0 w 13285693"/>
              <a:gd name="connsiteY4" fmla="*/ 7443897 h 7443897"/>
              <a:gd name="connsiteX5" fmla="*/ 0 w 13285693"/>
              <a:gd name="connsiteY5" fmla="*/ 1157397 h 744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85693" h="7443897">
                <a:moveTo>
                  <a:pt x="0" y="1157397"/>
                </a:moveTo>
                <a:cubicBezTo>
                  <a:pt x="508358" y="124355"/>
                  <a:pt x="2075065" y="-477540"/>
                  <a:pt x="2535798" y="482612"/>
                </a:cubicBezTo>
                <a:cubicBezTo>
                  <a:pt x="3015581" y="1576295"/>
                  <a:pt x="11943323" y="816291"/>
                  <a:pt x="12651348" y="838312"/>
                </a:cubicBezTo>
                <a:cubicBezTo>
                  <a:pt x="16537548" y="3248245"/>
                  <a:pt x="1183248" y="2400319"/>
                  <a:pt x="3983598" y="7443897"/>
                </a:cubicBezTo>
                <a:lnTo>
                  <a:pt x="0" y="7443897"/>
                </a:lnTo>
                <a:lnTo>
                  <a:pt x="0" y="1157397"/>
                </a:lnTo>
                <a:close/>
              </a:path>
            </a:pathLst>
          </a:custGeom>
          <a:gradFill>
            <a:gsLst>
              <a:gs pos="61000">
                <a:srgbClr val="C2A1FF"/>
              </a:gs>
              <a:gs pos="29000">
                <a:srgbClr val="F7B2C3"/>
              </a:gs>
              <a:gs pos="100000">
                <a:srgbClr val="1993E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8F34D3D7-D09B-4166-8C2A-AAE9956FCE83}"/>
              </a:ext>
            </a:extLst>
          </p:cNvPr>
          <p:cNvSpPr/>
          <p:nvPr/>
        </p:nvSpPr>
        <p:spPr>
          <a:xfrm>
            <a:off x="694734" y="581749"/>
            <a:ext cx="10802533" cy="5694503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ln w="12700">
            <a:noFill/>
          </a:ln>
          <a:effectLst>
            <a:outerShdw blurRad="381000" dist="38100" dir="5400000" algn="t" rotWithShape="0">
              <a:srgbClr val="B8B8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prstClr val="white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26DFA92-9690-49FB-B793-B778D134439E}"/>
              </a:ext>
            </a:extLst>
          </p:cNvPr>
          <p:cNvGrpSpPr/>
          <p:nvPr/>
        </p:nvGrpSpPr>
        <p:grpSpPr>
          <a:xfrm>
            <a:off x="8902607" y="1023363"/>
            <a:ext cx="2052487" cy="4693524"/>
            <a:chOff x="7770390" y="990111"/>
            <a:chExt cx="2052487" cy="4693524"/>
          </a:xfrm>
        </p:grpSpPr>
        <p:sp>
          <p:nvSpPr>
            <p:cNvPr id="5" name="圆角矩形 14">
              <a:extLst>
                <a:ext uri="{FF2B5EF4-FFF2-40B4-BE49-F238E27FC236}">
                  <a16:creationId xmlns:a16="http://schemas.microsoft.com/office/drawing/2014/main" id="{1F48B8FF-0C9F-4040-8CAE-104BF8A6A73D}"/>
                </a:ext>
              </a:extLst>
            </p:cNvPr>
            <p:cNvSpPr/>
            <p:nvPr/>
          </p:nvSpPr>
          <p:spPr>
            <a:xfrm>
              <a:off x="7770390" y="1736002"/>
              <a:ext cx="2052487" cy="1368894"/>
            </a:xfrm>
            <a:prstGeom prst="roundRect">
              <a:avLst>
                <a:gd name="adj" fmla="val 8350"/>
              </a:avLst>
            </a:prstGeom>
            <a:gradFill>
              <a:gsLst>
                <a:gs pos="75000">
                  <a:srgbClr val="4748FF"/>
                </a:gs>
                <a:gs pos="18000">
                  <a:srgbClr val="0000A8"/>
                </a:gs>
              </a:gsLst>
              <a:lin ang="18600000" scaled="0"/>
            </a:gradFill>
            <a:ln>
              <a:noFill/>
            </a:ln>
            <a:effectLst>
              <a:outerShdw blurRad="63500" dist="50800" dir="2700000" algn="tl" rotWithShape="0">
                <a:srgbClr val="0000A8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6694" tIns="43347" rIns="86694" bIns="43347"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6" name="Picture 307" descr="C:\Users\Administrator\Desktop\未标题-1.png">
              <a:extLst>
                <a:ext uri="{FF2B5EF4-FFF2-40B4-BE49-F238E27FC236}">
                  <a16:creationId xmlns:a16="http://schemas.microsoft.com/office/drawing/2014/main" id="{B3026361-9F77-4C6D-A7D5-407CC4FD80F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59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043290" y="990111"/>
              <a:ext cx="1550919" cy="1920726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圆角矩形 16">
              <a:extLst>
                <a:ext uri="{FF2B5EF4-FFF2-40B4-BE49-F238E27FC236}">
                  <a16:creationId xmlns:a16="http://schemas.microsoft.com/office/drawing/2014/main" id="{CD404184-502C-4BCA-BAB7-2402F9F89364}"/>
                </a:ext>
              </a:extLst>
            </p:cNvPr>
            <p:cNvSpPr/>
            <p:nvPr/>
          </p:nvSpPr>
          <p:spPr>
            <a:xfrm>
              <a:off x="7770390" y="3490852"/>
              <a:ext cx="2052487" cy="1368894"/>
            </a:xfrm>
            <a:prstGeom prst="roundRect">
              <a:avLst>
                <a:gd name="adj" fmla="val 5567"/>
              </a:avLst>
            </a:prstGeom>
            <a:gradFill>
              <a:gsLst>
                <a:gs pos="75000">
                  <a:schemeClr val="accent4">
                    <a:lumMod val="60000"/>
                    <a:lumOff val="40000"/>
                  </a:schemeClr>
                </a:gs>
                <a:gs pos="18000">
                  <a:schemeClr val="accent4"/>
                </a:gs>
              </a:gsLst>
              <a:lin ang="18600000" scaled="0"/>
            </a:gradFill>
            <a:ln>
              <a:noFill/>
            </a:ln>
            <a:effectLst>
              <a:outerShdw blurRad="50800" dist="38100" algn="l" rotWithShape="0">
                <a:schemeClr val="accent4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6694" tIns="43347" rIns="86694" bIns="43347"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8" name="Picture 307" descr="C:\Users\Administrator\Desktop\未标题-1.png">
              <a:extLst>
                <a:ext uri="{FF2B5EF4-FFF2-40B4-BE49-F238E27FC236}">
                  <a16:creationId xmlns:a16="http://schemas.microsoft.com/office/drawing/2014/main" id="{E634445E-61F3-448F-8BFA-BF6F1B8AB4F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59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>
              <a:off x="8126575" y="3459183"/>
              <a:ext cx="1340116" cy="222445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93BEED7-C60E-446E-A9B9-1BD16708C3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0478948"/>
              </p:ext>
            </p:extLst>
          </p:nvPr>
        </p:nvGraphicFramePr>
        <p:xfrm>
          <a:off x="881149" y="1280160"/>
          <a:ext cx="7792790" cy="4048300"/>
        </p:xfrm>
        <a:graphic>
          <a:graphicData uri="http://schemas.openxmlformats.org/drawingml/2006/table">
            <a:tbl>
              <a:tblPr>
                <a:tableStyleId>{18603FDC-E32A-4AB5-989C-0864C3EAD2B8}</a:tableStyleId>
              </a:tblPr>
              <a:tblGrid>
                <a:gridCol w="3356533">
                  <a:extLst>
                    <a:ext uri="{9D8B030D-6E8A-4147-A177-3AD203B41FA5}">
                      <a16:colId xmlns:a16="http://schemas.microsoft.com/office/drawing/2014/main" val="2568735479"/>
                    </a:ext>
                  </a:extLst>
                </a:gridCol>
                <a:gridCol w="2887088">
                  <a:extLst>
                    <a:ext uri="{9D8B030D-6E8A-4147-A177-3AD203B41FA5}">
                      <a16:colId xmlns:a16="http://schemas.microsoft.com/office/drawing/2014/main" val="2026618479"/>
                    </a:ext>
                  </a:extLst>
                </a:gridCol>
                <a:gridCol w="1549169">
                  <a:extLst>
                    <a:ext uri="{9D8B030D-6E8A-4147-A177-3AD203B41FA5}">
                      <a16:colId xmlns:a16="http://schemas.microsoft.com/office/drawing/2014/main" val="4093687023"/>
                    </a:ext>
                  </a:extLst>
                </a:gridCol>
              </a:tblGrid>
              <a:tr h="639634">
                <a:tc>
                  <a:txBody>
                    <a:bodyPr/>
                    <a:lstStyle/>
                    <a:p>
                      <a:pPr algn="ctr" fontAlgn="ctr"/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>
                          <a:effectLst/>
                        </a:rPr>
                        <a:t>gopro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400" u="none" strike="noStrike">
                          <a:effectLst/>
                        </a:rPr>
                        <a:t>手語手套</a:t>
                      </a:r>
                      <a:endParaRPr lang="zh-CN" altLang="en-US" sz="2400" b="0" i="0" u="none" strike="noStrike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3357178864"/>
                  </a:ext>
                </a:extLst>
              </a:tr>
              <a:tr h="639634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u="none" strike="noStrike">
                          <a:effectLst/>
                        </a:rPr>
                        <a:t>訓練難度  </a:t>
                      </a:r>
                      <a:r>
                        <a:rPr lang="en-US" altLang="zh-TW" sz="2400" u="none" strike="noStrike">
                          <a:effectLst/>
                        </a:rPr>
                        <a:t>(input </a:t>
                      </a:r>
                      <a:r>
                        <a:rPr lang="zh-TW" altLang="en-US" sz="2400" u="none" strike="noStrike">
                          <a:effectLst/>
                        </a:rPr>
                        <a:t>個數</a:t>
                      </a:r>
                      <a:r>
                        <a:rPr lang="en-US" altLang="zh-TW" sz="2400" u="none" strike="noStrike">
                          <a:effectLst/>
                        </a:rPr>
                        <a:t>)</a:t>
                      </a:r>
                      <a:endParaRPr lang="en-US" altLang="zh-TW" sz="2400" b="0" i="0" u="none" strike="noStrike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400" u="none" strike="noStrike" dirty="0">
                          <a:effectLst/>
                        </a:rPr>
                        <a:t>照片解析度多</a:t>
                      </a:r>
                      <a:endParaRPr lang="zh-CN" alt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42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914566980"/>
                  </a:ext>
                </a:extLst>
              </a:tr>
              <a:tr h="850130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u="none" strike="noStrike" dirty="0">
                          <a:effectLst/>
                        </a:rPr>
                        <a:t>訓練難度  </a:t>
                      </a:r>
                      <a:r>
                        <a:rPr lang="en-US" altLang="zh-TW" sz="2400" u="none" strike="noStrike" dirty="0">
                          <a:effectLst/>
                        </a:rPr>
                        <a:t>(</a:t>
                      </a:r>
                      <a:r>
                        <a:rPr lang="zh-TW" altLang="en-US" sz="2400" u="none" strike="noStrike" dirty="0">
                          <a:effectLst/>
                        </a:rPr>
                        <a:t>特徵值處理</a:t>
                      </a:r>
                      <a:r>
                        <a:rPr lang="en-US" altLang="zh-TW" sz="2400" u="none" strike="noStrike" dirty="0">
                          <a:effectLst/>
                        </a:rPr>
                        <a:t>)</a:t>
                      </a:r>
                      <a:endParaRPr lang="en-US" altLang="zh-TW" sz="2400" b="0" i="0" u="none" strike="noStrike" dirty="0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 err="1">
                          <a:effectLst/>
                        </a:rPr>
                        <a:t>convelution+pooli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400" u="none" strike="noStrike">
                          <a:effectLst/>
                        </a:rPr>
                        <a:t>直接輸入</a:t>
                      </a:r>
                      <a:endParaRPr lang="zh-CN" altLang="en-US" sz="2400" b="0" i="0" u="none" strike="noStrike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3844973724"/>
                  </a:ext>
                </a:extLst>
              </a:tr>
              <a:tr h="639634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u="none" strike="noStrike">
                          <a:effectLst/>
                        </a:rPr>
                        <a:t>訓練難度 </a:t>
                      </a:r>
                      <a:r>
                        <a:rPr lang="en-US" altLang="zh-TW" sz="2400" u="none" strike="noStrike">
                          <a:effectLst/>
                        </a:rPr>
                        <a:t>(</a:t>
                      </a:r>
                      <a:r>
                        <a:rPr lang="zh-TW" altLang="en-US" sz="2400" u="none" strike="noStrike">
                          <a:effectLst/>
                        </a:rPr>
                        <a:t>訓練速度</a:t>
                      </a:r>
                      <a:r>
                        <a:rPr lang="en-US" altLang="zh-TW" sz="2400" u="none" strike="noStrike">
                          <a:effectLst/>
                        </a:rPr>
                        <a:t>)</a:t>
                      </a:r>
                      <a:endParaRPr lang="en-US" altLang="zh-TW" sz="2400" b="0" i="0" u="none" strike="noStrike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400" u="none" strike="noStrike" dirty="0">
                          <a:effectLst/>
                        </a:rPr>
                        <a:t>慢</a:t>
                      </a:r>
                      <a:endParaRPr lang="zh-CN" alt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400" u="none" strike="noStrike" dirty="0">
                          <a:effectLst/>
                        </a:rPr>
                        <a:t>快</a:t>
                      </a:r>
                      <a:endParaRPr lang="zh-CN" alt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1630562656"/>
                  </a:ext>
                </a:extLst>
              </a:tr>
              <a:tr h="63963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400" u="none" strike="noStrike">
                          <a:effectLst/>
                        </a:rPr>
                        <a:t>辨識速度</a:t>
                      </a:r>
                      <a:endParaRPr lang="zh-CN" altLang="en-US" sz="2400" b="0" i="0" u="none" strike="noStrike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400" u="none" strike="noStrike" dirty="0">
                          <a:effectLst/>
                        </a:rPr>
                        <a:t>慢</a:t>
                      </a:r>
                      <a:endParaRPr lang="zh-CN" alt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400" u="none" strike="noStrike" dirty="0">
                          <a:effectLst/>
                        </a:rPr>
                        <a:t>快</a:t>
                      </a:r>
                      <a:r>
                        <a:rPr lang="en-US" altLang="zh-CN" sz="2400" u="none" strike="noStrike" dirty="0">
                          <a:effectLst/>
                        </a:rPr>
                        <a:t>(1</a:t>
                      </a:r>
                      <a:r>
                        <a:rPr lang="en-US" sz="2400" u="none" strike="noStrike" dirty="0">
                          <a:effectLst/>
                        </a:rPr>
                        <a:t>s</a:t>
                      </a:r>
                      <a:r>
                        <a:rPr lang="zh-CN" altLang="en-US" sz="2400" u="none" strike="noStrike" dirty="0">
                          <a:effectLst/>
                        </a:rPr>
                        <a:t>不到</a:t>
                      </a:r>
                      <a:r>
                        <a:rPr lang="en-US" altLang="zh-CN" sz="2400" u="none" strike="noStrike" dirty="0">
                          <a:effectLst/>
                        </a:rPr>
                        <a:t>)</a:t>
                      </a:r>
                      <a:endParaRPr lang="en-US" altLang="zh-CN" sz="2400" b="0" i="0" u="none" strike="noStrike" dirty="0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2730978596"/>
                  </a:ext>
                </a:extLst>
              </a:tr>
              <a:tr h="63963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400" u="none" strike="noStrike">
                          <a:effectLst/>
                        </a:rPr>
                        <a:t>價格</a:t>
                      </a:r>
                      <a:endParaRPr lang="zh-CN" altLang="en-US" sz="2400" b="0" i="0" u="none" strike="noStrike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400" u="none" strike="noStrike">
                          <a:effectLst/>
                        </a:rPr>
                        <a:t>300</a:t>
                      </a:r>
                      <a:r>
                        <a:rPr lang="zh-CN" altLang="en-US" sz="2400" u="none" strike="noStrike">
                          <a:effectLst/>
                        </a:rPr>
                        <a:t>美金</a:t>
                      </a:r>
                      <a:endParaRPr lang="zh-CN" altLang="en-US" sz="2400" b="0" i="0" u="none" strike="noStrike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400" u="none" strike="noStrike" dirty="0">
                          <a:effectLst/>
                        </a:rPr>
                        <a:t>999</a:t>
                      </a:r>
                      <a:r>
                        <a:rPr lang="zh-CN" altLang="en-US" sz="2400" u="none" strike="noStrike" dirty="0">
                          <a:effectLst/>
                        </a:rPr>
                        <a:t>美金</a:t>
                      </a:r>
                      <a:endParaRPr lang="zh-CN" alt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DFKai-SB" panose="03000509000000000000" pitchFamily="65" charset="-120"/>
                        <a:ea typeface="DFKai-SB" panose="03000509000000000000" pitchFamily="65" charset="-120"/>
                      </a:endParaRP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7366321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4276980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8D537F49-6596-4036-872E-7FACCD9552F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37"/>
          <a:stretch/>
        </p:blipFill>
        <p:spPr>
          <a:xfrm>
            <a:off x="-97398" y="0"/>
            <a:ext cx="12289397" cy="6915150"/>
          </a:xfrm>
          <a:prstGeom prst="rect">
            <a:avLst/>
          </a:prstGeom>
        </p:spPr>
      </p:pic>
      <p:sp>
        <p:nvSpPr>
          <p:cNvPr id="3" name="圆角矩形 3">
            <a:extLst>
              <a:ext uri="{FF2B5EF4-FFF2-40B4-BE49-F238E27FC236}">
                <a16:creationId xmlns:a16="http://schemas.microsoft.com/office/drawing/2014/main" id="{496C21AC-103A-41FE-A900-0AAD150EED14}"/>
              </a:ext>
            </a:extLst>
          </p:cNvPr>
          <p:cNvSpPr/>
          <p:nvPr/>
        </p:nvSpPr>
        <p:spPr>
          <a:xfrm>
            <a:off x="694502" y="568339"/>
            <a:ext cx="10802533" cy="5694503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ln w="12700">
            <a:noFill/>
          </a:ln>
          <a:effectLst>
            <a:outerShdw blurRad="381000" dist="38100" dir="5400000" algn="t" rotWithShape="0">
              <a:srgbClr val="B8B8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prstClr val="white"/>
              </a:solidFill>
            </a:endParaRPr>
          </a:p>
        </p:txBody>
      </p:sp>
      <p:grpSp>
        <p:nvGrpSpPr>
          <p:cNvPr id="4" name="c14c19f6-979a-41d9-8fd9-c37f22741f3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8C2DE36-B47E-43FD-8001-AF19B25F56D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632553" y="1416553"/>
            <a:ext cx="5046115" cy="4082043"/>
            <a:chOff x="3260725" y="1135411"/>
            <a:chExt cx="5670550" cy="4587178"/>
          </a:xfrm>
        </p:grpSpPr>
        <p:sp>
          <p:nvSpPr>
            <p:cNvPr id="5" name="iṣlidê">
              <a:extLst>
                <a:ext uri="{FF2B5EF4-FFF2-40B4-BE49-F238E27FC236}">
                  <a16:creationId xmlns:a16="http://schemas.microsoft.com/office/drawing/2014/main" id="{A36E0343-DE59-4918-92C4-3CF2E02CB067}"/>
                </a:ext>
              </a:extLst>
            </p:cNvPr>
            <p:cNvSpPr/>
            <p:nvPr/>
          </p:nvSpPr>
          <p:spPr bwMode="auto">
            <a:xfrm>
              <a:off x="3260725" y="1135411"/>
              <a:ext cx="2385286" cy="314549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îṣliḋè">
              <a:extLst>
                <a:ext uri="{FF2B5EF4-FFF2-40B4-BE49-F238E27FC236}">
                  <a16:creationId xmlns:a16="http://schemas.microsoft.com/office/drawing/2014/main" id="{C28083AB-64BB-4FE0-BBD2-055981F9AC33}"/>
                </a:ext>
              </a:extLst>
            </p:cNvPr>
            <p:cNvSpPr/>
            <p:nvPr/>
          </p:nvSpPr>
          <p:spPr bwMode="auto">
            <a:xfrm>
              <a:off x="6490649" y="4167626"/>
              <a:ext cx="202098" cy="1097272"/>
            </a:xfrm>
            <a:custGeom>
              <a:avLst/>
              <a:gdLst>
                <a:gd name="T0" fmla="*/ 71 w 170"/>
                <a:gd name="T1" fmla="*/ 0 h 923"/>
                <a:gd name="T2" fmla="*/ 0 w 170"/>
                <a:gd name="T3" fmla="*/ 923 h 923"/>
                <a:gd name="T4" fmla="*/ 71 w 170"/>
                <a:gd name="T5" fmla="*/ 923 h 923"/>
                <a:gd name="T6" fmla="*/ 170 w 170"/>
                <a:gd name="T7" fmla="*/ 0 h 923"/>
                <a:gd name="T8" fmla="*/ 71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1" y="0"/>
                  </a:moveTo>
                  <a:lnTo>
                    <a:pt x="0" y="923"/>
                  </a:lnTo>
                  <a:lnTo>
                    <a:pt x="71" y="923"/>
                  </a:lnTo>
                  <a:lnTo>
                    <a:pt x="170" y="0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íṧļiḓè">
              <a:extLst>
                <a:ext uri="{FF2B5EF4-FFF2-40B4-BE49-F238E27FC236}">
                  <a16:creationId xmlns:a16="http://schemas.microsoft.com/office/drawing/2014/main" id="{02C3D017-4D0F-4054-931C-99A4A3A45EB1}"/>
                </a:ext>
              </a:extLst>
            </p:cNvPr>
            <p:cNvSpPr/>
            <p:nvPr/>
          </p:nvSpPr>
          <p:spPr bwMode="auto">
            <a:xfrm>
              <a:off x="6490649" y="4167626"/>
              <a:ext cx="202098" cy="1097272"/>
            </a:xfrm>
            <a:custGeom>
              <a:avLst/>
              <a:gdLst>
                <a:gd name="T0" fmla="*/ 71 w 170"/>
                <a:gd name="T1" fmla="*/ 0 h 923"/>
                <a:gd name="T2" fmla="*/ 0 w 170"/>
                <a:gd name="T3" fmla="*/ 923 h 923"/>
                <a:gd name="T4" fmla="*/ 71 w 170"/>
                <a:gd name="T5" fmla="*/ 923 h 923"/>
                <a:gd name="T6" fmla="*/ 170 w 170"/>
                <a:gd name="T7" fmla="*/ 0 h 923"/>
                <a:gd name="T8" fmla="*/ 71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1" y="0"/>
                  </a:moveTo>
                  <a:lnTo>
                    <a:pt x="0" y="923"/>
                  </a:lnTo>
                  <a:lnTo>
                    <a:pt x="71" y="923"/>
                  </a:lnTo>
                  <a:lnTo>
                    <a:pt x="170" y="0"/>
                  </a:lnTo>
                  <a:lnTo>
                    <a:pt x="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í$ḻiďé">
              <a:extLst>
                <a:ext uri="{FF2B5EF4-FFF2-40B4-BE49-F238E27FC236}">
                  <a16:creationId xmlns:a16="http://schemas.microsoft.com/office/drawing/2014/main" id="{5981D908-CBDC-48BA-B642-22C42E1FCFF3}"/>
                </a:ext>
              </a:extLst>
            </p:cNvPr>
            <p:cNvSpPr/>
            <p:nvPr/>
          </p:nvSpPr>
          <p:spPr bwMode="auto">
            <a:xfrm>
              <a:off x="8729177" y="4131961"/>
              <a:ext cx="202098" cy="1097272"/>
            </a:xfrm>
            <a:custGeom>
              <a:avLst/>
              <a:gdLst>
                <a:gd name="T0" fmla="*/ 99 w 170"/>
                <a:gd name="T1" fmla="*/ 0 h 923"/>
                <a:gd name="T2" fmla="*/ 170 w 170"/>
                <a:gd name="T3" fmla="*/ 923 h 923"/>
                <a:gd name="T4" fmla="*/ 99 w 170"/>
                <a:gd name="T5" fmla="*/ 923 h 923"/>
                <a:gd name="T6" fmla="*/ 0 w 170"/>
                <a:gd name="T7" fmla="*/ 0 h 923"/>
                <a:gd name="T8" fmla="*/ 99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99" y="0"/>
                  </a:moveTo>
                  <a:lnTo>
                    <a:pt x="170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$ḻïḓè">
              <a:extLst>
                <a:ext uri="{FF2B5EF4-FFF2-40B4-BE49-F238E27FC236}">
                  <a16:creationId xmlns:a16="http://schemas.microsoft.com/office/drawing/2014/main" id="{32F6E5DE-C819-4F71-B571-F48F30F4EB48}"/>
                </a:ext>
              </a:extLst>
            </p:cNvPr>
            <p:cNvSpPr/>
            <p:nvPr/>
          </p:nvSpPr>
          <p:spPr bwMode="auto">
            <a:xfrm>
              <a:off x="8729176" y="4131961"/>
              <a:ext cx="202098" cy="1097272"/>
            </a:xfrm>
            <a:custGeom>
              <a:avLst/>
              <a:gdLst>
                <a:gd name="T0" fmla="*/ 99 w 170"/>
                <a:gd name="T1" fmla="*/ 0 h 923"/>
                <a:gd name="T2" fmla="*/ 170 w 170"/>
                <a:gd name="T3" fmla="*/ 923 h 923"/>
                <a:gd name="T4" fmla="*/ 99 w 170"/>
                <a:gd name="T5" fmla="*/ 923 h 923"/>
                <a:gd name="T6" fmla="*/ 0 w 170"/>
                <a:gd name="T7" fmla="*/ 0 h 923"/>
                <a:gd name="T8" fmla="*/ 99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99" y="0"/>
                  </a:moveTo>
                  <a:lnTo>
                    <a:pt x="170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slíḋe">
              <a:extLst>
                <a:ext uri="{FF2B5EF4-FFF2-40B4-BE49-F238E27FC236}">
                  <a16:creationId xmlns:a16="http://schemas.microsoft.com/office/drawing/2014/main" id="{DE103C51-0BFB-43F3-AB7F-2769A52891B4}"/>
                </a:ext>
              </a:extLst>
            </p:cNvPr>
            <p:cNvSpPr/>
            <p:nvPr/>
          </p:nvSpPr>
          <p:spPr bwMode="auto">
            <a:xfrm>
              <a:off x="6817572" y="4118884"/>
              <a:ext cx="202098" cy="1097272"/>
            </a:xfrm>
            <a:custGeom>
              <a:avLst/>
              <a:gdLst>
                <a:gd name="T0" fmla="*/ 70 w 170"/>
                <a:gd name="T1" fmla="*/ 0 h 923"/>
                <a:gd name="T2" fmla="*/ 0 w 170"/>
                <a:gd name="T3" fmla="*/ 923 h 923"/>
                <a:gd name="T4" fmla="*/ 70 w 170"/>
                <a:gd name="T5" fmla="*/ 923 h 923"/>
                <a:gd name="T6" fmla="*/ 170 w 170"/>
                <a:gd name="T7" fmla="*/ 0 h 923"/>
                <a:gd name="T8" fmla="*/ 70 w 170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923">
                  <a:moveTo>
                    <a:pt x="70" y="0"/>
                  </a:moveTo>
                  <a:lnTo>
                    <a:pt x="0" y="923"/>
                  </a:lnTo>
                  <a:lnTo>
                    <a:pt x="70" y="923"/>
                  </a:lnTo>
                  <a:lnTo>
                    <a:pt x="170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šlïdê">
              <a:extLst>
                <a:ext uri="{FF2B5EF4-FFF2-40B4-BE49-F238E27FC236}">
                  <a16:creationId xmlns:a16="http://schemas.microsoft.com/office/drawing/2014/main" id="{BA30FC56-D679-41AC-A059-916CB055D9B4}"/>
                </a:ext>
              </a:extLst>
            </p:cNvPr>
            <p:cNvSpPr/>
            <p:nvPr/>
          </p:nvSpPr>
          <p:spPr bwMode="auto">
            <a:xfrm>
              <a:off x="8423652" y="4167626"/>
              <a:ext cx="200909" cy="1097272"/>
            </a:xfrm>
            <a:custGeom>
              <a:avLst/>
              <a:gdLst>
                <a:gd name="T0" fmla="*/ 99 w 169"/>
                <a:gd name="T1" fmla="*/ 0 h 923"/>
                <a:gd name="T2" fmla="*/ 169 w 169"/>
                <a:gd name="T3" fmla="*/ 923 h 923"/>
                <a:gd name="T4" fmla="*/ 99 w 169"/>
                <a:gd name="T5" fmla="*/ 923 h 923"/>
                <a:gd name="T6" fmla="*/ 0 w 169"/>
                <a:gd name="T7" fmla="*/ 0 h 923"/>
                <a:gd name="T8" fmla="*/ 99 w 169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923">
                  <a:moveTo>
                    <a:pt x="99" y="0"/>
                  </a:moveTo>
                  <a:lnTo>
                    <a:pt x="169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ïṧľíḍê">
              <a:extLst>
                <a:ext uri="{FF2B5EF4-FFF2-40B4-BE49-F238E27FC236}">
                  <a16:creationId xmlns:a16="http://schemas.microsoft.com/office/drawing/2014/main" id="{77BF115E-C9B5-456C-ABE6-F95BB4A7AC9E}"/>
                </a:ext>
              </a:extLst>
            </p:cNvPr>
            <p:cNvSpPr/>
            <p:nvPr/>
          </p:nvSpPr>
          <p:spPr bwMode="auto">
            <a:xfrm>
              <a:off x="8423652" y="4167626"/>
              <a:ext cx="200909" cy="1097272"/>
            </a:xfrm>
            <a:custGeom>
              <a:avLst/>
              <a:gdLst>
                <a:gd name="T0" fmla="*/ 99 w 169"/>
                <a:gd name="T1" fmla="*/ 0 h 923"/>
                <a:gd name="T2" fmla="*/ 169 w 169"/>
                <a:gd name="T3" fmla="*/ 923 h 923"/>
                <a:gd name="T4" fmla="*/ 99 w 169"/>
                <a:gd name="T5" fmla="*/ 923 h 923"/>
                <a:gd name="T6" fmla="*/ 0 w 169"/>
                <a:gd name="T7" fmla="*/ 0 h 923"/>
                <a:gd name="T8" fmla="*/ 99 w 169"/>
                <a:gd name="T9" fmla="*/ 0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923">
                  <a:moveTo>
                    <a:pt x="99" y="0"/>
                  </a:moveTo>
                  <a:lnTo>
                    <a:pt x="169" y="923"/>
                  </a:lnTo>
                  <a:lnTo>
                    <a:pt x="99" y="923"/>
                  </a:lnTo>
                  <a:lnTo>
                    <a:pt x="0" y="0"/>
                  </a:lnTo>
                  <a:lnTo>
                    <a:pt x="9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šľiḓè">
              <a:extLst>
                <a:ext uri="{FF2B5EF4-FFF2-40B4-BE49-F238E27FC236}">
                  <a16:creationId xmlns:a16="http://schemas.microsoft.com/office/drawing/2014/main" id="{4564C047-F095-45AB-8B75-3EBB823B30BA}"/>
                </a:ext>
              </a:extLst>
            </p:cNvPr>
            <p:cNvSpPr/>
            <p:nvPr/>
          </p:nvSpPr>
          <p:spPr bwMode="auto">
            <a:xfrm>
              <a:off x="6421698" y="4104618"/>
              <a:ext cx="2001954" cy="104615"/>
            </a:xfrm>
            <a:prstGeom prst="rect">
              <a:avLst/>
            </a:pr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$ḷîḋê">
              <a:extLst>
                <a:ext uri="{FF2B5EF4-FFF2-40B4-BE49-F238E27FC236}">
                  <a16:creationId xmlns:a16="http://schemas.microsoft.com/office/drawing/2014/main" id="{09A8F721-4D76-4DCA-BC20-6EE5FBCCC90B}"/>
                </a:ext>
              </a:extLst>
            </p:cNvPr>
            <p:cNvSpPr/>
            <p:nvPr/>
          </p:nvSpPr>
          <p:spPr bwMode="auto">
            <a:xfrm>
              <a:off x="6421698" y="4104618"/>
              <a:ext cx="200195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šḻïde">
              <a:extLst>
                <a:ext uri="{FF2B5EF4-FFF2-40B4-BE49-F238E27FC236}">
                  <a16:creationId xmlns:a16="http://schemas.microsoft.com/office/drawing/2014/main" id="{D00A0659-8D51-4ACC-A79F-24F9FE9EC0A3}"/>
                </a:ext>
              </a:extLst>
            </p:cNvPr>
            <p:cNvSpPr/>
            <p:nvPr/>
          </p:nvSpPr>
          <p:spPr bwMode="auto">
            <a:xfrm>
              <a:off x="8423652" y="4104618"/>
              <a:ext cx="458881" cy="104615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išļíḍê">
              <a:extLst>
                <a:ext uri="{FF2B5EF4-FFF2-40B4-BE49-F238E27FC236}">
                  <a16:creationId xmlns:a16="http://schemas.microsoft.com/office/drawing/2014/main" id="{6B534724-0D51-4799-B878-DEF4C4FAA84E}"/>
                </a:ext>
              </a:extLst>
            </p:cNvPr>
            <p:cNvSpPr/>
            <p:nvPr/>
          </p:nvSpPr>
          <p:spPr bwMode="auto">
            <a:xfrm>
              <a:off x="8423652" y="4104618"/>
              <a:ext cx="458881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ṩ1iḋe">
              <a:extLst>
                <a:ext uri="{FF2B5EF4-FFF2-40B4-BE49-F238E27FC236}">
                  <a16:creationId xmlns:a16="http://schemas.microsoft.com/office/drawing/2014/main" id="{D089CF38-78A9-4D2F-ABCA-CE3AD9E97C80}"/>
                </a:ext>
              </a:extLst>
            </p:cNvPr>
            <p:cNvSpPr/>
            <p:nvPr/>
          </p:nvSpPr>
          <p:spPr bwMode="auto">
            <a:xfrm>
              <a:off x="8427220" y="4104618"/>
              <a:ext cx="458881" cy="104615"/>
            </a:xfrm>
            <a:custGeom>
              <a:avLst/>
              <a:gdLst>
                <a:gd name="T0" fmla="*/ 386 w 386"/>
                <a:gd name="T1" fmla="*/ 0 h 88"/>
                <a:gd name="T2" fmla="*/ 0 w 386"/>
                <a:gd name="T3" fmla="*/ 0 h 88"/>
                <a:gd name="T4" fmla="*/ 383 w 386"/>
                <a:gd name="T5" fmla="*/ 0 h 88"/>
                <a:gd name="T6" fmla="*/ 383 w 386"/>
                <a:gd name="T7" fmla="*/ 88 h 88"/>
                <a:gd name="T8" fmla="*/ 386 w 386"/>
                <a:gd name="T9" fmla="*/ 88 h 88"/>
                <a:gd name="T10" fmla="*/ 386 w 386"/>
                <a:gd name="T1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6" h="88">
                  <a:moveTo>
                    <a:pt x="386" y="0"/>
                  </a:moveTo>
                  <a:lnTo>
                    <a:pt x="0" y="0"/>
                  </a:lnTo>
                  <a:lnTo>
                    <a:pt x="383" y="0"/>
                  </a:lnTo>
                  <a:lnTo>
                    <a:pt x="383" y="88"/>
                  </a:lnTo>
                  <a:lnTo>
                    <a:pt x="386" y="88"/>
                  </a:lnTo>
                  <a:lnTo>
                    <a:pt x="386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ṣḷïḍê">
              <a:extLst>
                <a:ext uri="{FF2B5EF4-FFF2-40B4-BE49-F238E27FC236}">
                  <a16:creationId xmlns:a16="http://schemas.microsoft.com/office/drawing/2014/main" id="{7DBF0EC7-332B-466B-843E-E4E2FDDE6B0F}"/>
                </a:ext>
              </a:extLst>
            </p:cNvPr>
            <p:cNvSpPr/>
            <p:nvPr/>
          </p:nvSpPr>
          <p:spPr bwMode="auto">
            <a:xfrm>
              <a:off x="8427220" y="4104618"/>
              <a:ext cx="458881" cy="104615"/>
            </a:xfrm>
            <a:custGeom>
              <a:avLst/>
              <a:gdLst>
                <a:gd name="T0" fmla="*/ 386 w 386"/>
                <a:gd name="T1" fmla="*/ 0 h 88"/>
                <a:gd name="T2" fmla="*/ 0 w 386"/>
                <a:gd name="T3" fmla="*/ 0 h 88"/>
                <a:gd name="T4" fmla="*/ 383 w 386"/>
                <a:gd name="T5" fmla="*/ 0 h 88"/>
                <a:gd name="T6" fmla="*/ 383 w 386"/>
                <a:gd name="T7" fmla="*/ 88 h 88"/>
                <a:gd name="T8" fmla="*/ 386 w 386"/>
                <a:gd name="T9" fmla="*/ 88 h 88"/>
                <a:gd name="T10" fmla="*/ 386 w 386"/>
                <a:gd name="T1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6" h="88">
                  <a:moveTo>
                    <a:pt x="386" y="0"/>
                  </a:moveTo>
                  <a:lnTo>
                    <a:pt x="0" y="0"/>
                  </a:lnTo>
                  <a:lnTo>
                    <a:pt x="383" y="0"/>
                  </a:lnTo>
                  <a:lnTo>
                    <a:pt x="383" y="88"/>
                  </a:lnTo>
                  <a:lnTo>
                    <a:pt x="386" y="88"/>
                  </a:lnTo>
                  <a:lnTo>
                    <a:pt x="3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iSľïḑe">
              <a:extLst>
                <a:ext uri="{FF2B5EF4-FFF2-40B4-BE49-F238E27FC236}">
                  <a16:creationId xmlns:a16="http://schemas.microsoft.com/office/drawing/2014/main" id="{4CB01ECD-C664-48B6-B164-8ACCFEAF242C}"/>
                </a:ext>
              </a:extLst>
            </p:cNvPr>
            <p:cNvSpPr/>
            <p:nvPr/>
          </p:nvSpPr>
          <p:spPr bwMode="auto">
            <a:xfrm>
              <a:off x="8427220" y="4104618"/>
              <a:ext cx="455314" cy="104615"/>
            </a:xfrm>
            <a:prstGeom prst="rect">
              <a:avLst/>
            </a:pr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sļídè">
              <a:extLst>
                <a:ext uri="{FF2B5EF4-FFF2-40B4-BE49-F238E27FC236}">
                  <a16:creationId xmlns:a16="http://schemas.microsoft.com/office/drawing/2014/main" id="{AC31EB4A-803A-49F6-8B91-001E2EB17F59}"/>
                </a:ext>
              </a:extLst>
            </p:cNvPr>
            <p:cNvSpPr/>
            <p:nvPr/>
          </p:nvSpPr>
          <p:spPr bwMode="auto">
            <a:xfrm>
              <a:off x="8427220" y="4104618"/>
              <a:ext cx="45531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ïşḷiḋé">
              <a:extLst>
                <a:ext uri="{FF2B5EF4-FFF2-40B4-BE49-F238E27FC236}">
                  <a16:creationId xmlns:a16="http://schemas.microsoft.com/office/drawing/2014/main" id="{0AFA8C08-4691-478D-9276-460EA87F6AB3}"/>
                </a:ext>
              </a:extLst>
            </p:cNvPr>
            <p:cNvSpPr/>
            <p:nvPr/>
          </p:nvSpPr>
          <p:spPr bwMode="auto">
            <a:xfrm>
              <a:off x="7207502" y="3437696"/>
              <a:ext cx="937971" cy="59083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Sľîďe">
              <a:extLst>
                <a:ext uri="{FF2B5EF4-FFF2-40B4-BE49-F238E27FC236}">
                  <a16:creationId xmlns:a16="http://schemas.microsoft.com/office/drawing/2014/main" id="{F5576F20-4B8F-45CF-89B4-6FA7B4EA37AF}"/>
                </a:ext>
              </a:extLst>
            </p:cNvPr>
            <p:cNvSpPr/>
            <p:nvPr/>
          </p:nvSpPr>
          <p:spPr bwMode="auto">
            <a:xfrm>
              <a:off x="7227711" y="3459095"/>
              <a:ext cx="876153" cy="54804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ŝḻîḍé">
              <a:extLst>
                <a:ext uri="{FF2B5EF4-FFF2-40B4-BE49-F238E27FC236}">
                  <a16:creationId xmlns:a16="http://schemas.microsoft.com/office/drawing/2014/main" id="{BC8F9B22-E791-4764-BCCB-242094F98B2B}"/>
                </a:ext>
              </a:extLst>
            </p:cNvPr>
            <p:cNvSpPr/>
            <p:nvPr/>
          </p:nvSpPr>
          <p:spPr bwMode="auto">
            <a:xfrm>
              <a:off x="7533235" y="3958395"/>
              <a:ext cx="285314" cy="1462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şľiḓe">
              <a:extLst>
                <a:ext uri="{FF2B5EF4-FFF2-40B4-BE49-F238E27FC236}">
                  <a16:creationId xmlns:a16="http://schemas.microsoft.com/office/drawing/2014/main" id="{C70385A0-A7A4-4B5F-9026-38A5951F79FC}"/>
                </a:ext>
              </a:extLst>
            </p:cNvPr>
            <p:cNvSpPr/>
            <p:nvPr/>
          </p:nvSpPr>
          <p:spPr bwMode="auto">
            <a:xfrm>
              <a:off x="7543934" y="3958395"/>
              <a:ext cx="243706" cy="14622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ślíďè">
              <a:extLst>
                <a:ext uri="{FF2B5EF4-FFF2-40B4-BE49-F238E27FC236}">
                  <a16:creationId xmlns:a16="http://schemas.microsoft.com/office/drawing/2014/main" id="{C007093A-2428-4E17-8106-3868DB016466}"/>
                </a:ext>
              </a:extLst>
            </p:cNvPr>
            <p:cNvSpPr/>
            <p:nvPr/>
          </p:nvSpPr>
          <p:spPr bwMode="auto">
            <a:xfrm>
              <a:off x="8103864" y="3459095"/>
              <a:ext cx="27343" cy="548042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íŝľîḋè">
              <a:extLst>
                <a:ext uri="{FF2B5EF4-FFF2-40B4-BE49-F238E27FC236}">
                  <a16:creationId xmlns:a16="http://schemas.microsoft.com/office/drawing/2014/main" id="{C8A5A57D-C47B-4E92-BD15-99166315D2DE}"/>
                </a:ext>
              </a:extLst>
            </p:cNvPr>
            <p:cNvSpPr/>
            <p:nvPr/>
          </p:nvSpPr>
          <p:spPr bwMode="auto">
            <a:xfrm>
              <a:off x="7784074" y="3958395"/>
              <a:ext cx="20210" cy="146224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şľiḑè">
              <a:extLst>
                <a:ext uri="{FF2B5EF4-FFF2-40B4-BE49-F238E27FC236}">
                  <a16:creationId xmlns:a16="http://schemas.microsoft.com/office/drawing/2014/main" id="{F7B8FAD3-EC05-4CF8-8BDB-7752C10FF67D}"/>
                </a:ext>
              </a:extLst>
            </p:cNvPr>
            <p:cNvSpPr/>
            <p:nvPr/>
          </p:nvSpPr>
          <p:spPr bwMode="auto">
            <a:xfrm>
              <a:off x="7637851" y="3660003"/>
              <a:ext cx="55874" cy="55874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ṩ1iḍê">
              <a:extLst>
                <a:ext uri="{FF2B5EF4-FFF2-40B4-BE49-F238E27FC236}">
                  <a16:creationId xmlns:a16="http://schemas.microsoft.com/office/drawing/2014/main" id="{965BC1D9-542C-42E4-B519-5735546F4F15}"/>
                </a:ext>
              </a:extLst>
            </p:cNvPr>
            <p:cNvSpPr/>
            <p:nvPr/>
          </p:nvSpPr>
          <p:spPr bwMode="auto">
            <a:xfrm>
              <a:off x="6161351" y="3596998"/>
              <a:ext cx="602726" cy="485034"/>
            </a:xfrm>
            <a:custGeom>
              <a:avLst/>
              <a:gdLst>
                <a:gd name="T0" fmla="*/ 124 w 507"/>
                <a:gd name="T1" fmla="*/ 0 h 408"/>
                <a:gd name="T2" fmla="*/ 507 w 507"/>
                <a:gd name="T3" fmla="*/ 164 h 408"/>
                <a:gd name="T4" fmla="*/ 378 w 507"/>
                <a:gd name="T5" fmla="*/ 408 h 408"/>
                <a:gd name="T6" fmla="*/ 0 w 507"/>
                <a:gd name="T7" fmla="*/ 269 h 408"/>
                <a:gd name="T8" fmla="*/ 124 w 507"/>
                <a:gd name="T9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7" h="408">
                  <a:moveTo>
                    <a:pt x="124" y="0"/>
                  </a:moveTo>
                  <a:lnTo>
                    <a:pt x="507" y="164"/>
                  </a:lnTo>
                  <a:lnTo>
                    <a:pt x="378" y="408"/>
                  </a:lnTo>
                  <a:lnTo>
                    <a:pt x="0" y="269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šḷïḋe">
              <a:extLst>
                <a:ext uri="{FF2B5EF4-FFF2-40B4-BE49-F238E27FC236}">
                  <a16:creationId xmlns:a16="http://schemas.microsoft.com/office/drawing/2014/main" id="{DF2CD74C-FD9E-43A0-93A9-659906FCA525}"/>
                </a:ext>
              </a:extLst>
            </p:cNvPr>
            <p:cNvSpPr/>
            <p:nvPr/>
          </p:nvSpPr>
          <p:spPr bwMode="auto">
            <a:xfrm>
              <a:off x="6161351" y="3596998"/>
              <a:ext cx="602726" cy="485034"/>
            </a:xfrm>
            <a:custGeom>
              <a:avLst/>
              <a:gdLst>
                <a:gd name="T0" fmla="*/ 124 w 507"/>
                <a:gd name="T1" fmla="*/ 0 h 408"/>
                <a:gd name="T2" fmla="*/ 507 w 507"/>
                <a:gd name="T3" fmla="*/ 164 h 408"/>
                <a:gd name="T4" fmla="*/ 378 w 507"/>
                <a:gd name="T5" fmla="*/ 408 h 408"/>
                <a:gd name="T6" fmla="*/ 0 w 507"/>
                <a:gd name="T7" fmla="*/ 269 h 408"/>
                <a:gd name="T8" fmla="*/ 124 w 507"/>
                <a:gd name="T9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7" h="408">
                  <a:moveTo>
                    <a:pt x="124" y="0"/>
                  </a:moveTo>
                  <a:lnTo>
                    <a:pt x="507" y="164"/>
                  </a:lnTo>
                  <a:lnTo>
                    <a:pt x="378" y="408"/>
                  </a:lnTo>
                  <a:lnTo>
                    <a:pt x="0" y="269"/>
                  </a:lnTo>
                  <a:lnTo>
                    <a:pt x="1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š1îḑê">
              <a:extLst>
                <a:ext uri="{FF2B5EF4-FFF2-40B4-BE49-F238E27FC236}">
                  <a16:creationId xmlns:a16="http://schemas.microsoft.com/office/drawing/2014/main" id="{0BA013DB-D9DC-438C-A8DF-ADDC15CE506D}"/>
                </a:ext>
              </a:extLst>
            </p:cNvPr>
            <p:cNvSpPr/>
            <p:nvPr/>
          </p:nvSpPr>
          <p:spPr bwMode="auto">
            <a:xfrm>
              <a:off x="6327783" y="4524268"/>
              <a:ext cx="124825" cy="104615"/>
            </a:xfrm>
            <a:prstGeom prst="rect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ş1iḋè">
              <a:extLst>
                <a:ext uri="{FF2B5EF4-FFF2-40B4-BE49-F238E27FC236}">
                  <a16:creationId xmlns:a16="http://schemas.microsoft.com/office/drawing/2014/main" id="{B2FF22A6-F3BA-472B-8A4B-32F718762394}"/>
                </a:ext>
              </a:extLst>
            </p:cNvPr>
            <p:cNvSpPr/>
            <p:nvPr/>
          </p:nvSpPr>
          <p:spPr bwMode="auto">
            <a:xfrm>
              <a:off x="6327783" y="4524268"/>
              <a:ext cx="124825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ŝľîdè">
              <a:extLst>
                <a:ext uri="{FF2B5EF4-FFF2-40B4-BE49-F238E27FC236}">
                  <a16:creationId xmlns:a16="http://schemas.microsoft.com/office/drawing/2014/main" id="{C4F83D7C-DAFE-44E8-A9DC-BC52B185F226}"/>
                </a:ext>
              </a:extLst>
            </p:cNvPr>
            <p:cNvSpPr/>
            <p:nvPr/>
          </p:nvSpPr>
          <p:spPr bwMode="auto">
            <a:xfrm>
              <a:off x="6494217" y="4524268"/>
              <a:ext cx="126014" cy="104615"/>
            </a:xfrm>
            <a:prstGeom prst="rect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şľiḑè">
              <a:extLst>
                <a:ext uri="{FF2B5EF4-FFF2-40B4-BE49-F238E27FC236}">
                  <a16:creationId xmlns:a16="http://schemas.microsoft.com/office/drawing/2014/main" id="{AD496C00-D297-45B1-AFD1-7F7F5534DBEB}"/>
                </a:ext>
              </a:extLst>
            </p:cNvPr>
            <p:cNvSpPr/>
            <p:nvPr/>
          </p:nvSpPr>
          <p:spPr bwMode="auto">
            <a:xfrm>
              <a:off x="6494217" y="4524268"/>
              <a:ext cx="126014" cy="104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iṩḻíḍe">
              <a:extLst>
                <a:ext uri="{FF2B5EF4-FFF2-40B4-BE49-F238E27FC236}">
                  <a16:creationId xmlns:a16="http://schemas.microsoft.com/office/drawing/2014/main" id="{7D86DF7F-0C05-425F-A4BA-EECDE3502E75}"/>
                </a:ext>
              </a:extLst>
            </p:cNvPr>
            <p:cNvSpPr/>
            <p:nvPr/>
          </p:nvSpPr>
          <p:spPr bwMode="auto">
            <a:xfrm>
              <a:off x="6441910" y="3059656"/>
              <a:ext cx="332866" cy="332866"/>
            </a:xfrm>
            <a:prstGeom prst="ellipse">
              <a:avLst/>
            </a:pr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śľíḓè">
              <a:extLst>
                <a:ext uri="{FF2B5EF4-FFF2-40B4-BE49-F238E27FC236}">
                  <a16:creationId xmlns:a16="http://schemas.microsoft.com/office/drawing/2014/main" id="{0E895F58-52C7-4798-B798-C2C786F6710C}"/>
                </a:ext>
              </a:extLst>
            </p:cNvPr>
            <p:cNvSpPr/>
            <p:nvPr/>
          </p:nvSpPr>
          <p:spPr bwMode="auto">
            <a:xfrm>
              <a:off x="6597643" y="3298605"/>
              <a:ext cx="166434" cy="166434"/>
            </a:xfrm>
            <a:custGeom>
              <a:avLst/>
              <a:gdLst>
                <a:gd name="T0" fmla="*/ 140 w 140"/>
                <a:gd name="T1" fmla="*/ 140 h 140"/>
                <a:gd name="T2" fmla="*/ 17 w 140"/>
                <a:gd name="T3" fmla="*/ 140 h 140"/>
                <a:gd name="T4" fmla="*/ 0 w 140"/>
                <a:gd name="T5" fmla="*/ 0 h 140"/>
                <a:gd name="T6" fmla="*/ 105 w 140"/>
                <a:gd name="T7" fmla="*/ 0 h 140"/>
                <a:gd name="T8" fmla="*/ 140 w 140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40">
                  <a:moveTo>
                    <a:pt x="140" y="140"/>
                  </a:moveTo>
                  <a:lnTo>
                    <a:pt x="17" y="140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40" y="140"/>
                  </a:lnTo>
                  <a:close/>
                </a:path>
              </a:pathLst>
            </a:cu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išľîďé">
              <a:extLst>
                <a:ext uri="{FF2B5EF4-FFF2-40B4-BE49-F238E27FC236}">
                  <a16:creationId xmlns:a16="http://schemas.microsoft.com/office/drawing/2014/main" id="{1E7E3D6D-7651-45D9-83D2-6CE005B2841B}"/>
                </a:ext>
              </a:extLst>
            </p:cNvPr>
            <p:cNvSpPr/>
            <p:nvPr/>
          </p:nvSpPr>
          <p:spPr bwMode="auto">
            <a:xfrm>
              <a:off x="6597643" y="3298605"/>
              <a:ext cx="166434" cy="166434"/>
            </a:xfrm>
            <a:custGeom>
              <a:avLst/>
              <a:gdLst>
                <a:gd name="T0" fmla="*/ 140 w 140"/>
                <a:gd name="T1" fmla="*/ 140 h 140"/>
                <a:gd name="T2" fmla="*/ 17 w 140"/>
                <a:gd name="T3" fmla="*/ 140 h 140"/>
                <a:gd name="T4" fmla="*/ 0 w 140"/>
                <a:gd name="T5" fmla="*/ 0 h 140"/>
                <a:gd name="T6" fmla="*/ 105 w 140"/>
                <a:gd name="T7" fmla="*/ 0 h 140"/>
                <a:gd name="T8" fmla="*/ 140 w 140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40">
                  <a:moveTo>
                    <a:pt x="140" y="140"/>
                  </a:moveTo>
                  <a:lnTo>
                    <a:pt x="17" y="140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40" y="1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ślïḍé">
              <a:extLst>
                <a:ext uri="{FF2B5EF4-FFF2-40B4-BE49-F238E27FC236}">
                  <a16:creationId xmlns:a16="http://schemas.microsoft.com/office/drawing/2014/main" id="{CB7E2B95-F15A-4E54-8A69-72DA14ABE0C3}"/>
                </a:ext>
              </a:extLst>
            </p:cNvPr>
            <p:cNvSpPr/>
            <p:nvPr/>
          </p:nvSpPr>
          <p:spPr bwMode="auto">
            <a:xfrm>
              <a:off x="6162539" y="3922731"/>
              <a:ext cx="767971" cy="645524"/>
            </a:xfrm>
            <a:custGeom>
              <a:avLst/>
              <a:gdLst>
                <a:gd name="T0" fmla="*/ 394 w 442"/>
                <a:gd name="T1" fmla="*/ 0 h 372"/>
                <a:gd name="T2" fmla="*/ 406 w 442"/>
                <a:gd name="T3" fmla="*/ 84 h 372"/>
                <a:gd name="T4" fmla="*/ 131 w 442"/>
                <a:gd name="T5" fmla="*/ 120 h 372"/>
                <a:gd name="T6" fmla="*/ 179 w 442"/>
                <a:gd name="T7" fmla="*/ 372 h 372"/>
                <a:gd name="T8" fmla="*/ 83 w 442"/>
                <a:gd name="T9" fmla="*/ 372 h 372"/>
                <a:gd name="T10" fmla="*/ 31 w 442"/>
                <a:gd name="T11" fmla="*/ 101 h 372"/>
                <a:gd name="T12" fmla="*/ 83 w 442"/>
                <a:gd name="T13" fmla="*/ 24 h 372"/>
                <a:gd name="T14" fmla="*/ 394 w 442"/>
                <a:gd name="T15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372">
                  <a:moveTo>
                    <a:pt x="394" y="0"/>
                  </a:moveTo>
                  <a:cubicBezTo>
                    <a:pt x="394" y="0"/>
                    <a:pt x="442" y="24"/>
                    <a:pt x="406" y="84"/>
                  </a:cubicBezTo>
                  <a:cubicBezTo>
                    <a:pt x="370" y="144"/>
                    <a:pt x="131" y="120"/>
                    <a:pt x="131" y="120"/>
                  </a:cubicBezTo>
                  <a:cubicBezTo>
                    <a:pt x="131" y="120"/>
                    <a:pt x="191" y="264"/>
                    <a:pt x="179" y="372"/>
                  </a:cubicBezTo>
                  <a:cubicBezTo>
                    <a:pt x="83" y="372"/>
                    <a:pt x="83" y="372"/>
                    <a:pt x="83" y="372"/>
                  </a:cubicBezTo>
                  <a:cubicBezTo>
                    <a:pt x="83" y="372"/>
                    <a:pt x="54" y="125"/>
                    <a:pt x="31" y="101"/>
                  </a:cubicBezTo>
                  <a:cubicBezTo>
                    <a:pt x="0" y="70"/>
                    <a:pt x="23" y="12"/>
                    <a:pt x="83" y="24"/>
                  </a:cubicBezTo>
                  <a:cubicBezTo>
                    <a:pt x="143" y="36"/>
                    <a:pt x="394" y="0"/>
                    <a:pt x="39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ṡḷiḓe">
              <a:extLst>
                <a:ext uri="{FF2B5EF4-FFF2-40B4-BE49-F238E27FC236}">
                  <a16:creationId xmlns:a16="http://schemas.microsoft.com/office/drawing/2014/main" id="{9A443A16-CD40-46F5-A6D9-BC012C79460C}"/>
                </a:ext>
              </a:extLst>
            </p:cNvPr>
            <p:cNvSpPr/>
            <p:nvPr/>
          </p:nvSpPr>
          <p:spPr bwMode="auto">
            <a:xfrm>
              <a:off x="6558413" y="4134338"/>
              <a:ext cx="28532" cy="1189"/>
            </a:xfrm>
            <a:custGeom>
              <a:avLst/>
              <a:gdLst>
                <a:gd name="T0" fmla="*/ 0 w 16"/>
                <a:gd name="T1" fmla="*/ 0 h 1"/>
                <a:gd name="T2" fmla="*/ 0 w 16"/>
                <a:gd name="T3" fmla="*/ 1 h 1"/>
                <a:gd name="T4" fmla="*/ 6 w 16"/>
                <a:gd name="T5" fmla="*/ 1 h 1"/>
                <a:gd name="T6" fmla="*/ 16 w 16"/>
                <a:gd name="T7" fmla="*/ 1 h 1"/>
                <a:gd name="T8" fmla="*/ 0 w 1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4" y="1"/>
                    <a:pt x="6" y="1"/>
                  </a:cubicBezTo>
                  <a:cubicBezTo>
                    <a:pt x="9" y="1"/>
                    <a:pt x="13" y="1"/>
                    <a:pt x="16" y="1"/>
                  </a:cubicBezTo>
                  <a:cubicBezTo>
                    <a:pt x="11" y="0"/>
                    <a:pt x="5" y="0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ṧlïḑe">
              <a:extLst>
                <a:ext uri="{FF2B5EF4-FFF2-40B4-BE49-F238E27FC236}">
                  <a16:creationId xmlns:a16="http://schemas.microsoft.com/office/drawing/2014/main" id="{D23E20D2-DB1F-45DC-8037-4F48C3FA59F3}"/>
                </a:ext>
              </a:extLst>
            </p:cNvPr>
            <p:cNvSpPr/>
            <p:nvPr/>
          </p:nvSpPr>
          <p:spPr bwMode="auto">
            <a:xfrm>
              <a:off x="6191070" y="3958395"/>
              <a:ext cx="92727" cy="85595"/>
            </a:xfrm>
            <a:custGeom>
              <a:avLst/>
              <a:gdLst>
                <a:gd name="T0" fmla="*/ 49 w 54"/>
                <a:gd name="T1" fmla="*/ 0 h 49"/>
                <a:gd name="T2" fmla="*/ 1 w 54"/>
                <a:gd name="T3" fmla="*/ 49 h 49"/>
                <a:gd name="T4" fmla="*/ 52 w 54"/>
                <a:gd name="T5" fmla="*/ 1 h 49"/>
                <a:gd name="T6" fmla="*/ 54 w 54"/>
                <a:gd name="T7" fmla="*/ 2 h 49"/>
                <a:gd name="T8" fmla="*/ 49 w 54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9">
                  <a:moveTo>
                    <a:pt x="49" y="0"/>
                  </a:moveTo>
                  <a:cubicBezTo>
                    <a:pt x="17" y="1"/>
                    <a:pt x="0" y="25"/>
                    <a:pt x="1" y="49"/>
                  </a:cubicBezTo>
                  <a:cubicBezTo>
                    <a:pt x="1" y="25"/>
                    <a:pt x="19" y="1"/>
                    <a:pt x="52" y="1"/>
                  </a:cubicBezTo>
                  <a:cubicBezTo>
                    <a:pt x="53" y="1"/>
                    <a:pt x="53" y="1"/>
                    <a:pt x="54" y="2"/>
                  </a:cubicBezTo>
                  <a:cubicBezTo>
                    <a:pt x="49" y="0"/>
                    <a:pt x="49" y="0"/>
                    <a:pt x="4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ṧļïḑe">
              <a:extLst>
                <a:ext uri="{FF2B5EF4-FFF2-40B4-BE49-F238E27FC236}">
                  <a16:creationId xmlns:a16="http://schemas.microsoft.com/office/drawing/2014/main" id="{6B1FB6A6-085E-416F-B4B3-DE7542DFF766}"/>
                </a:ext>
              </a:extLst>
            </p:cNvPr>
            <p:cNvSpPr/>
            <p:nvPr/>
          </p:nvSpPr>
          <p:spPr bwMode="auto">
            <a:xfrm>
              <a:off x="6275475" y="3957206"/>
              <a:ext cx="22588" cy="4756"/>
            </a:xfrm>
            <a:custGeom>
              <a:avLst/>
              <a:gdLst>
                <a:gd name="T0" fmla="*/ 3 w 13"/>
                <a:gd name="T1" fmla="*/ 0 h 3"/>
                <a:gd name="T2" fmla="*/ 0 w 13"/>
                <a:gd name="T3" fmla="*/ 1 h 3"/>
                <a:gd name="T4" fmla="*/ 5 w 13"/>
                <a:gd name="T5" fmla="*/ 3 h 3"/>
                <a:gd name="T6" fmla="*/ 6 w 13"/>
                <a:gd name="T7" fmla="*/ 3 h 3"/>
                <a:gd name="T8" fmla="*/ 13 w 13"/>
                <a:gd name="T9" fmla="*/ 1 h 3"/>
                <a:gd name="T10" fmla="*/ 3 w 13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"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8" y="2"/>
                    <a:pt x="11" y="2"/>
                    <a:pt x="13" y="1"/>
                  </a:cubicBezTo>
                  <a:cubicBezTo>
                    <a:pt x="9" y="1"/>
                    <a:pt x="6" y="0"/>
                    <a:pt x="3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ṩḻiḑe">
              <a:extLst>
                <a:ext uri="{FF2B5EF4-FFF2-40B4-BE49-F238E27FC236}">
                  <a16:creationId xmlns:a16="http://schemas.microsoft.com/office/drawing/2014/main" id="{68D6B442-CB23-443F-BB50-D1089C6937DD}"/>
                </a:ext>
              </a:extLst>
            </p:cNvPr>
            <p:cNvSpPr/>
            <p:nvPr/>
          </p:nvSpPr>
          <p:spPr bwMode="auto">
            <a:xfrm>
              <a:off x="6192259" y="3960772"/>
              <a:ext cx="149790" cy="602727"/>
            </a:xfrm>
            <a:custGeom>
              <a:avLst/>
              <a:gdLst>
                <a:gd name="T0" fmla="*/ 51 w 86"/>
                <a:gd name="T1" fmla="*/ 0 h 347"/>
                <a:gd name="T2" fmla="*/ 0 w 86"/>
                <a:gd name="T3" fmla="*/ 48 h 347"/>
                <a:gd name="T4" fmla="*/ 14 w 86"/>
                <a:gd name="T5" fmla="*/ 77 h 347"/>
                <a:gd name="T6" fmla="*/ 66 w 86"/>
                <a:gd name="T7" fmla="*/ 347 h 347"/>
                <a:gd name="T8" fmla="*/ 86 w 86"/>
                <a:gd name="T9" fmla="*/ 347 h 347"/>
                <a:gd name="T10" fmla="*/ 33 w 86"/>
                <a:gd name="T11" fmla="*/ 77 h 347"/>
                <a:gd name="T12" fmla="*/ 54 w 86"/>
                <a:gd name="T13" fmla="*/ 1 h 347"/>
                <a:gd name="T14" fmla="*/ 53 w 86"/>
                <a:gd name="T15" fmla="*/ 1 h 347"/>
                <a:gd name="T16" fmla="*/ 51 w 86"/>
                <a:gd name="T17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347">
                  <a:moveTo>
                    <a:pt x="51" y="0"/>
                  </a:moveTo>
                  <a:cubicBezTo>
                    <a:pt x="18" y="0"/>
                    <a:pt x="0" y="24"/>
                    <a:pt x="0" y="48"/>
                  </a:cubicBezTo>
                  <a:cubicBezTo>
                    <a:pt x="1" y="58"/>
                    <a:pt x="5" y="69"/>
                    <a:pt x="14" y="77"/>
                  </a:cubicBezTo>
                  <a:cubicBezTo>
                    <a:pt x="37" y="101"/>
                    <a:pt x="66" y="347"/>
                    <a:pt x="66" y="347"/>
                  </a:cubicBezTo>
                  <a:cubicBezTo>
                    <a:pt x="86" y="347"/>
                    <a:pt x="86" y="347"/>
                    <a:pt x="86" y="347"/>
                  </a:cubicBezTo>
                  <a:cubicBezTo>
                    <a:pt x="86" y="347"/>
                    <a:pt x="57" y="101"/>
                    <a:pt x="33" y="77"/>
                  </a:cubicBezTo>
                  <a:cubicBezTo>
                    <a:pt x="9" y="53"/>
                    <a:pt x="19" y="10"/>
                    <a:pt x="54" y="1"/>
                  </a:cubicBezTo>
                  <a:cubicBezTo>
                    <a:pt x="54" y="1"/>
                    <a:pt x="53" y="1"/>
                    <a:pt x="53" y="1"/>
                  </a:cubicBezTo>
                  <a:cubicBezTo>
                    <a:pt x="52" y="0"/>
                    <a:pt x="52" y="0"/>
                    <a:pt x="51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ŝ1ïḓè">
              <a:extLst>
                <a:ext uri="{FF2B5EF4-FFF2-40B4-BE49-F238E27FC236}">
                  <a16:creationId xmlns:a16="http://schemas.microsoft.com/office/drawing/2014/main" id="{4811C979-0822-415D-91FE-2906E6A0F10F}"/>
                </a:ext>
              </a:extLst>
            </p:cNvPr>
            <p:cNvSpPr/>
            <p:nvPr/>
          </p:nvSpPr>
          <p:spPr bwMode="auto">
            <a:xfrm>
              <a:off x="6161351" y="4608674"/>
              <a:ext cx="332866" cy="103427"/>
            </a:xfrm>
            <a:custGeom>
              <a:avLst/>
              <a:gdLst>
                <a:gd name="T0" fmla="*/ 192 w 192"/>
                <a:gd name="T1" fmla="*/ 0 h 60"/>
                <a:gd name="T2" fmla="*/ 0 w 192"/>
                <a:gd name="T3" fmla="*/ 24 h 60"/>
                <a:gd name="T4" fmla="*/ 24 w 192"/>
                <a:gd name="T5" fmla="*/ 60 h 60"/>
                <a:gd name="T6" fmla="*/ 192 w 192"/>
                <a:gd name="T7" fmla="*/ 60 h 60"/>
                <a:gd name="T8" fmla="*/ 192 w 192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60">
                  <a:moveTo>
                    <a:pt x="192" y="0"/>
                  </a:moveTo>
                  <a:cubicBezTo>
                    <a:pt x="192" y="0"/>
                    <a:pt x="0" y="0"/>
                    <a:pt x="0" y="24"/>
                  </a:cubicBezTo>
                  <a:cubicBezTo>
                    <a:pt x="0" y="48"/>
                    <a:pt x="24" y="60"/>
                    <a:pt x="24" y="60"/>
                  </a:cubicBezTo>
                  <a:cubicBezTo>
                    <a:pt x="192" y="60"/>
                    <a:pt x="192" y="60"/>
                    <a:pt x="192" y="60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ś1idê">
              <a:extLst>
                <a:ext uri="{FF2B5EF4-FFF2-40B4-BE49-F238E27FC236}">
                  <a16:creationId xmlns:a16="http://schemas.microsoft.com/office/drawing/2014/main" id="{15B11CC0-4E4E-4CE4-9938-9D045960C1E5}"/>
                </a:ext>
              </a:extLst>
            </p:cNvPr>
            <p:cNvSpPr/>
            <p:nvPr/>
          </p:nvSpPr>
          <p:spPr bwMode="auto">
            <a:xfrm>
              <a:off x="6157783" y="4606296"/>
              <a:ext cx="332866" cy="95105"/>
            </a:xfrm>
            <a:custGeom>
              <a:avLst/>
              <a:gdLst>
                <a:gd name="T0" fmla="*/ 98 w 192"/>
                <a:gd name="T1" fmla="*/ 3 h 55"/>
                <a:gd name="T2" fmla="*/ 0 w 192"/>
                <a:gd name="T3" fmla="*/ 24 h 55"/>
                <a:gd name="T4" fmla="*/ 16 w 192"/>
                <a:gd name="T5" fmla="*/ 55 h 55"/>
                <a:gd name="T6" fmla="*/ 14 w 192"/>
                <a:gd name="T7" fmla="*/ 52 h 55"/>
                <a:gd name="T8" fmla="*/ 2 w 192"/>
                <a:gd name="T9" fmla="*/ 25 h 55"/>
                <a:gd name="T10" fmla="*/ 98 w 192"/>
                <a:gd name="T11" fmla="*/ 4 h 55"/>
                <a:gd name="T12" fmla="*/ 98 w 192"/>
                <a:gd name="T13" fmla="*/ 3 h 55"/>
                <a:gd name="T14" fmla="*/ 192 w 192"/>
                <a:gd name="T15" fmla="*/ 0 h 55"/>
                <a:gd name="T16" fmla="*/ 170 w 192"/>
                <a:gd name="T17" fmla="*/ 1 h 55"/>
                <a:gd name="T18" fmla="*/ 170 w 192"/>
                <a:gd name="T19" fmla="*/ 2 h 55"/>
                <a:gd name="T20" fmla="*/ 192 w 192"/>
                <a:gd name="T21" fmla="*/ 1 h 55"/>
                <a:gd name="T22" fmla="*/ 192 w 192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2" h="55">
                  <a:moveTo>
                    <a:pt x="98" y="3"/>
                  </a:moveTo>
                  <a:cubicBezTo>
                    <a:pt x="50" y="6"/>
                    <a:pt x="0" y="12"/>
                    <a:pt x="0" y="24"/>
                  </a:cubicBezTo>
                  <a:cubicBezTo>
                    <a:pt x="1" y="36"/>
                    <a:pt x="7" y="47"/>
                    <a:pt x="16" y="55"/>
                  </a:cubicBezTo>
                  <a:cubicBezTo>
                    <a:pt x="15" y="54"/>
                    <a:pt x="14" y="53"/>
                    <a:pt x="14" y="52"/>
                  </a:cubicBezTo>
                  <a:cubicBezTo>
                    <a:pt x="8" y="46"/>
                    <a:pt x="2" y="37"/>
                    <a:pt x="2" y="25"/>
                  </a:cubicBezTo>
                  <a:cubicBezTo>
                    <a:pt x="2" y="13"/>
                    <a:pt x="50" y="7"/>
                    <a:pt x="98" y="4"/>
                  </a:cubicBezTo>
                  <a:cubicBezTo>
                    <a:pt x="98" y="3"/>
                    <a:pt x="98" y="3"/>
                    <a:pt x="98" y="3"/>
                  </a:cubicBezTo>
                  <a:moveTo>
                    <a:pt x="192" y="0"/>
                  </a:moveTo>
                  <a:cubicBezTo>
                    <a:pt x="192" y="0"/>
                    <a:pt x="183" y="0"/>
                    <a:pt x="170" y="1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81" y="1"/>
                    <a:pt x="189" y="1"/>
                    <a:pt x="192" y="1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ṡļíḑê">
              <a:extLst>
                <a:ext uri="{FF2B5EF4-FFF2-40B4-BE49-F238E27FC236}">
                  <a16:creationId xmlns:a16="http://schemas.microsoft.com/office/drawing/2014/main" id="{20D36FE1-DDA0-4E4C-9558-DDDCE44A238A}"/>
                </a:ext>
              </a:extLst>
            </p:cNvPr>
            <p:cNvSpPr/>
            <p:nvPr/>
          </p:nvSpPr>
          <p:spPr bwMode="auto">
            <a:xfrm>
              <a:off x="6327783" y="4608674"/>
              <a:ext cx="124825" cy="4756"/>
            </a:xfrm>
            <a:custGeom>
              <a:avLst/>
              <a:gdLst>
                <a:gd name="T0" fmla="*/ 72 w 72"/>
                <a:gd name="T1" fmla="*/ 0 h 3"/>
                <a:gd name="T2" fmla="*/ 0 w 72"/>
                <a:gd name="T3" fmla="*/ 2 h 3"/>
                <a:gd name="T4" fmla="*/ 0 w 72"/>
                <a:gd name="T5" fmla="*/ 3 h 3"/>
                <a:gd name="T6" fmla="*/ 72 w 72"/>
                <a:gd name="T7" fmla="*/ 1 h 3"/>
                <a:gd name="T8" fmla="*/ 72 w 7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">
                  <a:moveTo>
                    <a:pt x="72" y="0"/>
                  </a:moveTo>
                  <a:cubicBezTo>
                    <a:pt x="54" y="0"/>
                    <a:pt x="27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7" y="2"/>
                    <a:pt x="54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ṡľíḍe">
              <a:extLst>
                <a:ext uri="{FF2B5EF4-FFF2-40B4-BE49-F238E27FC236}">
                  <a16:creationId xmlns:a16="http://schemas.microsoft.com/office/drawing/2014/main" id="{7CA19CF3-9E8F-4A3E-9AC3-B3D3821D92E5}"/>
                </a:ext>
              </a:extLst>
            </p:cNvPr>
            <p:cNvSpPr/>
            <p:nvPr/>
          </p:nvSpPr>
          <p:spPr bwMode="auto">
            <a:xfrm>
              <a:off x="6161351" y="4608674"/>
              <a:ext cx="329301" cy="87971"/>
            </a:xfrm>
            <a:custGeom>
              <a:avLst/>
              <a:gdLst>
                <a:gd name="T0" fmla="*/ 190 w 190"/>
                <a:gd name="T1" fmla="*/ 0 h 51"/>
                <a:gd name="T2" fmla="*/ 168 w 190"/>
                <a:gd name="T3" fmla="*/ 1 h 51"/>
                <a:gd name="T4" fmla="*/ 96 w 190"/>
                <a:gd name="T5" fmla="*/ 3 h 51"/>
                <a:gd name="T6" fmla="*/ 0 w 190"/>
                <a:gd name="T7" fmla="*/ 24 h 51"/>
                <a:gd name="T8" fmla="*/ 12 w 190"/>
                <a:gd name="T9" fmla="*/ 51 h 51"/>
                <a:gd name="T10" fmla="*/ 5 w 190"/>
                <a:gd name="T11" fmla="*/ 30 h 51"/>
                <a:gd name="T12" fmla="*/ 143 w 190"/>
                <a:gd name="T13" fmla="*/ 7 h 51"/>
                <a:gd name="T14" fmla="*/ 190 w 190"/>
                <a:gd name="T15" fmla="*/ 3 h 51"/>
                <a:gd name="T16" fmla="*/ 190 w 190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51">
                  <a:moveTo>
                    <a:pt x="190" y="0"/>
                  </a:moveTo>
                  <a:cubicBezTo>
                    <a:pt x="187" y="0"/>
                    <a:pt x="179" y="0"/>
                    <a:pt x="168" y="1"/>
                  </a:cubicBezTo>
                  <a:cubicBezTo>
                    <a:pt x="150" y="1"/>
                    <a:pt x="123" y="2"/>
                    <a:pt x="96" y="3"/>
                  </a:cubicBezTo>
                  <a:cubicBezTo>
                    <a:pt x="48" y="6"/>
                    <a:pt x="0" y="12"/>
                    <a:pt x="0" y="24"/>
                  </a:cubicBezTo>
                  <a:cubicBezTo>
                    <a:pt x="0" y="36"/>
                    <a:pt x="6" y="45"/>
                    <a:pt x="12" y="51"/>
                  </a:cubicBezTo>
                  <a:cubicBezTo>
                    <a:pt x="7" y="45"/>
                    <a:pt x="5" y="38"/>
                    <a:pt x="5" y="30"/>
                  </a:cubicBezTo>
                  <a:cubicBezTo>
                    <a:pt x="5" y="14"/>
                    <a:pt x="86" y="9"/>
                    <a:pt x="143" y="7"/>
                  </a:cubicBezTo>
                  <a:cubicBezTo>
                    <a:pt x="157" y="5"/>
                    <a:pt x="174" y="4"/>
                    <a:pt x="190" y="3"/>
                  </a:cubicBezTo>
                  <a:cubicBezTo>
                    <a:pt x="190" y="0"/>
                    <a:pt x="190" y="0"/>
                    <a:pt x="19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śḷiďê">
              <a:extLst>
                <a:ext uri="{FF2B5EF4-FFF2-40B4-BE49-F238E27FC236}">
                  <a16:creationId xmlns:a16="http://schemas.microsoft.com/office/drawing/2014/main" id="{943E63D4-08C7-4689-B493-D095B32608FC}"/>
                </a:ext>
              </a:extLst>
            </p:cNvPr>
            <p:cNvSpPr/>
            <p:nvPr/>
          </p:nvSpPr>
          <p:spPr bwMode="auto">
            <a:xfrm>
              <a:off x="6327783" y="3922731"/>
              <a:ext cx="769160" cy="645524"/>
            </a:xfrm>
            <a:custGeom>
              <a:avLst/>
              <a:gdLst>
                <a:gd name="T0" fmla="*/ 395 w 443"/>
                <a:gd name="T1" fmla="*/ 0 h 372"/>
                <a:gd name="T2" fmla="*/ 407 w 443"/>
                <a:gd name="T3" fmla="*/ 84 h 372"/>
                <a:gd name="T4" fmla="*/ 132 w 443"/>
                <a:gd name="T5" fmla="*/ 120 h 372"/>
                <a:gd name="T6" fmla="*/ 180 w 443"/>
                <a:gd name="T7" fmla="*/ 372 h 372"/>
                <a:gd name="T8" fmla="*/ 84 w 443"/>
                <a:gd name="T9" fmla="*/ 372 h 372"/>
                <a:gd name="T10" fmla="*/ 36 w 443"/>
                <a:gd name="T11" fmla="*/ 96 h 372"/>
                <a:gd name="T12" fmla="*/ 84 w 443"/>
                <a:gd name="T13" fmla="*/ 24 h 372"/>
                <a:gd name="T14" fmla="*/ 395 w 443"/>
                <a:gd name="T15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3" h="372">
                  <a:moveTo>
                    <a:pt x="395" y="0"/>
                  </a:moveTo>
                  <a:cubicBezTo>
                    <a:pt x="395" y="0"/>
                    <a:pt x="443" y="24"/>
                    <a:pt x="407" y="84"/>
                  </a:cubicBezTo>
                  <a:cubicBezTo>
                    <a:pt x="371" y="144"/>
                    <a:pt x="132" y="120"/>
                    <a:pt x="132" y="120"/>
                  </a:cubicBezTo>
                  <a:cubicBezTo>
                    <a:pt x="132" y="120"/>
                    <a:pt x="192" y="264"/>
                    <a:pt x="180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4" y="372"/>
                    <a:pt x="72" y="120"/>
                    <a:pt x="36" y="96"/>
                  </a:cubicBezTo>
                  <a:cubicBezTo>
                    <a:pt x="0" y="72"/>
                    <a:pt x="24" y="12"/>
                    <a:pt x="84" y="24"/>
                  </a:cubicBezTo>
                  <a:cubicBezTo>
                    <a:pt x="144" y="36"/>
                    <a:pt x="395" y="0"/>
                    <a:pt x="395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śḻîḋe">
              <a:extLst>
                <a:ext uri="{FF2B5EF4-FFF2-40B4-BE49-F238E27FC236}">
                  <a16:creationId xmlns:a16="http://schemas.microsoft.com/office/drawing/2014/main" id="{1DBD7B53-97E6-41BA-8F47-868FF0C67334}"/>
                </a:ext>
              </a:extLst>
            </p:cNvPr>
            <p:cNvSpPr/>
            <p:nvPr/>
          </p:nvSpPr>
          <p:spPr bwMode="auto">
            <a:xfrm>
              <a:off x="6327783" y="4608674"/>
              <a:ext cx="334056" cy="103427"/>
            </a:xfrm>
            <a:custGeom>
              <a:avLst/>
              <a:gdLst>
                <a:gd name="T0" fmla="*/ 192 w 192"/>
                <a:gd name="T1" fmla="*/ 0 h 60"/>
                <a:gd name="T2" fmla="*/ 0 w 192"/>
                <a:gd name="T3" fmla="*/ 24 h 60"/>
                <a:gd name="T4" fmla="*/ 24 w 192"/>
                <a:gd name="T5" fmla="*/ 60 h 60"/>
                <a:gd name="T6" fmla="*/ 192 w 192"/>
                <a:gd name="T7" fmla="*/ 60 h 60"/>
                <a:gd name="T8" fmla="*/ 192 w 192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60">
                  <a:moveTo>
                    <a:pt x="192" y="0"/>
                  </a:moveTo>
                  <a:cubicBezTo>
                    <a:pt x="192" y="0"/>
                    <a:pt x="0" y="0"/>
                    <a:pt x="0" y="24"/>
                  </a:cubicBezTo>
                  <a:cubicBezTo>
                    <a:pt x="0" y="48"/>
                    <a:pt x="24" y="60"/>
                    <a:pt x="24" y="60"/>
                  </a:cubicBezTo>
                  <a:cubicBezTo>
                    <a:pt x="192" y="60"/>
                    <a:pt x="192" y="60"/>
                    <a:pt x="192" y="60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ṧ1ïḑè">
              <a:extLst>
                <a:ext uri="{FF2B5EF4-FFF2-40B4-BE49-F238E27FC236}">
                  <a16:creationId xmlns:a16="http://schemas.microsoft.com/office/drawing/2014/main" id="{3640E887-4429-48FC-AA36-2CD40170474A}"/>
                </a:ext>
              </a:extLst>
            </p:cNvPr>
            <p:cNvSpPr/>
            <p:nvPr/>
          </p:nvSpPr>
          <p:spPr bwMode="auto">
            <a:xfrm>
              <a:off x="6546525" y="3403220"/>
              <a:ext cx="549230" cy="570628"/>
            </a:xfrm>
            <a:custGeom>
              <a:avLst/>
              <a:gdLst>
                <a:gd name="T0" fmla="*/ 108 w 316"/>
                <a:gd name="T1" fmla="*/ 0 h 329"/>
                <a:gd name="T2" fmla="*/ 138 w 316"/>
                <a:gd name="T3" fmla="*/ 0 h 329"/>
                <a:gd name="T4" fmla="*/ 166 w 316"/>
                <a:gd name="T5" fmla="*/ 37 h 329"/>
                <a:gd name="T6" fmla="*/ 222 w 316"/>
                <a:gd name="T7" fmla="*/ 183 h 329"/>
                <a:gd name="T8" fmla="*/ 300 w 316"/>
                <a:gd name="T9" fmla="*/ 297 h 329"/>
                <a:gd name="T10" fmla="*/ 18 w 316"/>
                <a:gd name="T11" fmla="*/ 328 h 329"/>
                <a:gd name="T12" fmla="*/ 30 w 316"/>
                <a:gd name="T13" fmla="*/ 223 h 329"/>
                <a:gd name="T14" fmla="*/ 31 w 316"/>
                <a:gd name="T15" fmla="*/ 68 h 329"/>
                <a:gd name="T16" fmla="*/ 108 w 316"/>
                <a:gd name="T1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29">
                  <a:moveTo>
                    <a:pt x="108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49" y="0"/>
                    <a:pt x="157" y="29"/>
                    <a:pt x="166" y="37"/>
                  </a:cubicBezTo>
                  <a:cubicBezTo>
                    <a:pt x="184" y="55"/>
                    <a:pt x="172" y="87"/>
                    <a:pt x="222" y="183"/>
                  </a:cubicBezTo>
                  <a:cubicBezTo>
                    <a:pt x="268" y="274"/>
                    <a:pt x="284" y="266"/>
                    <a:pt x="300" y="297"/>
                  </a:cubicBezTo>
                  <a:cubicBezTo>
                    <a:pt x="316" y="329"/>
                    <a:pt x="18" y="328"/>
                    <a:pt x="18" y="328"/>
                  </a:cubicBezTo>
                  <a:cubicBezTo>
                    <a:pt x="18" y="328"/>
                    <a:pt x="33" y="267"/>
                    <a:pt x="30" y="223"/>
                  </a:cubicBezTo>
                  <a:cubicBezTo>
                    <a:pt x="23" y="132"/>
                    <a:pt x="0" y="100"/>
                    <a:pt x="31" y="68"/>
                  </a:cubicBezTo>
                  <a:cubicBezTo>
                    <a:pt x="31" y="68"/>
                    <a:pt x="65" y="0"/>
                    <a:pt x="108" y="0"/>
                  </a:cubicBezTo>
                </a:path>
              </a:pathLst>
            </a:custGeom>
            <a:solidFill>
              <a:srgbClr val="FF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şḷîḓe">
              <a:extLst>
                <a:ext uri="{FF2B5EF4-FFF2-40B4-BE49-F238E27FC236}">
                  <a16:creationId xmlns:a16="http://schemas.microsoft.com/office/drawing/2014/main" id="{CFD30D46-129C-48B3-9DBD-C49E37553E26}"/>
                </a:ext>
              </a:extLst>
            </p:cNvPr>
            <p:cNvSpPr/>
            <p:nvPr/>
          </p:nvSpPr>
          <p:spPr bwMode="auto">
            <a:xfrm>
              <a:off x="6252887" y="3677836"/>
              <a:ext cx="112937" cy="170000"/>
            </a:xfrm>
            <a:custGeom>
              <a:avLst/>
              <a:gdLst>
                <a:gd name="T0" fmla="*/ 57 w 95"/>
                <a:gd name="T1" fmla="*/ 0 h 143"/>
                <a:gd name="T2" fmla="*/ 0 w 95"/>
                <a:gd name="T3" fmla="*/ 124 h 143"/>
                <a:gd name="T4" fmla="*/ 38 w 95"/>
                <a:gd name="T5" fmla="*/ 143 h 143"/>
                <a:gd name="T6" fmla="*/ 95 w 95"/>
                <a:gd name="T7" fmla="*/ 19 h 143"/>
                <a:gd name="T8" fmla="*/ 57 w 95"/>
                <a:gd name="T9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43">
                  <a:moveTo>
                    <a:pt x="57" y="0"/>
                  </a:moveTo>
                  <a:lnTo>
                    <a:pt x="0" y="124"/>
                  </a:lnTo>
                  <a:lnTo>
                    <a:pt x="38" y="143"/>
                  </a:lnTo>
                  <a:lnTo>
                    <a:pt x="95" y="19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ṥḷïďe">
              <a:extLst>
                <a:ext uri="{FF2B5EF4-FFF2-40B4-BE49-F238E27FC236}">
                  <a16:creationId xmlns:a16="http://schemas.microsoft.com/office/drawing/2014/main" id="{C9895484-6935-4DF8-B895-C7F8E49E5B74}"/>
                </a:ext>
              </a:extLst>
            </p:cNvPr>
            <p:cNvSpPr/>
            <p:nvPr/>
          </p:nvSpPr>
          <p:spPr bwMode="auto">
            <a:xfrm>
              <a:off x="6441910" y="3230844"/>
              <a:ext cx="168811" cy="172378"/>
            </a:xfrm>
            <a:custGeom>
              <a:avLst/>
              <a:gdLst>
                <a:gd name="T0" fmla="*/ 0 w 97"/>
                <a:gd name="T1" fmla="*/ 0 h 99"/>
                <a:gd name="T2" fmla="*/ 0 w 97"/>
                <a:gd name="T3" fmla="*/ 4 h 99"/>
                <a:gd name="T4" fmla="*/ 95 w 97"/>
                <a:gd name="T5" fmla="*/ 99 h 99"/>
                <a:gd name="T6" fmla="*/ 96 w 97"/>
                <a:gd name="T7" fmla="*/ 99 h 99"/>
                <a:gd name="T8" fmla="*/ 97 w 97"/>
                <a:gd name="T9" fmla="*/ 99 h 99"/>
                <a:gd name="T10" fmla="*/ 97 w 97"/>
                <a:gd name="T11" fmla="*/ 98 h 99"/>
                <a:gd name="T12" fmla="*/ 75 w 97"/>
                <a:gd name="T13" fmla="*/ 90 h 99"/>
                <a:gd name="T14" fmla="*/ 0 w 97"/>
                <a:gd name="T15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99">
                  <a:moveTo>
                    <a:pt x="0" y="0"/>
                  </a:moveTo>
                  <a:cubicBezTo>
                    <a:pt x="0" y="1"/>
                    <a:pt x="0" y="2"/>
                    <a:pt x="0" y="4"/>
                  </a:cubicBezTo>
                  <a:cubicBezTo>
                    <a:pt x="0" y="56"/>
                    <a:pt x="43" y="99"/>
                    <a:pt x="95" y="99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96" y="99"/>
                    <a:pt x="97" y="99"/>
                    <a:pt x="97" y="99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89" y="96"/>
                    <a:pt x="82" y="94"/>
                    <a:pt x="75" y="90"/>
                  </a:cubicBezTo>
                  <a:cubicBezTo>
                    <a:pt x="33" y="81"/>
                    <a:pt x="1" y="44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ṧlïďè">
              <a:extLst>
                <a:ext uri="{FF2B5EF4-FFF2-40B4-BE49-F238E27FC236}">
                  <a16:creationId xmlns:a16="http://schemas.microsoft.com/office/drawing/2014/main" id="{DA818537-C520-476D-8703-6F485507192E}"/>
                </a:ext>
              </a:extLst>
            </p:cNvPr>
            <p:cNvSpPr/>
            <p:nvPr/>
          </p:nvSpPr>
          <p:spPr bwMode="auto">
            <a:xfrm>
              <a:off x="6441910" y="3133361"/>
              <a:ext cx="130769" cy="254405"/>
            </a:xfrm>
            <a:custGeom>
              <a:avLst/>
              <a:gdLst>
                <a:gd name="T0" fmla="*/ 20 w 75"/>
                <a:gd name="T1" fmla="*/ 0 h 146"/>
                <a:gd name="T2" fmla="*/ 0 w 75"/>
                <a:gd name="T3" fmla="*/ 56 h 146"/>
                <a:gd name="T4" fmla="*/ 75 w 75"/>
                <a:gd name="T5" fmla="*/ 146 h 146"/>
                <a:gd name="T6" fmla="*/ 20 w 75"/>
                <a:gd name="T7" fmla="*/ 69 h 146"/>
                <a:gd name="T8" fmla="*/ 37 w 75"/>
                <a:gd name="T9" fmla="*/ 3 h 146"/>
                <a:gd name="T10" fmla="*/ 20 w 75"/>
                <a:gd name="T11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46">
                  <a:moveTo>
                    <a:pt x="20" y="0"/>
                  </a:moveTo>
                  <a:cubicBezTo>
                    <a:pt x="8" y="16"/>
                    <a:pt x="1" y="35"/>
                    <a:pt x="0" y="56"/>
                  </a:cubicBezTo>
                  <a:cubicBezTo>
                    <a:pt x="1" y="100"/>
                    <a:pt x="33" y="137"/>
                    <a:pt x="75" y="146"/>
                  </a:cubicBezTo>
                  <a:cubicBezTo>
                    <a:pt x="45" y="133"/>
                    <a:pt x="23" y="104"/>
                    <a:pt x="20" y="69"/>
                  </a:cubicBezTo>
                  <a:cubicBezTo>
                    <a:pt x="17" y="45"/>
                    <a:pt x="24" y="22"/>
                    <a:pt x="37" y="3"/>
                  </a:cubicBezTo>
                  <a:cubicBezTo>
                    <a:pt x="31" y="3"/>
                    <a:pt x="26" y="2"/>
                    <a:pt x="20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Sliḋê">
              <a:extLst>
                <a:ext uri="{FF2B5EF4-FFF2-40B4-BE49-F238E27FC236}">
                  <a16:creationId xmlns:a16="http://schemas.microsoft.com/office/drawing/2014/main" id="{D7E397AE-7BEC-44C5-B209-A2CC3F83ABD6}"/>
                </a:ext>
              </a:extLst>
            </p:cNvPr>
            <p:cNvSpPr/>
            <p:nvPr/>
          </p:nvSpPr>
          <p:spPr bwMode="auto">
            <a:xfrm>
              <a:off x="6610720" y="3400843"/>
              <a:ext cx="14266" cy="2378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0 w 8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1"/>
                    <a:pt x="8" y="1"/>
                  </a:cubicBezTo>
                  <a:cubicBezTo>
                    <a:pt x="5" y="1"/>
                    <a:pt x="3" y="0"/>
                    <a:pt x="0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ŝlídê">
              <a:extLst>
                <a:ext uri="{FF2B5EF4-FFF2-40B4-BE49-F238E27FC236}">
                  <a16:creationId xmlns:a16="http://schemas.microsoft.com/office/drawing/2014/main" id="{F1EFC3C5-9153-4EC6-8496-6A796E8A0159}"/>
                </a:ext>
              </a:extLst>
            </p:cNvPr>
            <p:cNvSpPr/>
            <p:nvPr/>
          </p:nvSpPr>
          <p:spPr bwMode="auto">
            <a:xfrm>
              <a:off x="6402678" y="2951473"/>
              <a:ext cx="569440" cy="411328"/>
            </a:xfrm>
            <a:custGeom>
              <a:avLst/>
              <a:gdLst>
                <a:gd name="T0" fmla="*/ 14 w 328"/>
                <a:gd name="T1" fmla="*/ 53 h 237"/>
                <a:gd name="T2" fmla="*/ 50 w 328"/>
                <a:gd name="T3" fmla="*/ 37 h 237"/>
                <a:gd name="T4" fmla="*/ 108 w 328"/>
                <a:gd name="T5" fmla="*/ 21 h 237"/>
                <a:gd name="T6" fmla="*/ 160 w 328"/>
                <a:gd name="T7" fmla="*/ 12 h 237"/>
                <a:gd name="T8" fmla="*/ 192 w 328"/>
                <a:gd name="T9" fmla="*/ 17 h 237"/>
                <a:gd name="T10" fmla="*/ 206 w 328"/>
                <a:gd name="T11" fmla="*/ 12 h 237"/>
                <a:gd name="T12" fmla="*/ 251 w 328"/>
                <a:gd name="T13" fmla="*/ 2 h 237"/>
                <a:gd name="T14" fmla="*/ 295 w 328"/>
                <a:gd name="T15" fmla="*/ 11 h 237"/>
                <a:gd name="T16" fmla="*/ 312 w 328"/>
                <a:gd name="T17" fmla="*/ 86 h 237"/>
                <a:gd name="T18" fmla="*/ 299 w 328"/>
                <a:gd name="T19" fmla="*/ 99 h 237"/>
                <a:gd name="T20" fmla="*/ 268 w 328"/>
                <a:gd name="T21" fmla="*/ 113 h 237"/>
                <a:gd name="T22" fmla="*/ 261 w 328"/>
                <a:gd name="T23" fmla="*/ 167 h 237"/>
                <a:gd name="T24" fmla="*/ 235 w 328"/>
                <a:gd name="T25" fmla="*/ 210 h 237"/>
                <a:gd name="T26" fmla="*/ 210 w 328"/>
                <a:gd name="T27" fmla="*/ 232 h 237"/>
                <a:gd name="T28" fmla="*/ 179 w 328"/>
                <a:gd name="T29" fmla="*/ 228 h 237"/>
                <a:gd name="T30" fmla="*/ 169 w 328"/>
                <a:gd name="T31" fmla="*/ 206 h 237"/>
                <a:gd name="T32" fmla="*/ 129 w 328"/>
                <a:gd name="T33" fmla="*/ 119 h 237"/>
                <a:gd name="T34" fmla="*/ 73 w 328"/>
                <a:gd name="T35" fmla="*/ 109 h 237"/>
                <a:gd name="T36" fmla="*/ 22 w 328"/>
                <a:gd name="T37" fmla="*/ 98 h 237"/>
                <a:gd name="T38" fmla="*/ 9 w 328"/>
                <a:gd name="T39" fmla="*/ 89 h 237"/>
                <a:gd name="T40" fmla="*/ 14 w 328"/>
                <a:gd name="T41" fmla="*/ 53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8" h="237">
                  <a:moveTo>
                    <a:pt x="14" y="53"/>
                  </a:moveTo>
                  <a:cubicBezTo>
                    <a:pt x="24" y="44"/>
                    <a:pt x="37" y="40"/>
                    <a:pt x="50" y="37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25" y="17"/>
                    <a:pt x="143" y="12"/>
                    <a:pt x="160" y="12"/>
                  </a:cubicBezTo>
                  <a:cubicBezTo>
                    <a:pt x="171" y="12"/>
                    <a:pt x="182" y="14"/>
                    <a:pt x="192" y="17"/>
                  </a:cubicBezTo>
                  <a:cubicBezTo>
                    <a:pt x="197" y="15"/>
                    <a:pt x="203" y="14"/>
                    <a:pt x="206" y="12"/>
                  </a:cubicBezTo>
                  <a:cubicBezTo>
                    <a:pt x="221" y="7"/>
                    <a:pt x="235" y="4"/>
                    <a:pt x="251" y="2"/>
                  </a:cubicBezTo>
                  <a:cubicBezTo>
                    <a:pt x="266" y="0"/>
                    <a:pt x="281" y="3"/>
                    <a:pt x="295" y="11"/>
                  </a:cubicBezTo>
                  <a:cubicBezTo>
                    <a:pt x="320" y="27"/>
                    <a:pt x="328" y="60"/>
                    <a:pt x="312" y="86"/>
                  </a:cubicBezTo>
                  <a:cubicBezTo>
                    <a:pt x="309" y="91"/>
                    <a:pt x="304" y="96"/>
                    <a:pt x="299" y="99"/>
                  </a:cubicBezTo>
                  <a:cubicBezTo>
                    <a:pt x="290" y="106"/>
                    <a:pt x="279" y="111"/>
                    <a:pt x="268" y="113"/>
                  </a:cubicBezTo>
                  <a:cubicBezTo>
                    <a:pt x="270" y="131"/>
                    <a:pt x="267" y="149"/>
                    <a:pt x="261" y="167"/>
                  </a:cubicBezTo>
                  <a:cubicBezTo>
                    <a:pt x="255" y="182"/>
                    <a:pt x="246" y="197"/>
                    <a:pt x="235" y="210"/>
                  </a:cubicBezTo>
                  <a:cubicBezTo>
                    <a:pt x="228" y="219"/>
                    <a:pt x="221" y="228"/>
                    <a:pt x="210" y="232"/>
                  </a:cubicBezTo>
                  <a:cubicBezTo>
                    <a:pt x="200" y="237"/>
                    <a:pt x="187" y="236"/>
                    <a:pt x="179" y="228"/>
                  </a:cubicBezTo>
                  <a:cubicBezTo>
                    <a:pt x="173" y="222"/>
                    <a:pt x="171" y="214"/>
                    <a:pt x="169" y="206"/>
                  </a:cubicBezTo>
                  <a:cubicBezTo>
                    <a:pt x="163" y="173"/>
                    <a:pt x="157" y="136"/>
                    <a:pt x="129" y="119"/>
                  </a:cubicBezTo>
                  <a:cubicBezTo>
                    <a:pt x="112" y="108"/>
                    <a:pt x="92" y="109"/>
                    <a:pt x="73" y="109"/>
                  </a:cubicBezTo>
                  <a:cubicBezTo>
                    <a:pt x="55" y="109"/>
                    <a:pt x="38" y="105"/>
                    <a:pt x="22" y="98"/>
                  </a:cubicBezTo>
                  <a:cubicBezTo>
                    <a:pt x="17" y="96"/>
                    <a:pt x="13" y="93"/>
                    <a:pt x="9" y="89"/>
                  </a:cubicBezTo>
                  <a:cubicBezTo>
                    <a:pt x="0" y="79"/>
                    <a:pt x="4" y="62"/>
                    <a:pt x="14" y="53"/>
                  </a:cubicBezTo>
                </a:path>
              </a:pathLst>
            </a:custGeom>
            <a:solidFill>
              <a:srgbClr val="FCCC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$ḷiḋé">
              <a:extLst>
                <a:ext uri="{FF2B5EF4-FFF2-40B4-BE49-F238E27FC236}">
                  <a16:creationId xmlns:a16="http://schemas.microsoft.com/office/drawing/2014/main" id="{F5E69C02-B700-42F8-B099-FA0BAEB5FBF9}"/>
                </a:ext>
              </a:extLst>
            </p:cNvPr>
            <p:cNvSpPr/>
            <p:nvPr/>
          </p:nvSpPr>
          <p:spPr bwMode="auto">
            <a:xfrm>
              <a:off x="6682049" y="2953852"/>
              <a:ext cx="278181" cy="103427"/>
            </a:xfrm>
            <a:custGeom>
              <a:avLst/>
              <a:gdLst>
                <a:gd name="T0" fmla="*/ 155 w 160"/>
                <a:gd name="T1" fmla="*/ 36 h 60"/>
                <a:gd name="T2" fmla="*/ 159 w 160"/>
                <a:gd name="T3" fmla="*/ 60 h 60"/>
                <a:gd name="T4" fmla="*/ 159 w 160"/>
                <a:gd name="T5" fmla="*/ 53 h 60"/>
                <a:gd name="T6" fmla="*/ 155 w 160"/>
                <a:gd name="T7" fmla="*/ 36 h 60"/>
                <a:gd name="T8" fmla="*/ 0 w 160"/>
                <a:gd name="T9" fmla="*/ 11 h 60"/>
                <a:gd name="T10" fmla="*/ 0 w 160"/>
                <a:gd name="T11" fmla="*/ 11 h 60"/>
                <a:gd name="T12" fmla="*/ 31 w 160"/>
                <a:gd name="T13" fmla="*/ 16 h 60"/>
                <a:gd name="T14" fmla="*/ 32 w 160"/>
                <a:gd name="T15" fmla="*/ 16 h 60"/>
                <a:gd name="T16" fmla="*/ 0 w 160"/>
                <a:gd name="T17" fmla="*/ 11 h 60"/>
                <a:gd name="T18" fmla="*/ 98 w 160"/>
                <a:gd name="T19" fmla="*/ 0 h 60"/>
                <a:gd name="T20" fmla="*/ 98 w 160"/>
                <a:gd name="T21" fmla="*/ 0 h 60"/>
                <a:gd name="T22" fmla="*/ 134 w 160"/>
                <a:gd name="T23" fmla="*/ 10 h 60"/>
                <a:gd name="T24" fmla="*/ 141 w 160"/>
                <a:gd name="T25" fmla="*/ 16 h 60"/>
                <a:gd name="T26" fmla="*/ 134 w 160"/>
                <a:gd name="T27" fmla="*/ 10 h 60"/>
                <a:gd name="T28" fmla="*/ 98 w 160"/>
                <a:gd name="T2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" h="60">
                  <a:moveTo>
                    <a:pt x="155" y="36"/>
                  </a:moveTo>
                  <a:cubicBezTo>
                    <a:pt x="158" y="44"/>
                    <a:pt x="160" y="52"/>
                    <a:pt x="159" y="60"/>
                  </a:cubicBezTo>
                  <a:cubicBezTo>
                    <a:pt x="159" y="58"/>
                    <a:pt x="159" y="55"/>
                    <a:pt x="159" y="53"/>
                  </a:cubicBezTo>
                  <a:cubicBezTo>
                    <a:pt x="159" y="47"/>
                    <a:pt x="157" y="41"/>
                    <a:pt x="155" y="36"/>
                  </a:cubicBezTo>
                  <a:moveTo>
                    <a:pt x="0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0" y="11"/>
                    <a:pt x="21" y="13"/>
                    <a:pt x="31" y="16"/>
                  </a:cubicBezTo>
                  <a:cubicBezTo>
                    <a:pt x="31" y="16"/>
                    <a:pt x="32" y="16"/>
                    <a:pt x="32" y="16"/>
                  </a:cubicBezTo>
                  <a:cubicBezTo>
                    <a:pt x="21" y="13"/>
                    <a:pt x="10" y="11"/>
                    <a:pt x="0" y="11"/>
                  </a:cubicBezTo>
                  <a:moveTo>
                    <a:pt x="98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110" y="0"/>
                    <a:pt x="123" y="4"/>
                    <a:pt x="134" y="10"/>
                  </a:cubicBezTo>
                  <a:cubicBezTo>
                    <a:pt x="137" y="12"/>
                    <a:pt x="139" y="14"/>
                    <a:pt x="141" y="16"/>
                  </a:cubicBezTo>
                  <a:cubicBezTo>
                    <a:pt x="139" y="14"/>
                    <a:pt x="137" y="12"/>
                    <a:pt x="134" y="10"/>
                  </a:cubicBezTo>
                  <a:cubicBezTo>
                    <a:pt x="123" y="4"/>
                    <a:pt x="110" y="0"/>
                    <a:pt x="9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ṡļîḑè">
              <a:extLst>
                <a:ext uri="{FF2B5EF4-FFF2-40B4-BE49-F238E27FC236}">
                  <a16:creationId xmlns:a16="http://schemas.microsoft.com/office/drawing/2014/main" id="{D4A9404A-0D88-4DF5-9440-804367D0DE23}"/>
                </a:ext>
              </a:extLst>
            </p:cNvPr>
            <p:cNvSpPr/>
            <p:nvPr/>
          </p:nvSpPr>
          <p:spPr bwMode="auto">
            <a:xfrm>
              <a:off x="6407434" y="2953852"/>
              <a:ext cx="552797" cy="140280"/>
            </a:xfrm>
            <a:custGeom>
              <a:avLst/>
              <a:gdLst>
                <a:gd name="T0" fmla="*/ 256 w 318"/>
                <a:gd name="T1" fmla="*/ 0 h 81"/>
                <a:gd name="T2" fmla="*/ 248 w 318"/>
                <a:gd name="T3" fmla="*/ 1 h 81"/>
                <a:gd name="T4" fmla="*/ 203 w 318"/>
                <a:gd name="T5" fmla="*/ 11 h 81"/>
                <a:gd name="T6" fmla="*/ 190 w 318"/>
                <a:gd name="T7" fmla="*/ 16 h 81"/>
                <a:gd name="T8" fmla="*/ 190 w 318"/>
                <a:gd name="T9" fmla="*/ 16 h 81"/>
                <a:gd name="T10" fmla="*/ 189 w 318"/>
                <a:gd name="T11" fmla="*/ 16 h 81"/>
                <a:gd name="T12" fmla="*/ 158 w 318"/>
                <a:gd name="T13" fmla="*/ 11 h 81"/>
                <a:gd name="T14" fmla="*/ 105 w 318"/>
                <a:gd name="T15" fmla="*/ 20 h 81"/>
                <a:gd name="T16" fmla="*/ 47 w 318"/>
                <a:gd name="T17" fmla="*/ 36 h 81"/>
                <a:gd name="T18" fmla="*/ 11 w 318"/>
                <a:gd name="T19" fmla="*/ 52 h 81"/>
                <a:gd name="T20" fmla="*/ 2 w 318"/>
                <a:gd name="T21" fmla="*/ 81 h 81"/>
                <a:gd name="T22" fmla="*/ 11 w 318"/>
                <a:gd name="T23" fmla="*/ 65 h 81"/>
                <a:gd name="T24" fmla="*/ 47 w 318"/>
                <a:gd name="T25" fmla="*/ 49 h 81"/>
                <a:gd name="T26" fmla="*/ 105 w 318"/>
                <a:gd name="T27" fmla="*/ 33 h 81"/>
                <a:gd name="T28" fmla="*/ 158 w 318"/>
                <a:gd name="T29" fmla="*/ 24 h 81"/>
                <a:gd name="T30" fmla="*/ 190 w 318"/>
                <a:gd name="T31" fmla="*/ 29 h 81"/>
                <a:gd name="T32" fmla="*/ 203 w 318"/>
                <a:gd name="T33" fmla="*/ 25 h 81"/>
                <a:gd name="T34" fmla="*/ 248 w 318"/>
                <a:gd name="T35" fmla="*/ 14 h 81"/>
                <a:gd name="T36" fmla="*/ 256 w 318"/>
                <a:gd name="T37" fmla="*/ 13 h 81"/>
                <a:gd name="T38" fmla="*/ 292 w 318"/>
                <a:gd name="T39" fmla="*/ 23 h 81"/>
                <a:gd name="T40" fmla="*/ 317 w 318"/>
                <a:gd name="T41" fmla="*/ 62 h 81"/>
                <a:gd name="T42" fmla="*/ 317 w 318"/>
                <a:gd name="T43" fmla="*/ 60 h 81"/>
                <a:gd name="T44" fmla="*/ 313 w 318"/>
                <a:gd name="T45" fmla="*/ 36 h 81"/>
                <a:gd name="T46" fmla="*/ 299 w 318"/>
                <a:gd name="T47" fmla="*/ 16 h 81"/>
                <a:gd name="T48" fmla="*/ 292 w 318"/>
                <a:gd name="T49" fmla="*/ 10 h 81"/>
                <a:gd name="T50" fmla="*/ 256 w 318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8" h="81">
                  <a:moveTo>
                    <a:pt x="256" y="0"/>
                  </a:moveTo>
                  <a:cubicBezTo>
                    <a:pt x="253" y="0"/>
                    <a:pt x="250" y="0"/>
                    <a:pt x="248" y="1"/>
                  </a:cubicBezTo>
                  <a:cubicBezTo>
                    <a:pt x="233" y="3"/>
                    <a:pt x="218" y="6"/>
                    <a:pt x="203" y="11"/>
                  </a:cubicBezTo>
                  <a:cubicBezTo>
                    <a:pt x="200" y="13"/>
                    <a:pt x="194" y="14"/>
                    <a:pt x="190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89" y="16"/>
                    <a:pt x="189" y="16"/>
                  </a:cubicBezTo>
                  <a:cubicBezTo>
                    <a:pt x="179" y="13"/>
                    <a:pt x="168" y="11"/>
                    <a:pt x="158" y="11"/>
                  </a:cubicBezTo>
                  <a:cubicBezTo>
                    <a:pt x="140" y="11"/>
                    <a:pt x="122" y="16"/>
                    <a:pt x="105" y="20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34" y="39"/>
                    <a:pt x="21" y="43"/>
                    <a:pt x="11" y="52"/>
                  </a:cubicBezTo>
                  <a:cubicBezTo>
                    <a:pt x="3" y="60"/>
                    <a:pt x="0" y="70"/>
                    <a:pt x="2" y="81"/>
                  </a:cubicBezTo>
                  <a:cubicBezTo>
                    <a:pt x="4" y="75"/>
                    <a:pt x="7" y="70"/>
                    <a:pt x="11" y="65"/>
                  </a:cubicBezTo>
                  <a:cubicBezTo>
                    <a:pt x="21" y="56"/>
                    <a:pt x="34" y="52"/>
                    <a:pt x="47" y="49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22" y="29"/>
                    <a:pt x="140" y="24"/>
                    <a:pt x="158" y="24"/>
                  </a:cubicBezTo>
                  <a:cubicBezTo>
                    <a:pt x="168" y="24"/>
                    <a:pt x="179" y="26"/>
                    <a:pt x="190" y="29"/>
                  </a:cubicBezTo>
                  <a:cubicBezTo>
                    <a:pt x="194" y="27"/>
                    <a:pt x="200" y="26"/>
                    <a:pt x="203" y="25"/>
                  </a:cubicBezTo>
                  <a:cubicBezTo>
                    <a:pt x="218" y="19"/>
                    <a:pt x="233" y="16"/>
                    <a:pt x="248" y="14"/>
                  </a:cubicBezTo>
                  <a:cubicBezTo>
                    <a:pt x="250" y="14"/>
                    <a:pt x="253" y="13"/>
                    <a:pt x="256" y="13"/>
                  </a:cubicBezTo>
                  <a:cubicBezTo>
                    <a:pt x="268" y="13"/>
                    <a:pt x="281" y="17"/>
                    <a:pt x="292" y="23"/>
                  </a:cubicBezTo>
                  <a:cubicBezTo>
                    <a:pt x="305" y="32"/>
                    <a:pt x="315" y="46"/>
                    <a:pt x="317" y="62"/>
                  </a:cubicBezTo>
                  <a:cubicBezTo>
                    <a:pt x="317" y="62"/>
                    <a:pt x="317" y="61"/>
                    <a:pt x="317" y="60"/>
                  </a:cubicBezTo>
                  <a:cubicBezTo>
                    <a:pt x="318" y="52"/>
                    <a:pt x="316" y="44"/>
                    <a:pt x="313" y="36"/>
                  </a:cubicBezTo>
                  <a:cubicBezTo>
                    <a:pt x="310" y="28"/>
                    <a:pt x="306" y="21"/>
                    <a:pt x="299" y="16"/>
                  </a:cubicBezTo>
                  <a:cubicBezTo>
                    <a:pt x="297" y="14"/>
                    <a:pt x="295" y="12"/>
                    <a:pt x="292" y="10"/>
                  </a:cubicBezTo>
                  <a:cubicBezTo>
                    <a:pt x="281" y="4"/>
                    <a:pt x="268" y="0"/>
                    <a:pt x="256" y="0"/>
                  </a:cubicBezTo>
                </a:path>
              </a:pathLst>
            </a:custGeom>
            <a:solidFill>
              <a:srgbClr val="FDD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şľîḓè">
              <a:extLst>
                <a:ext uri="{FF2B5EF4-FFF2-40B4-BE49-F238E27FC236}">
                  <a16:creationId xmlns:a16="http://schemas.microsoft.com/office/drawing/2014/main" id="{219D026B-256C-48CE-A514-53A56B7B9CDE}"/>
                </a:ext>
              </a:extLst>
            </p:cNvPr>
            <p:cNvSpPr/>
            <p:nvPr/>
          </p:nvSpPr>
          <p:spPr bwMode="auto">
            <a:xfrm>
              <a:off x="6868691" y="3170214"/>
              <a:ext cx="0" cy="8322"/>
            </a:xfrm>
            <a:custGeom>
              <a:avLst/>
              <a:gdLst>
                <a:gd name="T0" fmla="*/ 0 h 5"/>
                <a:gd name="T1" fmla="*/ 0 h 5"/>
                <a:gd name="T2" fmla="*/ 2 h 5"/>
                <a:gd name="T3" fmla="*/ 5 h 5"/>
                <a:gd name="T4" fmla="*/ 0 h 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3"/>
                    <a:pt x="0" y="2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$ḻîḍé">
              <a:extLst>
                <a:ext uri="{FF2B5EF4-FFF2-40B4-BE49-F238E27FC236}">
                  <a16:creationId xmlns:a16="http://schemas.microsoft.com/office/drawing/2014/main" id="{6EC836AB-0D33-4B9F-A142-85AD97CC9566}"/>
                </a:ext>
              </a:extLst>
            </p:cNvPr>
            <p:cNvSpPr/>
            <p:nvPr/>
          </p:nvSpPr>
          <p:spPr bwMode="auto">
            <a:xfrm>
              <a:off x="6868691" y="3170214"/>
              <a:ext cx="0" cy="3567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FDD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şḷïḍe">
              <a:extLst>
                <a:ext uri="{FF2B5EF4-FFF2-40B4-BE49-F238E27FC236}">
                  <a16:creationId xmlns:a16="http://schemas.microsoft.com/office/drawing/2014/main" id="{F582A103-E378-4126-830D-3BDABAF5FD4A}"/>
                </a:ext>
              </a:extLst>
            </p:cNvPr>
            <p:cNvSpPr/>
            <p:nvPr/>
          </p:nvSpPr>
          <p:spPr bwMode="auto">
            <a:xfrm>
              <a:off x="6572678" y="3591052"/>
              <a:ext cx="17832" cy="126014"/>
            </a:xfrm>
            <a:custGeom>
              <a:avLst/>
              <a:gdLst>
                <a:gd name="T0" fmla="*/ 0 w 10"/>
                <a:gd name="T1" fmla="*/ 0 h 73"/>
                <a:gd name="T2" fmla="*/ 10 w 10"/>
                <a:gd name="T3" fmla="*/ 73 h 73"/>
                <a:gd name="T4" fmla="*/ 10 w 10"/>
                <a:gd name="T5" fmla="*/ 73 h 73"/>
                <a:gd name="T6" fmla="*/ 0 w 10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3">
                  <a:moveTo>
                    <a:pt x="0" y="0"/>
                  </a:moveTo>
                  <a:cubicBezTo>
                    <a:pt x="0" y="18"/>
                    <a:pt x="6" y="41"/>
                    <a:pt x="10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6" y="41"/>
                    <a:pt x="0" y="18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Sľïďé">
              <a:extLst>
                <a:ext uri="{FF2B5EF4-FFF2-40B4-BE49-F238E27FC236}">
                  <a16:creationId xmlns:a16="http://schemas.microsoft.com/office/drawing/2014/main" id="{27955438-150D-46F2-AF80-338AC84CB1C6}"/>
                </a:ext>
              </a:extLst>
            </p:cNvPr>
            <p:cNvSpPr/>
            <p:nvPr/>
          </p:nvSpPr>
          <p:spPr bwMode="auto">
            <a:xfrm>
              <a:off x="6590510" y="3717066"/>
              <a:ext cx="8322" cy="99860"/>
            </a:xfrm>
            <a:custGeom>
              <a:avLst/>
              <a:gdLst>
                <a:gd name="T0" fmla="*/ 0 w 5"/>
                <a:gd name="T1" fmla="*/ 0 h 57"/>
                <a:gd name="T2" fmla="*/ 5 w 5"/>
                <a:gd name="T3" fmla="*/ 43 h 57"/>
                <a:gd name="T4" fmla="*/ 5 w 5"/>
                <a:gd name="T5" fmla="*/ 57 h 57"/>
                <a:gd name="T6" fmla="*/ 5 w 5"/>
                <a:gd name="T7" fmla="*/ 42 h 57"/>
                <a:gd name="T8" fmla="*/ 0 w 5"/>
                <a:gd name="T9" fmla="*/ 0 h 57"/>
                <a:gd name="T10" fmla="*/ 0 w 5"/>
                <a:gd name="T1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7">
                  <a:moveTo>
                    <a:pt x="0" y="0"/>
                  </a:moveTo>
                  <a:cubicBezTo>
                    <a:pt x="2" y="13"/>
                    <a:pt x="4" y="27"/>
                    <a:pt x="5" y="43"/>
                  </a:cubicBezTo>
                  <a:cubicBezTo>
                    <a:pt x="5" y="47"/>
                    <a:pt x="5" y="52"/>
                    <a:pt x="5" y="57"/>
                  </a:cubicBezTo>
                  <a:cubicBezTo>
                    <a:pt x="5" y="52"/>
                    <a:pt x="5" y="47"/>
                    <a:pt x="5" y="42"/>
                  </a:cubicBezTo>
                  <a:cubicBezTo>
                    <a:pt x="4" y="26"/>
                    <a:pt x="2" y="1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ṧļïḍè">
              <a:extLst>
                <a:ext uri="{FF2B5EF4-FFF2-40B4-BE49-F238E27FC236}">
                  <a16:creationId xmlns:a16="http://schemas.microsoft.com/office/drawing/2014/main" id="{69330838-86BB-4A02-B2D7-149CE48A6973}"/>
                </a:ext>
              </a:extLst>
            </p:cNvPr>
            <p:cNvSpPr/>
            <p:nvPr/>
          </p:nvSpPr>
          <p:spPr bwMode="auto">
            <a:xfrm>
              <a:off x="6572678" y="3404410"/>
              <a:ext cx="229440" cy="460069"/>
            </a:xfrm>
            <a:custGeom>
              <a:avLst/>
              <a:gdLst>
                <a:gd name="T0" fmla="*/ 123 w 132"/>
                <a:gd name="T1" fmla="*/ 0 h 265"/>
                <a:gd name="T2" fmla="*/ 93 w 132"/>
                <a:gd name="T3" fmla="*/ 0 h 265"/>
                <a:gd name="T4" fmla="*/ 16 w 132"/>
                <a:gd name="T5" fmla="*/ 69 h 265"/>
                <a:gd name="T6" fmla="*/ 0 w 132"/>
                <a:gd name="T7" fmla="*/ 107 h 265"/>
                <a:gd name="T8" fmla="*/ 10 w 132"/>
                <a:gd name="T9" fmla="*/ 180 h 265"/>
                <a:gd name="T10" fmla="*/ 15 w 132"/>
                <a:gd name="T11" fmla="*/ 222 h 265"/>
                <a:gd name="T12" fmla="*/ 15 w 132"/>
                <a:gd name="T13" fmla="*/ 237 h 265"/>
                <a:gd name="T14" fmla="*/ 14 w 132"/>
                <a:gd name="T15" fmla="*/ 265 h 265"/>
                <a:gd name="T16" fmla="*/ 35 w 132"/>
                <a:gd name="T17" fmla="*/ 231 h 265"/>
                <a:gd name="T18" fmla="*/ 34 w 132"/>
                <a:gd name="T19" fmla="*/ 230 h 265"/>
                <a:gd name="T20" fmla="*/ 26 w 132"/>
                <a:gd name="T21" fmla="*/ 164 h 265"/>
                <a:gd name="T22" fmla="*/ 25 w 132"/>
                <a:gd name="T23" fmla="*/ 164 h 265"/>
                <a:gd name="T24" fmla="*/ 25 w 132"/>
                <a:gd name="T25" fmla="*/ 156 h 265"/>
                <a:gd name="T26" fmla="*/ 36 w 132"/>
                <a:gd name="T27" fmla="*/ 75 h 265"/>
                <a:gd name="T28" fmla="*/ 113 w 132"/>
                <a:gd name="T29" fmla="*/ 7 h 265"/>
                <a:gd name="T30" fmla="*/ 132 w 132"/>
                <a:gd name="T31" fmla="*/ 7 h 265"/>
                <a:gd name="T32" fmla="*/ 123 w 132"/>
                <a:gd name="T3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265">
                  <a:moveTo>
                    <a:pt x="123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50" y="0"/>
                    <a:pt x="16" y="69"/>
                    <a:pt x="16" y="69"/>
                  </a:cubicBezTo>
                  <a:cubicBezTo>
                    <a:pt x="4" y="81"/>
                    <a:pt x="0" y="92"/>
                    <a:pt x="0" y="107"/>
                  </a:cubicBezTo>
                  <a:cubicBezTo>
                    <a:pt x="0" y="125"/>
                    <a:pt x="6" y="148"/>
                    <a:pt x="10" y="180"/>
                  </a:cubicBezTo>
                  <a:cubicBezTo>
                    <a:pt x="12" y="193"/>
                    <a:pt x="14" y="206"/>
                    <a:pt x="15" y="222"/>
                  </a:cubicBezTo>
                  <a:cubicBezTo>
                    <a:pt x="15" y="227"/>
                    <a:pt x="15" y="232"/>
                    <a:pt x="15" y="237"/>
                  </a:cubicBezTo>
                  <a:cubicBezTo>
                    <a:pt x="15" y="246"/>
                    <a:pt x="15" y="256"/>
                    <a:pt x="14" y="265"/>
                  </a:cubicBezTo>
                  <a:cubicBezTo>
                    <a:pt x="23" y="255"/>
                    <a:pt x="30" y="244"/>
                    <a:pt x="35" y="231"/>
                  </a:cubicBezTo>
                  <a:cubicBezTo>
                    <a:pt x="35" y="230"/>
                    <a:pt x="35" y="230"/>
                    <a:pt x="34" y="230"/>
                  </a:cubicBezTo>
                  <a:cubicBezTo>
                    <a:pt x="33" y="203"/>
                    <a:pt x="29" y="182"/>
                    <a:pt x="26" y="164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18" y="117"/>
                    <a:pt x="15" y="96"/>
                    <a:pt x="36" y="75"/>
                  </a:cubicBezTo>
                  <a:cubicBezTo>
                    <a:pt x="36" y="75"/>
                    <a:pt x="70" y="7"/>
                    <a:pt x="113" y="7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130" y="3"/>
                    <a:pt x="127" y="1"/>
                    <a:pt x="123" y="0"/>
                  </a:cubicBezTo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šľïdè">
              <a:extLst>
                <a:ext uri="{FF2B5EF4-FFF2-40B4-BE49-F238E27FC236}">
                  <a16:creationId xmlns:a16="http://schemas.microsoft.com/office/drawing/2014/main" id="{7460E637-985F-40D0-842F-E8323F28B89B}"/>
                </a:ext>
              </a:extLst>
            </p:cNvPr>
            <p:cNvSpPr/>
            <p:nvPr/>
          </p:nvSpPr>
          <p:spPr bwMode="auto">
            <a:xfrm>
              <a:off x="6616663" y="3564899"/>
              <a:ext cx="181888" cy="124825"/>
            </a:xfrm>
            <a:prstGeom prst="rect">
              <a:avLst/>
            </a:prstGeom>
            <a:solidFill>
              <a:srgbClr val="FF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ṩḻîḓê">
              <a:extLst>
                <a:ext uri="{FF2B5EF4-FFF2-40B4-BE49-F238E27FC236}">
                  <a16:creationId xmlns:a16="http://schemas.microsoft.com/office/drawing/2014/main" id="{D91F3B43-6AC5-46FA-8E5D-E33D87301C90}"/>
                </a:ext>
              </a:extLst>
            </p:cNvPr>
            <p:cNvSpPr/>
            <p:nvPr/>
          </p:nvSpPr>
          <p:spPr bwMode="auto">
            <a:xfrm>
              <a:off x="6616663" y="3564899"/>
              <a:ext cx="181888" cy="12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ṩḷídè">
              <a:extLst>
                <a:ext uri="{FF2B5EF4-FFF2-40B4-BE49-F238E27FC236}">
                  <a16:creationId xmlns:a16="http://schemas.microsoft.com/office/drawing/2014/main" id="{DFA83931-0965-4935-8C5F-80763DC87FE2}"/>
                </a:ext>
              </a:extLst>
            </p:cNvPr>
            <p:cNvSpPr/>
            <p:nvPr/>
          </p:nvSpPr>
          <p:spPr bwMode="auto">
            <a:xfrm>
              <a:off x="6730790" y="3919164"/>
              <a:ext cx="290069" cy="35664"/>
            </a:xfrm>
            <a:custGeom>
              <a:avLst/>
              <a:gdLst>
                <a:gd name="T0" fmla="*/ 163 w 167"/>
                <a:gd name="T1" fmla="*/ 0 h 21"/>
                <a:gd name="T2" fmla="*/ 3 w 167"/>
                <a:gd name="T3" fmla="*/ 19 h 21"/>
                <a:gd name="T4" fmla="*/ 0 w 167"/>
                <a:gd name="T5" fmla="*/ 21 h 21"/>
                <a:gd name="T6" fmla="*/ 167 w 167"/>
                <a:gd name="T7" fmla="*/ 2 h 21"/>
                <a:gd name="T8" fmla="*/ 163 w 16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21">
                  <a:moveTo>
                    <a:pt x="163" y="0"/>
                  </a:moveTo>
                  <a:cubicBezTo>
                    <a:pt x="163" y="0"/>
                    <a:pt x="83" y="12"/>
                    <a:pt x="3" y="19"/>
                  </a:cubicBezTo>
                  <a:cubicBezTo>
                    <a:pt x="2" y="20"/>
                    <a:pt x="1" y="21"/>
                    <a:pt x="0" y="21"/>
                  </a:cubicBezTo>
                  <a:cubicBezTo>
                    <a:pt x="66" y="16"/>
                    <a:pt x="136" y="7"/>
                    <a:pt x="167" y="2"/>
                  </a:cubicBezTo>
                  <a:cubicBezTo>
                    <a:pt x="166" y="2"/>
                    <a:pt x="164" y="1"/>
                    <a:pt x="163" y="0"/>
                  </a:cubicBezTo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ṥḻîḑé">
              <a:extLst>
                <a:ext uri="{FF2B5EF4-FFF2-40B4-BE49-F238E27FC236}">
                  <a16:creationId xmlns:a16="http://schemas.microsoft.com/office/drawing/2014/main" id="{26715A36-5019-46C5-897A-54FCBD447FF2}"/>
                </a:ext>
              </a:extLst>
            </p:cNvPr>
            <p:cNvSpPr/>
            <p:nvPr/>
          </p:nvSpPr>
          <p:spPr bwMode="auto">
            <a:xfrm>
              <a:off x="6361070" y="4032101"/>
              <a:ext cx="147412" cy="531398"/>
            </a:xfrm>
            <a:custGeom>
              <a:avLst/>
              <a:gdLst>
                <a:gd name="T0" fmla="*/ 0 w 85"/>
                <a:gd name="T1" fmla="*/ 0 h 306"/>
                <a:gd name="T2" fmla="*/ 17 w 85"/>
                <a:gd name="T3" fmla="*/ 31 h 306"/>
                <a:gd name="T4" fmla="*/ 65 w 85"/>
                <a:gd name="T5" fmla="*/ 306 h 306"/>
                <a:gd name="T6" fmla="*/ 85 w 85"/>
                <a:gd name="T7" fmla="*/ 306 h 306"/>
                <a:gd name="T8" fmla="*/ 37 w 85"/>
                <a:gd name="T9" fmla="*/ 31 h 306"/>
                <a:gd name="T10" fmla="*/ 20 w 85"/>
                <a:gd name="T11" fmla="*/ 1 h 306"/>
                <a:gd name="T12" fmla="*/ 10 w 85"/>
                <a:gd name="T13" fmla="*/ 3 h 306"/>
                <a:gd name="T14" fmla="*/ 0 w 85"/>
                <a:gd name="T15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06">
                  <a:moveTo>
                    <a:pt x="0" y="0"/>
                  </a:moveTo>
                  <a:cubicBezTo>
                    <a:pt x="0" y="12"/>
                    <a:pt x="5" y="23"/>
                    <a:pt x="17" y="31"/>
                  </a:cubicBezTo>
                  <a:cubicBezTo>
                    <a:pt x="53" y="55"/>
                    <a:pt x="65" y="306"/>
                    <a:pt x="65" y="306"/>
                  </a:cubicBezTo>
                  <a:cubicBezTo>
                    <a:pt x="85" y="306"/>
                    <a:pt x="85" y="306"/>
                    <a:pt x="85" y="306"/>
                  </a:cubicBezTo>
                  <a:cubicBezTo>
                    <a:pt x="85" y="306"/>
                    <a:pt x="73" y="55"/>
                    <a:pt x="37" y="31"/>
                  </a:cubicBezTo>
                  <a:cubicBezTo>
                    <a:pt x="25" y="23"/>
                    <a:pt x="20" y="12"/>
                    <a:pt x="20" y="1"/>
                  </a:cubicBezTo>
                  <a:cubicBezTo>
                    <a:pt x="17" y="2"/>
                    <a:pt x="13" y="3"/>
                    <a:pt x="10" y="3"/>
                  </a:cubicBezTo>
                  <a:cubicBezTo>
                    <a:pt x="7" y="3"/>
                    <a:pt x="3" y="2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s1îḋê">
              <a:extLst>
                <a:ext uri="{FF2B5EF4-FFF2-40B4-BE49-F238E27FC236}">
                  <a16:creationId xmlns:a16="http://schemas.microsoft.com/office/drawing/2014/main" id="{88BEB59D-7A8E-489F-91FF-B8BF6223DDFB}"/>
                </a:ext>
              </a:extLst>
            </p:cNvPr>
            <p:cNvSpPr/>
            <p:nvPr/>
          </p:nvSpPr>
          <p:spPr bwMode="auto">
            <a:xfrm>
              <a:off x="6590510" y="4127206"/>
              <a:ext cx="162867" cy="8322"/>
            </a:xfrm>
            <a:custGeom>
              <a:avLst/>
              <a:gdLst>
                <a:gd name="T0" fmla="*/ 0 w 94"/>
                <a:gd name="T1" fmla="*/ 0 h 5"/>
                <a:gd name="T2" fmla="*/ 1 w 94"/>
                <a:gd name="T3" fmla="*/ 2 h 5"/>
                <a:gd name="T4" fmla="*/ 84 w 94"/>
                <a:gd name="T5" fmla="*/ 5 h 5"/>
                <a:gd name="T6" fmla="*/ 94 w 94"/>
                <a:gd name="T7" fmla="*/ 5 h 5"/>
                <a:gd name="T8" fmla="*/ 0 w 9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5">
                  <a:moveTo>
                    <a:pt x="0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20" y="3"/>
                    <a:pt x="50" y="5"/>
                    <a:pt x="84" y="5"/>
                  </a:cubicBezTo>
                  <a:cubicBezTo>
                    <a:pt x="87" y="5"/>
                    <a:pt x="91" y="5"/>
                    <a:pt x="94" y="5"/>
                  </a:cubicBezTo>
                  <a:cubicBezTo>
                    <a:pt x="42" y="4"/>
                    <a:pt x="0" y="0"/>
                    <a:pt x="0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ḷíḓé">
              <a:extLst>
                <a:ext uri="{FF2B5EF4-FFF2-40B4-BE49-F238E27FC236}">
                  <a16:creationId xmlns:a16="http://schemas.microsoft.com/office/drawing/2014/main" id="{AAB2AEBF-7762-4C0F-AE83-DCF60D99FE0E}"/>
                </a:ext>
              </a:extLst>
            </p:cNvPr>
            <p:cNvSpPr/>
            <p:nvPr/>
          </p:nvSpPr>
          <p:spPr bwMode="auto">
            <a:xfrm>
              <a:off x="6345614" y="3652871"/>
              <a:ext cx="441049" cy="388741"/>
            </a:xfrm>
            <a:custGeom>
              <a:avLst/>
              <a:gdLst>
                <a:gd name="T0" fmla="*/ 253 w 254"/>
                <a:gd name="T1" fmla="*/ 0 h 224"/>
                <a:gd name="T2" fmla="*/ 253 w 254"/>
                <a:gd name="T3" fmla="*/ 114 h 224"/>
                <a:gd name="T4" fmla="*/ 180 w 254"/>
                <a:gd name="T5" fmla="*/ 187 h 224"/>
                <a:gd name="T6" fmla="*/ 177 w 254"/>
                <a:gd name="T7" fmla="*/ 187 h 224"/>
                <a:gd name="T8" fmla="*/ 62 w 254"/>
                <a:gd name="T9" fmla="*/ 191 h 224"/>
                <a:gd name="T10" fmla="*/ 30 w 254"/>
                <a:gd name="T11" fmla="*/ 217 h 224"/>
                <a:gd name="T12" fmla="*/ 4 w 254"/>
                <a:gd name="T13" fmla="*/ 214 h 224"/>
                <a:gd name="T14" fmla="*/ 1 w 254"/>
                <a:gd name="T15" fmla="*/ 201 h 224"/>
                <a:gd name="T16" fmla="*/ 26 w 254"/>
                <a:gd name="T17" fmla="*/ 155 h 224"/>
                <a:gd name="T18" fmla="*/ 91 w 254"/>
                <a:gd name="T19" fmla="*/ 146 h 224"/>
                <a:gd name="T20" fmla="*/ 170 w 254"/>
                <a:gd name="T21" fmla="*/ 62 h 224"/>
                <a:gd name="T22" fmla="*/ 170 w 254"/>
                <a:gd name="T23" fmla="*/ 0 h 224"/>
                <a:gd name="T24" fmla="*/ 253 w 254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4" h="224">
                  <a:moveTo>
                    <a:pt x="253" y="0"/>
                  </a:moveTo>
                  <a:cubicBezTo>
                    <a:pt x="253" y="114"/>
                    <a:pt x="253" y="114"/>
                    <a:pt x="253" y="114"/>
                  </a:cubicBezTo>
                  <a:cubicBezTo>
                    <a:pt x="254" y="155"/>
                    <a:pt x="221" y="187"/>
                    <a:pt x="180" y="187"/>
                  </a:cubicBezTo>
                  <a:cubicBezTo>
                    <a:pt x="179" y="187"/>
                    <a:pt x="178" y="187"/>
                    <a:pt x="177" y="187"/>
                  </a:cubicBezTo>
                  <a:cubicBezTo>
                    <a:pt x="127" y="185"/>
                    <a:pt x="69" y="185"/>
                    <a:pt x="62" y="191"/>
                  </a:cubicBezTo>
                  <a:cubicBezTo>
                    <a:pt x="56" y="197"/>
                    <a:pt x="43" y="208"/>
                    <a:pt x="30" y="217"/>
                  </a:cubicBezTo>
                  <a:cubicBezTo>
                    <a:pt x="22" y="224"/>
                    <a:pt x="11" y="222"/>
                    <a:pt x="4" y="214"/>
                  </a:cubicBezTo>
                  <a:cubicBezTo>
                    <a:pt x="1" y="210"/>
                    <a:pt x="0" y="206"/>
                    <a:pt x="1" y="201"/>
                  </a:cubicBezTo>
                  <a:cubicBezTo>
                    <a:pt x="2" y="182"/>
                    <a:pt x="8" y="161"/>
                    <a:pt x="26" y="155"/>
                  </a:cubicBezTo>
                  <a:cubicBezTo>
                    <a:pt x="40" y="151"/>
                    <a:pt x="66" y="148"/>
                    <a:pt x="91" y="146"/>
                  </a:cubicBezTo>
                  <a:cubicBezTo>
                    <a:pt x="135" y="143"/>
                    <a:pt x="170" y="106"/>
                    <a:pt x="170" y="62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F8C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sḻíḑê">
              <a:extLst>
                <a:ext uri="{FF2B5EF4-FFF2-40B4-BE49-F238E27FC236}">
                  <a16:creationId xmlns:a16="http://schemas.microsoft.com/office/drawing/2014/main" id="{158BA9EF-4842-4DD1-899C-9419D9D4A22C}"/>
                </a:ext>
              </a:extLst>
            </p:cNvPr>
            <p:cNvSpPr/>
            <p:nvPr/>
          </p:nvSpPr>
          <p:spPr bwMode="auto">
            <a:xfrm>
              <a:off x="6640439" y="3652871"/>
              <a:ext cx="146224" cy="10700"/>
            </a:xfrm>
            <a:custGeom>
              <a:avLst/>
              <a:gdLst>
                <a:gd name="T0" fmla="*/ 123 w 123"/>
                <a:gd name="T1" fmla="*/ 0 h 9"/>
                <a:gd name="T2" fmla="*/ 0 w 123"/>
                <a:gd name="T3" fmla="*/ 0 h 9"/>
                <a:gd name="T4" fmla="*/ 121 w 123"/>
                <a:gd name="T5" fmla="*/ 0 h 9"/>
                <a:gd name="T6" fmla="*/ 121 w 123"/>
                <a:gd name="T7" fmla="*/ 9 h 9"/>
                <a:gd name="T8" fmla="*/ 123 w 123"/>
                <a:gd name="T9" fmla="*/ 9 h 9"/>
                <a:gd name="T10" fmla="*/ 123 w 12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">
                  <a:moveTo>
                    <a:pt x="123" y="0"/>
                  </a:moveTo>
                  <a:lnTo>
                    <a:pt x="0" y="0"/>
                  </a:lnTo>
                  <a:lnTo>
                    <a:pt x="121" y="0"/>
                  </a:lnTo>
                  <a:lnTo>
                    <a:pt x="121" y="9"/>
                  </a:lnTo>
                  <a:lnTo>
                    <a:pt x="123" y="9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FF7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$líďè">
              <a:extLst>
                <a:ext uri="{FF2B5EF4-FFF2-40B4-BE49-F238E27FC236}">
                  <a16:creationId xmlns:a16="http://schemas.microsoft.com/office/drawing/2014/main" id="{A9B4621C-2C53-4232-8CA9-F384772B1268}"/>
                </a:ext>
              </a:extLst>
            </p:cNvPr>
            <p:cNvSpPr/>
            <p:nvPr/>
          </p:nvSpPr>
          <p:spPr bwMode="auto">
            <a:xfrm>
              <a:off x="6640439" y="3652871"/>
              <a:ext cx="146224" cy="10700"/>
            </a:xfrm>
            <a:custGeom>
              <a:avLst/>
              <a:gdLst>
                <a:gd name="T0" fmla="*/ 123 w 123"/>
                <a:gd name="T1" fmla="*/ 0 h 9"/>
                <a:gd name="T2" fmla="*/ 0 w 123"/>
                <a:gd name="T3" fmla="*/ 0 h 9"/>
                <a:gd name="T4" fmla="*/ 121 w 123"/>
                <a:gd name="T5" fmla="*/ 0 h 9"/>
                <a:gd name="T6" fmla="*/ 121 w 123"/>
                <a:gd name="T7" fmla="*/ 9 h 9"/>
                <a:gd name="T8" fmla="*/ 123 w 123"/>
                <a:gd name="T9" fmla="*/ 9 h 9"/>
                <a:gd name="T10" fmla="*/ 123 w 12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">
                  <a:moveTo>
                    <a:pt x="123" y="0"/>
                  </a:moveTo>
                  <a:lnTo>
                    <a:pt x="0" y="0"/>
                  </a:lnTo>
                  <a:lnTo>
                    <a:pt x="121" y="0"/>
                  </a:lnTo>
                  <a:lnTo>
                    <a:pt x="121" y="9"/>
                  </a:lnTo>
                  <a:lnTo>
                    <a:pt x="123" y="9"/>
                  </a:lnTo>
                  <a:lnTo>
                    <a:pt x="12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sḷíďê">
              <a:extLst>
                <a:ext uri="{FF2B5EF4-FFF2-40B4-BE49-F238E27FC236}">
                  <a16:creationId xmlns:a16="http://schemas.microsoft.com/office/drawing/2014/main" id="{E14FB14E-ACC1-4FDF-A20D-478621670E8E}"/>
                </a:ext>
              </a:extLst>
            </p:cNvPr>
            <p:cNvSpPr/>
            <p:nvPr/>
          </p:nvSpPr>
          <p:spPr bwMode="auto">
            <a:xfrm>
              <a:off x="6377714" y="3883500"/>
              <a:ext cx="194964" cy="45175"/>
            </a:xfrm>
            <a:custGeom>
              <a:avLst/>
              <a:gdLst>
                <a:gd name="T0" fmla="*/ 112 w 112"/>
                <a:gd name="T1" fmla="*/ 0 h 26"/>
                <a:gd name="T2" fmla="*/ 73 w 112"/>
                <a:gd name="T3" fmla="*/ 13 h 26"/>
                <a:gd name="T4" fmla="*/ 7 w 112"/>
                <a:gd name="T5" fmla="*/ 22 h 26"/>
                <a:gd name="T6" fmla="*/ 0 w 112"/>
                <a:gd name="T7" fmla="*/ 26 h 26"/>
                <a:gd name="T8" fmla="*/ 7 w 112"/>
                <a:gd name="T9" fmla="*/ 22 h 26"/>
                <a:gd name="T10" fmla="*/ 72 w 112"/>
                <a:gd name="T11" fmla="*/ 13 h 26"/>
                <a:gd name="T12" fmla="*/ 112 w 112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26">
                  <a:moveTo>
                    <a:pt x="112" y="0"/>
                  </a:moveTo>
                  <a:cubicBezTo>
                    <a:pt x="101" y="7"/>
                    <a:pt x="87" y="12"/>
                    <a:pt x="73" y="13"/>
                  </a:cubicBezTo>
                  <a:cubicBezTo>
                    <a:pt x="47" y="15"/>
                    <a:pt x="21" y="18"/>
                    <a:pt x="7" y="22"/>
                  </a:cubicBezTo>
                  <a:cubicBezTo>
                    <a:pt x="5" y="23"/>
                    <a:pt x="2" y="24"/>
                    <a:pt x="0" y="26"/>
                  </a:cubicBezTo>
                  <a:cubicBezTo>
                    <a:pt x="2" y="24"/>
                    <a:pt x="4" y="23"/>
                    <a:pt x="7" y="22"/>
                  </a:cubicBezTo>
                  <a:cubicBezTo>
                    <a:pt x="21" y="18"/>
                    <a:pt x="47" y="15"/>
                    <a:pt x="72" y="13"/>
                  </a:cubicBezTo>
                  <a:cubicBezTo>
                    <a:pt x="87" y="12"/>
                    <a:pt x="101" y="7"/>
                    <a:pt x="112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$lïḓê">
              <a:extLst>
                <a:ext uri="{FF2B5EF4-FFF2-40B4-BE49-F238E27FC236}">
                  <a16:creationId xmlns:a16="http://schemas.microsoft.com/office/drawing/2014/main" id="{BECFD27E-8AA7-40D6-A4EB-90DFFCC0B214}"/>
                </a:ext>
              </a:extLst>
            </p:cNvPr>
            <p:cNvSpPr/>
            <p:nvPr/>
          </p:nvSpPr>
          <p:spPr bwMode="auto">
            <a:xfrm>
              <a:off x="6345614" y="3652871"/>
              <a:ext cx="438671" cy="383986"/>
            </a:xfrm>
            <a:custGeom>
              <a:avLst/>
              <a:gdLst>
                <a:gd name="T0" fmla="*/ 253 w 253"/>
                <a:gd name="T1" fmla="*/ 0 h 221"/>
                <a:gd name="T2" fmla="*/ 170 w 253"/>
                <a:gd name="T3" fmla="*/ 0 h 221"/>
                <a:gd name="T4" fmla="*/ 170 w 253"/>
                <a:gd name="T5" fmla="*/ 62 h 221"/>
                <a:gd name="T6" fmla="*/ 131 w 253"/>
                <a:gd name="T7" fmla="*/ 133 h 221"/>
                <a:gd name="T8" fmla="*/ 91 w 253"/>
                <a:gd name="T9" fmla="*/ 146 h 221"/>
                <a:gd name="T10" fmla="*/ 26 w 253"/>
                <a:gd name="T11" fmla="*/ 155 h 221"/>
                <a:gd name="T12" fmla="*/ 19 w 253"/>
                <a:gd name="T13" fmla="*/ 159 h 221"/>
                <a:gd name="T14" fmla="*/ 1 w 253"/>
                <a:gd name="T15" fmla="*/ 201 h 221"/>
                <a:gd name="T16" fmla="*/ 1 w 253"/>
                <a:gd name="T17" fmla="*/ 201 h 221"/>
                <a:gd name="T18" fmla="*/ 18 w 253"/>
                <a:gd name="T19" fmla="*/ 221 h 221"/>
                <a:gd name="T20" fmla="*/ 14 w 253"/>
                <a:gd name="T21" fmla="*/ 207 h 221"/>
                <a:gd name="T22" fmla="*/ 39 w 253"/>
                <a:gd name="T23" fmla="*/ 162 h 221"/>
                <a:gd name="T24" fmla="*/ 105 w 253"/>
                <a:gd name="T25" fmla="*/ 152 h 221"/>
                <a:gd name="T26" fmla="*/ 183 w 253"/>
                <a:gd name="T27" fmla="*/ 68 h 221"/>
                <a:gd name="T28" fmla="*/ 183 w 253"/>
                <a:gd name="T29" fmla="*/ 6 h 221"/>
                <a:gd name="T30" fmla="*/ 253 w 253"/>
                <a:gd name="T31" fmla="*/ 6 h 221"/>
                <a:gd name="T32" fmla="*/ 253 w 253"/>
                <a:gd name="T3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3" h="221">
                  <a:moveTo>
                    <a:pt x="253" y="0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170" y="62"/>
                    <a:pt x="170" y="62"/>
                    <a:pt x="170" y="62"/>
                  </a:cubicBezTo>
                  <a:cubicBezTo>
                    <a:pt x="170" y="91"/>
                    <a:pt x="155" y="118"/>
                    <a:pt x="131" y="133"/>
                  </a:cubicBezTo>
                  <a:cubicBezTo>
                    <a:pt x="120" y="140"/>
                    <a:pt x="106" y="145"/>
                    <a:pt x="91" y="146"/>
                  </a:cubicBezTo>
                  <a:cubicBezTo>
                    <a:pt x="66" y="148"/>
                    <a:pt x="40" y="151"/>
                    <a:pt x="26" y="155"/>
                  </a:cubicBezTo>
                  <a:cubicBezTo>
                    <a:pt x="23" y="156"/>
                    <a:pt x="21" y="157"/>
                    <a:pt x="19" y="159"/>
                  </a:cubicBezTo>
                  <a:cubicBezTo>
                    <a:pt x="7" y="167"/>
                    <a:pt x="2" y="184"/>
                    <a:pt x="1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0" y="212"/>
                    <a:pt x="8" y="221"/>
                    <a:pt x="18" y="221"/>
                  </a:cubicBezTo>
                  <a:cubicBezTo>
                    <a:pt x="15" y="217"/>
                    <a:pt x="13" y="212"/>
                    <a:pt x="14" y="207"/>
                  </a:cubicBezTo>
                  <a:cubicBezTo>
                    <a:pt x="15" y="188"/>
                    <a:pt x="21" y="168"/>
                    <a:pt x="39" y="162"/>
                  </a:cubicBezTo>
                  <a:cubicBezTo>
                    <a:pt x="53" y="157"/>
                    <a:pt x="79" y="154"/>
                    <a:pt x="105" y="152"/>
                  </a:cubicBezTo>
                  <a:cubicBezTo>
                    <a:pt x="149" y="149"/>
                    <a:pt x="183" y="113"/>
                    <a:pt x="183" y="68"/>
                  </a:cubicBezTo>
                  <a:cubicBezTo>
                    <a:pt x="183" y="6"/>
                    <a:pt x="183" y="6"/>
                    <a:pt x="183" y="6"/>
                  </a:cubicBezTo>
                  <a:cubicBezTo>
                    <a:pt x="253" y="6"/>
                    <a:pt x="253" y="6"/>
                    <a:pt x="253" y="6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ṧliďé">
              <a:extLst>
                <a:ext uri="{FF2B5EF4-FFF2-40B4-BE49-F238E27FC236}">
                  <a16:creationId xmlns:a16="http://schemas.microsoft.com/office/drawing/2014/main" id="{59449BD9-35B1-4F62-BC1B-2368C305A1C3}"/>
                </a:ext>
              </a:extLst>
            </p:cNvPr>
            <p:cNvSpPr/>
            <p:nvPr/>
          </p:nvSpPr>
          <p:spPr bwMode="auto">
            <a:xfrm>
              <a:off x="6494217" y="4606296"/>
              <a:ext cx="167623" cy="11888"/>
            </a:xfrm>
            <a:custGeom>
              <a:avLst/>
              <a:gdLst>
                <a:gd name="T0" fmla="*/ 0 w 96"/>
                <a:gd name="T1" fmla="*/ 3 h 7"/>
                <a:gd name="T2" fmla="*/ 0 w 96"/>
                <a:gd name="T3" fmla="*/ 3 h 7"/>
                <a:gd name="T4" fmla="*/ 0 w 96"/>
                <a:gd name="T5" fmla="*/ 4 h 7"/>
                <a:gd name="T6" fmla="*/ 0 w 96"/>
                <a:gd name="T7" fmla="*/ 4 h 7"/>
                <a:gd name="T8" fmla="*/ 0 w 96"/>
                <a:gd name="T9" fmla="*/ 3 h 7"/>
                <a:gd name="T10" fmla="*/ 96 w 96"/>
                <a:gd name="T11" fmla="*/ 0 h 7"/>
                <a:gd name="T12" fmla="*/ 87 w 96"/>
                <a:gd name="T13" fmla="*/ 0 h 7"/>
                <a:gd name="T14" fmla="*/ 87 w 96"/>
                <a:gd name="T15" fmla="*/ 1 h 7"/>
                <a:gd name="T16" fmla="*/ 96 w 96"/>
                <a:gd name="T17" fmla="*/ 1 h 7"/>
                <a:gd name="T18" fmla="*/ 96 w 96"/>
                <a:gd name="T19" fmla="*/ 7 h 7"/>
                <a:gd name="T20" fmla="*/ 96 w 96"/>
                <a:gd name="T21" fmla="*/ 7 h 7"/>
                <a:gd name="T22" fmla="*/ 96 w 96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7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96" y="0"/>
                  </a:moveTo>
                  <a:cubicBezTo>
                    <a:pt x="96" y="0"/>
                    <a:pt x="93" y="0"/>
                    <a:pt x="87" y="0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92" y="1"/>
                    <a:pt x="96" y="1"/>
                    <a:pt x="96" y="1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0"/>
                    <a:pt x="96" y="0"/>
                    <a:pt x="9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ṥḷídê">
              <a:extLst>
                <a:ext uri="{FF2B5EF4-FFF2-40B4-BE49-F238E27FC236}">
                  <a16:creationId xmlns:a16="http://schemas.microsoft.com/office/drawing/2014/main" id="{7379A279-2163-4A67-93B0-F6B2AE3B00AB}"/>
                </a:ext>
              </a:extLst>
            </p:cNvPr>
            <p:cNvSpPr/>
            <p:nvPr/>
          </p:nvSpPr>
          <p:spPr bwMode="auto">
            <a:xfrm>
              <a:off x="6620230" y="4606296"/>
              <a:ext cx="24966" cy="3567"/>
            </a:xfrm>
            <a:custGeom>
              <a:avLst/>
              <a:gdLst>
                <a:gd name="T0" fmla="*/ 15 w 15"/>
                <a:gd name="T1" fmla="*/ 0 h 2"/>
                <a:gd name="T2" fmla="*/ 0 w 15"/>
                <a:gd name="T3" fmla="*/ 1 h 2"/>
                <a:gd name="T4" fmla="*/ 0 w 15"/>
                <a:gd name="T5" fmla="*/ 2 h 2"/>
                <a:gd name="T6" fmla="*/ 15 w 15"/>
                <a:gd name="T7" fmla="*/ 1 h 2"/>
                <a:gd name="T8" fmla="*/ 15 w 1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">
                  <a:moveTo>
                    <a:pt x="15" y="0"/>
                  </a:moveTo>
                  <a:cubicBezTo>
                    <a:pt x="11" y="1"/>
                    <a:pt x="6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6" y="2"/>
                    <a:pt x="11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689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ṩḻiḑè">
              <a:extLst>
                <a:ext uri="{FF2B5EF4-FFF2-40B4-BE49-F238E27FC236}">
                  <a16:creationId xmlns:a16="http://schemas.microsoft.com/office/drawing/2014/main" id="{26A9EB15-2041-4F64-ACEF-5C3DE8D08CCC}"/>
                </a:ext>
              </a:extLst>
            </p:cNvPr>
            <p:cNvSpPr/>
            <p:nvPr/>
          </p:nvSpPr>
          <p:spPr bwMode="auto">
            <a:xfrm>
              <a:off x="6494217" y="4608674"/>
              <a:ext cx="126014" cy="4756"/>
            </a:xfrm>
            <a:custGeom>
              <a:avLst/>
              <a:gdLst>
                <a:gd name="T0" fmla="*/ 72 w 72"/>
                <a:gd name="T1" fmla="*/ 0 h 3"/>
                <a:gd name="T2" fmla="*/ 0 w 72"/>
                <a:gd name="T3" fmla="*/ 2 h 3"/>
                <a:gd name="T4" fmla="*/ 0 w 72"/>
                <a:gd name="T5" fmla="*/ 3 h 3"/>
                <a:gd name="T6" fmla="*/ 72 w 72"/>
                <a:gd name="T7" fmla="*/ 1 h 3"/>
                <a:gd name="T8" fmla="*/ 72 w 7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">
                  <a:moveTo>
                    <a:pt x="72" y="0"/>
                  </a:moveTo>
                  <a:cubicBezTo>
                    <a:pt x="53" y="0"/>
                    <a:pt x="27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7" y="2"/>
                    <a:pt x="53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</a:path>
              </a:pathLst>
            </a:custGeom>
            <a:solidFill>
              <a:srgbClr val="F9C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ṣ1îḓe">
              <a:extLst>
                <a:ext uri="{FF2B5EF4-FFF2-40B4-BE49-F238E27FC236}">
                  <a16:creationId xmlns:a16="http://schemas.microsoft.com/office/drawing/2014/main" id="{AEFCCCE5-3150-4C79-AB40-E2E7329FB01D}"/>
                </a:ext>
              </a:extLst>
            </p:cNvPr>
            <p:cNvSpPr/>
            <p:nvPr/>
          </p:nvSpPr>
          <p:spPr bwMode="auto">
            <a:xfrm>
              <a:off x="6328972" y="4611051"/>
              <a:ext cx="165245" cy="36854"/>
            </a:xfrm>
            <a:custGeom>
              <a:avLst/>
              <a:gdLst>
                <a:gd name="T0" fmla="*/ 56 w 95"/>
                <a:gd name="T1" fmla="*/ 5 h 21"/>
                <a:gd name="T2" fmla="*/ 46 w 95"/>
                <a:gd name="T3" fmla="*/ 5 h 21"/>
                <a:gd name="T4" fmla="*/ 0 w 95"/>
                <a:gd name="T5" fmla="*/ 21 h 21"/>
                <a:gd name="T6" fmla="*/ 56 w 95"/>
                <a:gd name="T7" fmla="*/ 5 h 21"/>
                <a:gd name="T8" fmla="*/ 95 w 95"/>
                <a:gd name="T9" fmla="*/ 0 h 21"/>
                <a:gd name="T10" fmla="*/ 93 w 95"/>
                <a:gd name="T11" fmla="*/ 1 h 21"/>
                <a:gd name="T12" fmla="*/ 93 w 95"/>
                <a:gd name="T13" fmla="*/ 1 h 21"/>
                <a:gd name="T14" fmla="*/ 95 w 95"/>
                <a:gd name="T15" fmla="*/ 1 h 21"/>
                <a:gd name="T16" fmla="*/ 95 w 95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" h="21">
                  <a:moveTo>
                    <a:pt x="56" y="5"/>
                  </a:moveTo>
                  <a:cubicBezTo>
                    <a:pt x="53" y="5"/>
                    <a:pt x="49" y="5"/>
                    <a:pt x="46" y="5"/>
                  </a:cubicBezTo>
                  <a:cubicBezTo>
                    <a:pt x="20" y="8"/>
                    <a:pt x="1" y="13"/>
                    <a:pt x="0" y="21"/>
                  </a:cubicBezTo>
                  <a:cubicBezTo>
                    <a:pt x="2" y="13"/>
                    <a:pt x="26" y="8"/>
                    <a:pt x="56" y="5"/>
                  </a:cubicBezTo>
                  <a:moveTo>
                    <a:pt x="95" y="0"/>
                  </a:moveTo>
                  <a:cubicBezTo>
                    <a:pt x="94" y="1"/>
                    <a:pt x="94" y="1"/>
                    <a:pt x="93" y="1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4" y="1"/>
                    <a:pt x="94" y="1"/>
                    <a:pt x="95" y="1"/>
                  </a:cubicBezTo>
                  <a:cubicBezTo>
                    <a:pt x="95" y="0"/>
                    <a:pt x="95" y="0"/>
                    <a:pt x="95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ṣ1ïďè">
              <a:extLst>
                <a:ext uri="{FF2B5EF4-FFF2-40B4-BE49-F238E27FC236}">
                  <a16:creationId xmlns:a16="http://schemas.microsoft.com/office/drawing/2014/main" id="{B3B92ECD-8469-4F4B-9B67-1385D4B73596}"/>
                </a:ext>
              </a:extLst>
            </p:cNvPr>
            <p:cNvSpPr/>
            <p:nvPr/>
          </p:nvSpPr>
          <p:spPr bwMode="auto">
            <a:xfrm>
              <a:off x="6409811" y="4613428"/>
              <a:ext cx="80839" cy="7132"/>
            </a:xfrm>
            <a:custGeom>
              <a:avLst/>
              <a:gdLst>
                <a:gd name="T0" fmla="*/ 47 w 47"/>
                <a:gd name="T1" fmla="*/ 0 h 4"/>
                <a:gd name="T2" fmla="*/ 0 w 47"/>
                <a:gd name="T3" fmla="*/ 4 h 4"/>
                <a:gd name="T4" fmla="*/ 10 w 47"/>
                <a:gd name="T5" fmla="*/ 4 h 4"/>
                <a:gd name="T6" fmla="*/ 47 w 47"/>
                <a:gd name="T7" fmla="*/ 0 h 4"/>
                <a:gd name="T8" fmla="*/ 47 w 4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">
                  <a:moveTo>
                    <a:pt x="47" y="0"/>
                  </a:moveTo>
                  <a:cubicBezTo>
                    <a:pt x="31" y="1"/>
                    <a:pt x="14" y="2"/>
                    <a:pt x="0" y="4"/>
                  </a:cubicBezTo>
                  <a:cubicBezTo>
                    <a:pt x="3" y="4"/>
                    <a:pt x="7" y="4"/>
                    <a:pt x="10" y="4"/>
                  </a:cubicBezTo>
                  <a:cubicBezTo>
                    <a:pt x="21" y="2"/>
                    <a:pt x="34" y="1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</a:path>
              </a:pathLst>
            </a:custGeom>
            <a:solidFill>
              <a:srgbClr val="747C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śľidé">
              <a:extLst>
                <a:ext uri="{FF2B5EF4-FFF2-40B4-BE49-F238E27FC236}">
                  <a16:creationId xmlns:a16="http://schemas.microsoft.com/office/drawing/2014/main" id="{2B072DC5-AA75-4CE1-9627-BFE59278CC16}"/>
                </a:ext>
              </a:extLst>
            </p:cNvPr>
            <p:cNvSpPr/>
            <p:nvPr/>
          </p:nvSpPr>
          <p:spPr bwMode="auto">
            <a:xfrm>
              <a:off x="6328972" y="4608674"/>
              <a:ext cx="332866" cy="92727"/>
            </a:xfrm>
            <a:custGeom>
              <a:avLst/>
              <a:gdLst>
                <a:gd name="T0" fmla="*/ 191 w 191"/>
                <a:gd name="T1" fmla="*/ 0 h 54"/>
                <a:gd name="T2" fmla="*/ 182 w 191"/>
                <a:gd name="T3" fmla="*/ 0 h 54"/>
                <a:gd name="T4" fmla="*/ 167 w 191"/>
                <a:gd name="T5" fmla="*/ 1 h 54"/>
                <a:gd name="T6" fmla="*/ 95 w 191"/>
                <a:gd name="T7" fmla="*/ 3 h 54"/>
                <a:gd name="T8" fmla="*/ 95 w 191"/>
                <a:gd name="T9" fmla="*/ 3 h 54"/>
                <a:gd name="T10" fmla="*/ 93 w 191"/>
                <a:gd name="T11" fmla="*/ 3 h 54"/>
                <a:gd name="T12" fmla="*/ 56 w 191"/>
                <a:gd name="T13" fmla="*/ 7 h 54"/>
                <a:gd name="T14" fmla="*/ 0 w 191"/>
                <a:gd name="T15" fmla="*/ 23 h 54"/>
                <a:gd name="T16" fmla="*/ 0 w 191"/>
                <a:gd name="T17" fmla="*/ 23 h 54"/>
                <a:gd name="T18" fmla="*/ 15 w 191"/>
                <a:gd name="T19" fmla="*/ 54 h 54"/>
                <a:gd name="T20" fmla="*/ 6 w 191"/>
                <a:gd name="T21" fmla="*/ 30 h 54"/>
                <a:gd name="T22" fmla="*/ 191 w 191"/>
                <a:gd name="T23" fmla="*/ 6 h 54"/>
                <a:gd name="T24" fmla="*/ 191 w 191"/>
                <a:gd name="T25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1" h="54">
                  <a:moveTo>
                    <a:pt x="191" y="0"/>
                  </a:moveTo>
                  <a:cubicBezTo>
                    <a:pt x="191" y="0"/>
                    <a:pt x="187" y="0"/>
                    <a:pt x="182" y="0"/>
                  </a:cubicBezTo>
                  <a:cubicBezTo>
                    <a:pt x="178" y="0"/>
                    <a:pt x="173" y="1"/>
                    <a:pt x="167" y="1"/>
                  </a:cubicBezTo>
                  <a:cubicBezTo>
                    <a:pt x="148" y="1"/>
                    <a:pt x="122" y="2"/>
                    <a:pt x="95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4" y="3"/>
                    <a:pt x="94" y="3"/>
                    <a:pt x="93" y="3"/>
                  </a:cubicBezTo>
                  <a:cubicBezTo>
                    <a:pt x="80" y="4"/>
                    <a:pt x="67" y="5"/>
                    <a:pt x="56" y="7"/>
                  </a:cubicBezTo>
                  <a:cubicBezTo>
                    <a:pt x="26" y="10"/>
                    <a:pt x="2" y="15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5"/>
                    <a:pt x="6" y="46"/>
                    <a:pt x="15" y="54"/>
                  </a:cubicBezTo>
                  <a:cubicBezTo>
                    <a:pt x="9" y="47"/>
                    <a:pt x="6" y="39"/>
                    <a:pt x="6" y="30"/>
                  </a:cubicBezTo>
                  <a:cubicBezTo>
                    <a:pt x="6" y="9"/>
                    <a:pt x="157" y="6"/>
                    <a:pt x="191" y="6"/>
                  </a:cubicBezTo>
                  <a:cubicBezTo>
                    <a:pt x="191" y="0"/>
                    <a:pt x="191" y="0"/>
                    <a:pt x="191" y="0"/>
                  </a:cubicBezTo>
                </a:path>
              </a:pathLst>
            </a:custGeom>
            <a:solidFill>
              <a:srgbClr val="51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şľîḍè">
              <a:extLst>
                <a:ext uri="{FF2B5EF4-FFF2-40B4-BE49-F238E27FC236}">
                  <a16:creationId xmlns:a16="http://schemas.microsoft.com/office/drawing/2014/main" id="{DBA9450F-4DF2-431D-9E87-2441B27E3845}"/>
                </a:ext>
              </a:extLst>
            </p:cNvPr>
            <p:cNvSpPr/>
            <p:nvPr/>
          </p:nvSpPr>
          <p:spPr bwMode="auto">
            <a:xfrm>
              <a:off x="4454220" y="3750353"/>
              <a:ext cx="2753283" cy="1972236"/>
            </a:xfrm>
            <a:custGeom>
              <a:avLst/>
              <a:gdLst>
                <a:gd name="T0" fmla="*/ 0 w 2316"/>
                <a:gd name="T1" fmla="*/ 386 h 1659"/>
                <a:gd name="T2" fmla="*/ 0 w 2316"/>
                <a:gd name="T3" fmla="*/ 1659 h 1659"/>
                <a:gd name="T4" fmla="*/ 2251 w 2316"/>
                <a:gd name="T5" fmla="*/ 1659 h 1659"/>
                <a:gd name="T6" fmla="*/ 2251 w 2316"/>
                <a:gd name="T7" fmla="*/ 0 h 1659"/>
                <a:gd name="T8" fmla="*/ 2316 w 2316"/>
                <a:gd name="T9" fmla="*/ 0 h 1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6" h="1659">
                  <a:moveTo>
                    <a:pt x="0" y="386"/>
                  </a:moveTo>
                  <a:lnTo>
                    <a:pt x="0" y="1659"/>
                  </a:lnTo>
                  <a:lnTo>
                    <a:pt x="2251" y="1659"/>
                  </a:lnTo>
                  <a:lnTo>
                    <a:pt x="2251" y="0"/>
                  </a:lnTo>
                  <a:lnTo>
                    <a:pt x="2316" y="0"/>
                  </a:lnTo>
                </a:path>
              </a:pathLst>
            </a:custGeom>
            <a:noFill/>
            <a:ln w="28575" cap="flat">
              <a:solidFill>
                <a:srgbClr val="4748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ṣḻîďè">
              <a:extLst>
                <a:ext uri="{FF2B5EF4-FFF2-40B4-BE49-F238E27FC236}">
                  <a16:creationId xmlns:a16="http://schemas.microsoft.com/office/drawing/2014/main" id="{87E60140-C3FD-4A56-BDBA-D5465F3E3DA1}"/>
                </a:ext>
              </a:extLst>
            </p:cNvPr>
            <p:cNvSpPr/>
            <p:nvPr/>
          </p:nvSpPr>
          <p:spPr bwMode="auto">
            <a:xfrm>
              <a:off x="3431492" y="1218950"/>
              <a:ext cx="2118207" cy="29884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ṥļïḍe">
              <a:extLst>
                <a:ext uri="{FF2B5EF4-FFF2-40B4-BE49-F238E27FC236}">
                  <a16:creationId xmlns:a16="http://schemas.microsoft.com/office/drawing/2014/main" id="{3CB8BBDD-D10C-4944-88A2-F78997498FC4}"/>
                </a:ext>
              </a:extLst>
            </p:cNvPr>
            <p:cNvSpPr/>
            <p:nvPr/>
          </p:nvSpPr>
          <p:spPr bwMode="auto">
            <a:xfrm>
              <a:off x="3431492" y="1218950"/>
              <a:ext cx="2118207" cy="29884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ṧ1iḓè">
              <a:extLst>
                <a:ext uri="{FF2B5EF4-FFF2-40B4-BE49-F238E27FC236}">
                  <a16:creationId xmlns:a16="http://schemas.microsoft.com/office/drawing/2014/main" id="{0102F56F-D2CA-4BC4-A7CA-8FC18A0B37DF}"/>
                </a:ext>
              </a:extLst>
            </p:cNvPr>
            <p:cNvSpPr/>
            <p:nvPr/>
          </p:nvSpPr>
          <p:spPr bwMode="auto">
            <a:xfrm>
              <a:off x="3330758" y="1218950"/>
              <a:ext cx="100734" cy="298843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śḷídê">
              <a:extLst>
                <a:ext uri="{FF2B5EF4-FFF2-40B4-BE49-F238E27FC236}">
                  <a16:creationId xmlns:a16="http://schemas.microsoft.com/office/drawing/2014/main" id="{C58ECA14-C19F-486C-8E3E-F4F39A54752A}"/>
                </a:ext>
              </a:extLst>
            </p:cNvPr>
            <p:cNvSpPr/>
            <p:nvPr/>
          </p:nvSpPr>
          <p:spPr bwMode="auto">
            <a:xfrm>
              <a:off x="3781262" y="3433693"/>
              <a:ext cx="1420067" cy="34977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$ľíḋé">
              <a:extLst>
                <a:ext uri="{FF2B5EF4-FFF2-40B4-BE49-F238E27FC236}">
                  <a16:creationId xmlns:a16="http://schemas.microsoft.com/office/drawing/2014/main" id="{AE0FA14F-F3CB-49C2-AA16-5F13343B8C4F}"/>
                </a:ext>
              </a:extLst>
            </p:cNvPr>
            <p:cNvSpPr/>
            <p:nvPr/>
          </p:nvSpPr>
          <p:spPr bwMode="auto">
            <a:xfrm>
              <a:off x="3781262" y="3569406"/>
              <a:ext cx="1420067" cy="36376"/>
            </a:xfrm>
            <a:prstGeom prst="rect">
              <a:avLst/>
            </a:prstGeom>
            <a:solidFill>
              <a:srgbClr val="69F0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ṧlîḓe">
              <a:extLst>
                <a:ext uri="{FF2B5EF4-FFF2-40B4-BE49-F238E27FC236}">
                  <a16:creationId xmlns:a16="http://schemas.microsoft.com/office/drawing/2014/main" id="{9B5661AE-772C-43D1-9072-6ED7799A5F37}"/>
                </a:ext>
              </a:extLst>
            </p:cNvPr>
            <p:cNvSpPr/>
            <p:nvPr/>
          </p:nvSpPr>
          <p:spPr bwMode="auto">
            <a:xfrm>
              <a:off x="3781262" y="3705116"/>
              <a:ext cx="1420067" cy="36376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ṥļîďè">
              <a:extLst>
                <a:ext uri="{FF2B5EF4-FFF2-40B4-BE49-F238E27FC236}">
                  <a16:creationId xmlns:a16="http://schemas.microsoft.com/office/drawing/2014/main" id="{7D6889EE-D5CE-4042-86AF-6F74E51E5820}"/>
                </a:ext>
              </a:extLst>
            </p:cNvPr>
            <p:cNvSpPr/>
            <p:nvPr/>
          </p:nvSpPr>
          <p:spPr bwMode="auto">
            <a:xfrm>
              <a:off x="3781262" y="3840826"/>
              <a:ext cx="1420067" cy="36376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ṩḻíḍè">
              <a:extLst>
                <a:ext uri="{FF2B5EF4-FFF2-40B4-BE49-F238E27FC236}">
                  <a16:creationId xmlns:a16="http://schemas.microsoft.com/office/drawing/2014/main" id="{2D7EE366-1BDC-4B8C-98A6-32797943538E}"/>
                </a:ext>
              </a:extLst>
            </p:cNvPr>
            <p:cNvSpPr/>
            <p:nvPr/>
          </p:nvSpPr>
          <p:spPr bwMode="auto">
            <a:xfrm>
              <a:off x="3781262" y="3976537"/>
              <a:ext cx="1420067" cy="36376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ṥliďe">
              <a:extLst>
                <a:ext uri="{FF2B5EF4-FFF2-40B4-BE49-F238E27FC236}">
                  <a16:creationId xmlns:a16="http://schemas.microsoft.com/office/drawing/2014/main" id="{DF0D5B19-35A8-4FA0-8883-815AA98D04EF}"/>
                </a:ext>
              </a:extLst>
            </p:cNvPr>
            <p:cNvSpPr/>
            <p:nvPr/>
          </p:nvSpPr>
          <p:spPr bwMode="auto">
            <a:xfrm>
              <a:off x="3809244" y="1460992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ṥļiḋê">
              <a:extLst>
                <a:ext uri="{FF2B5EF4-FFF2-40B4-BE49-F238E27FC236}">
                  <a16:creationId xmlns:a16="http://schemas.microsoft.com/office/drawing/2014/main" id="{61F58896-3CC9-4EF6-99E3-7255D22C6754}"/>
                </a:ext>
              </a:extLst>
            </p:cNvPr>
            <p:cNvSpPr/>
            <p:nvPr/>
          </p:nvSpPr>
          <p:spPr bwMode="auto">
            <a:xfrm>
              <a:off x="4080666" y="1868124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ṣliḓé">
              <a:extLst>
                <a:ext uri="{FF2B5EF4-FFF2-40B4-BE49-F238E27FC236}">
                  <a16:creationId xmlns:a16="http://schemas.microsoft.com/office/drawing/2014/main" id="{8CFE56D2-FF1B-4B2A-B6DA-4BAF9BA17165}"/>
                </a:ext>
              </a:extLst>
            </p:cNvPr>
            <p:cNvSpPr/>
            <p:nvPr/>
          </p:nvSpPr>
          <p:spPr bwMode="auto">
            <a:xfrm>
              <a:off x="4359082" y="1460992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1idè">
              <a:extLst>
                <a:ext uri="{FF2B5EF4-FFF2-40B4-BE49-F238E27FC236}">
                  <a16:creationId xmlns:a16="http://schemas.microsoft.com/office/drawing/2014/main" id="{4BAE89C6-6638-4B52-A367-F936A93768F7}"/>
                </a:ext>
              </a:extLst>
            </p:cNvPr>
            <p:cNvSpPr/>
            <p:nvPr/>
          </p:nvSpPr>
          <p:spPr bwMode="auto">
            <a:xfrm>
              <a:off x="4696260" y="1868124"/>
              <a:ext cx="443509" cy="442109"/>
            </a:xfrm>
            <a:custGeom>
              <a:avLst/>
              <a:gdLst>
                <a:gd name="T0" fmla="*/ 299 w 300"/>
                <a:gd name="T1" fmla="*/ 163 h 299"/>
                <a:gd name="T2" fmla="*/ 300 w 300"/>
                <a:gd name="T3" fmla="*/ 149 h 299"/>
                <a:gd name="T4" fmla="*/ 294 w 300"/>
                <a:gd name="T5" fmla="*/ 108 h 299"/>
                <a:gd name="T6" fmla="*/ 277 w 300"/>
                <a:gd name="T7" fmla="*/ 109 h 299"/>
                <a:gd name="T8" fmla="*/ 269 w 300"/>
                <a:gd name="T9" fmla="*/ 87 h 299"/>
                <a:gd name="T10" fmla="*/ 280 w 300"/>
                <a:gd name="T11" fmla="*/ 75 h 299"/>
                <a:gd name="T12" fmla="*/ 244 w 300"/>
                <a:gd name="T13" fmla="*/ 33 h 299"/>
                <a:gd name="T14" fmla="*/ 231 w 300"/>
                <a:gd name="T15" fmla="*/ 43 h 299"/>
                <a:gd name="T16" fmla="*/ 212 w 300"/>
                <a:gd name="T17" fmla="*/ 30 h 299"/>
                <a:gd name="T18" fmla="*/ 214 w 300"/>
                <a:gd name="T19" fmla="*/ 14 h 299"/>
                <a:gd name="T20" fmla="*/ 161 w 300"/>
                <a:gd name="T21" fmla="*/ 0 h 299"/>
                <a:gd name="T22" fmla="*/ 156 w 300"/>
                <a:gd name="T23" fmla="*/ 16 h 299"/>
                <a:gd name="T24" fmla="*/ 132 w 300"/>
                <a:gd name="T25" fmla="*/ 16 h 299"/>
                <a:gd name="T26" fmla="*/ 125 w 300"/>
                <a:gd name="T27" fmla="*/ 2 h 299"/>
                <a:gd name="T28" fmla="*/ 52 w 300"/>
                <a:gd name="T29" fmla="*/ 36 h 299"/>
                <a:gd name="T30" fmla="*/ 60 w 300"/>
                <a:gd name="T31" fmla="*/ 51 h 299"/>
                <a:gd name="T32" fmla="*/ 44 w 300"/>
                <a:gd name="T33" fmla="*/ 68 h 299"/>
                <a:gd name="T34" fmla="*/ 28 w 300"/>
                <a:gd name="T35" fmla="*/ 63 h 299"/>
                <a:gd name="T36" fmla="*/ 5 w 300"/>
                <a:gd name="T37" fmla="*/ 113 h 299"/>
                <a:gd name="T38" fmla="*/ 20 w 300"/>
                <a:gd name="T39" fmla="*/ 121 h 299"/>
                <a:gd name="T40" fmla="*/ 16 w 300"/>
                <a:gd name="T41" fmla="*/ 144 h 299"/>
                <a:gd name="T42" fmla="*/ 0 w 300"/>
                <a:gd name="T43" fmla="*/ 149 h 299"/>
                <a:gd name="T44" fmla="*/ 0 w 300"/>
                <a:gd name="T45" fmla="*/ 149 h 299"/>
                <a:gd name="T46" fmla="*/ 10 w 300"/>
                <a:gd name="T47" fmla="*/ 203 h 299"/>
                <a:gd name="T48" fmla="*/ 27 w 300"/>
                <a:gd name="T49" fmla="*/ 200 h 299"/>
                <a:gd name="T50" fmla="*/ 37 w 300"/>
                <a:gd name="T51" fmla="*/ 221 h 299"/>
                <a:gd name="T52" fmla="*/ 27 w 300"/>
                <a:gd name="T53" fmla="*/ 235 h 299"/>
                <a:gd name="T54" fmla="*/ 66 w 300"/>
                <a:gd name="T55" fmla="*/ 273 h 299"/>
                <a:gd name="T56" fmla="*/ 79 w 300"/>
                <a:gd name="T57" fmla="*/ 261 h 299"/>
                <a:gd name="T58" fmla="*/ 99 w 300"/>
                <a:gd name="T59" fmla="*/ 273 h 299"/>
                <a:gd name="T60" fmla="*/ 98 w 300"/>
                <a:gd name="T61" fmla="*/ 290 h 299"/>
                <a:gd name="T62" fmla="*/ 150 w 300"/>
                <a:gd name="T63" fmla="*/ 299 h 299"/>
                <a:gd name="T64" fmla="*/ 153 w 300"/>
                <a:gd name="T65" fmla="*/ 299 h 299"/>
                <a:gd name="T66" fmla="*/ 156 w 300"/>
                <a:gd name="T67" fmla="*/ 282 h 299"/>
                <a:gd name="T68" fmla="*/ 179 w 300"/>
                <a:gd name="T69" fmla="*/ 280 h 299"/>
                <a:gd name="T70" fmla="*/ 188 w 300"/>
                <a:gd name="T71" fmla="*/ 294 h 299"/>
                <a:gd name="T72" fmla="*/ 238 w 300"/>
                <a:gd name="T73" fmla="*/ 270 h 299"/>
                <a:gd name="T74" fmla="*/ 231 w 300"/>
                <a:gd name="T75" fmla="*/ 254 h 299"/>
                <a:gd name="T76" fmla="*/ 249 w 300"/>
                <a:gd name="T77" fmla="*/ 239 h 299"/>
                <a:gd name="T78" fmla="*/ 264 w 300"/>
                <a:gd name="T79" fmla="*/ 246 h 299"/>
                <a:gd name="T80" fmla="*/ 292 w 300"/>
                <a:gd name="T81" fmla="*/ 198 h 299"/>
                <a:gd name="T82" fmla="*/ 277 w 300"/>
                <a:gd name="T83" fmla="*/ 189 h 299"/>
                <a:gd name="T84" fmla="*/ 283 w 300"/>
                <a:gd name="T85" fmla="*/ 166 h 299"/>
                <a:gd name="T86" fmla="*/ 299 w 300"/>
                <a:gd name="T87" fmla="*/ 163 h 299"/>
                <a:gd name="T88" fmla="*/ 150 w 300"/>
                <a:gd name="T89" fmla="*/ 261 h 299"/>
                <a:gd name="T90" fmla="*/ 38 w 300"/>
                <a:gd name="T91" fmla="*/ 149 h 299"/>
                <a:gd name="T92" fmla="*/ 150 w 300"/>
                <a:gd name="T93" fmla="*/ 37 h 299"/>
                <a:gd name="T94" fmla="*/ 262 w 300"/>
                <a:gd name="T95" fmla="*/ 149 h 299"/>
                <a:gd name="T96" fmla="*/ 150 w 300"/>
                <a:gd name="T97" fmla="*/ 26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0" h="299">
                  <a:moveTo>
                    <a:pt x="299" y="163"/>
                  </a:moveTo>
                  <a:cubicBezTo>
                    <a:pt x="300" y="158"/>
                    <a:pt x="300" y="154"/>
                    <a:pt x="300" y="149"/>
                  </a:cubicBezTo>
                  <a:cubicBezTo>
                    <a:pt x="300" y="135"/>
                    <a:pt x="298" y="121"/>
                    <a:pt x="294" y="108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71" y="59"/>
                    <a:pt x="259" y="44"/>
                    <a:pt x="244" y="33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197" y="6"/>
                    <a:pt x="179" y="1"/>
                    <a:pt x="161" y="0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98" y="6"/>
                    <a:pt x="73" y="18"/>
                    <a:pt x="52" y="3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17" y="78"/>
                    <a:pt x="9" y="95"/>
                    <a:pt x="5" y="11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7"/>
                    <a:pt x="4" y="186"/>
                    <a:pt x="10" y="203"/>
                  </a:cubicBezTo>
                  <a:cubicBezTo>
                    <a:pt x="27" y="200"/>
                    <a:pt x="27" y="200"/>
                    <a:pt x="27" y="200"/>
                  </a:cubicBezTo>
                  <a:cubicBezTo>
                    <a:pt x="37" y="221"/>
                    <a:pt x="37" y="221"/>
                    <a:pt x="37" y="221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38" y="250"/>
                    <a:pt x="51" y="263"/>
                    <a:pt x="66" y="273"/>
                  </a:cubicBezTo>
                  <a:cubicBezTo>
                    <a:pt x="79" y="261"/>
                    <a:pt x="79" y="261"/>
                    <a:pt x="79" y="261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115" y="296"/>
                    <a:pt x="132" y="299"/>
                    <a:pt x="150" y="299"/>
                  </a:cubicBezTo>
                  <a:cubicBezTo>
                    <a:pt x="153" y="299"/>
                    <a:pt x="153" y="299"/>
                    <a:pt x="153" y="299"/>
                  </a:cubicBezTo>
                  <a:cubicBezTo>
                    <a:pt x="156" y="282"/>
                    <a:pt x="156" y="282"/>
                    <a:pt x="156" y="282"/>
                  </a:cubicBezTo>
                  <a:cubicBezTo>
                    <a:pt x="179" y="280"/>
                    <a:pt x="179" y="280"/>
                    <a:pt x="179" y="280"/>
                  </a:cubicBezTo>
                  <a:cubicBezTo>
                    <a:pt x="188" y="294"/>
                    <a:pt x="188" y="294"/>
                    <a:pt x="188" y="294"/>
                  </a:cubicBezTo>
                  <a:cubicBezTo>
                    <a:pt x="206" y="289"/>
                    <a:pt x="223" y="281"/>
                    <a:pt x="238" y="270"/>
                  </a:cubicBezTo>
                  <a:cubicBezTo>
                    <a:pt x="231" y="254"/>
                    <a:pt x="231" y="254"/>
                    <a:pt x="231" y="254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64" y="246"/>
                    <a:pt x="264" y="246"/>
                    <a:pt x="264" y="246"/>
                  </a:cubicBezTo>
                  <a:cubicBezTo>
                    <a:pt x="276" y="232"/>
                    <a:pt x="286" y="215"/>
                    <a:pt x="292" y="198"/>
                  </a:cubicBezTo>
                  <a:cubicBezTo>
                    <a:pt x="277" y="189"/>
                    <a:pt x="277" y="189"/>
                    <a:pt x="277" y="189"/>
                  </a:cubicBezTo>
                  <a:cubicBezTo>
                    <a:pt x="283" y="166"/>
                    <a:pt x="283" y="166"/>
                    <a:pt x="283" y="166"/>
                  </a:cubicBezTo>
                  <a:lnTo>
                    <a:pt x="299" y="163"/>
                  </a:lnTo>
                  <a:close/>
                  <a:moveTo>
                    <a:pt x="150" y="261"/>
                  </a:moveTo>
                  <a:cubicBezTo>
                    <a:pt x="88" y="261"/>
                    <a:pt x="38" y="211"/>
                    <a:pt x="38" y="149"/>
                  </a:cubicBezTo>
                  <a:cubicBezTo>
                    <a:pt x="38" y="87"/>
                    <a:pt x="88" y="37"/>
                    <a:pt x="150" y="37"/>
                  </a:cubicBezTo>
                  <a:cubicBezTo>
                    <a:pt x="212" y="37"/>
                    <a:pt x="262" y="87"/>
                    <a:pt x="262" y="149"/>
                  </a:cubicBezTo>
                  <a:cubicBezTo>
                    <a:pt x="262" y="211"/>
                    <a:pt x="212" y="261"/>
                    <a:pt x="150" y="261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sľíḍé">
              <a:extLst>
                <a:ext uri="{FF2B5EF4-FFF2-40B4-BE49-F238E27FC236}">
                  <a16:creationId xmlns:a16="http://schemas.microsoft.com/office/drawing/2014/main" id="{415EB404-7B7D-48BD-8D22-23EBC168F7D5}"/>
                </a:ext>
              </a:extLst>
            </p:cNvPr>
            <p:cNvSpPr/>
            <p:nvPr/>
          </p:nvSpPr>
          <p:spPr bwMode="auto">
            <a:xfrm>
              <a:off x="3922569" y="2742549"/>
              <a:ext cx="1775434" cy="419724"/>
            </a:xfrm>
            <a:prstGeom prst="rect">
              <a:avLst/>
            </a:pr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Sḷiḓé">
              <a:extLst>
                <a:ext uri="{FF2B5EF4-FFF2-40B4-BE49-F238E27FC236}">
                  <a16:creationId xmlns:a16="http://schemas.microsoft.com/office/drawing/2014/main" id="{5D1BB6DE-0EF8-4557-95BE-3E5B3CBF983D}"/>
                </a:ext>
              </a:extLst>
            </p:cNvPr>
            <p:cNvSpPr/>
            <p:nvPr/>
          </p:nvSpPr>
          <p:spPr bwMode="auto">
            <a:xfrm>
              <a:off x="3922569" y="2742549"/>
              <a:ext cx="1775434" cy="4197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şḻiďe">
              <a:extLst>
                <a:ext uri="{FF2B5EF4-FFF2-40B4-BE49-F238E27FC236}">
                  <a16:creationId xmlns:a16="http://schemas.microsoft.com/office/drawing/2014/main" id="{5FEB5D23-9E33-4A0A-BC60-5F19EABE7E94}"/>
                </a:ext>
              </a:extLst>
            </p:cNvPr>
            <p:cNvSpPr/>
            <p:nvPr/>
          </p:nvSpPr>
          <p:spPr bwMode="auto">
            <a:xfrm>
              <a:off x="4395458" y="2843283"/>
              <a:ext cx="521858" cy="237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şlïḍe">
              <a:extLst>
                <a:ext uri="{FF2B5EF4-FFF2-40B4-BE49-F238E27FC236}">
                  <a16:creationId xmlns:a16="http://schemas.microsoft.com/office/drawing/2014/main" id="{67E2E0A7-77AB-47ED-9519-7DDAA6F93CC8}"/>
                </a:ext>
              </a:extLst>
            </p:cNvPr>
            <p:cNvSpPr/>
            <p:nvPr/>
          </p:nvSpPr>
          <p:spPr bwMode="auto">
            <a:xfrm>
              <a:off x="4395458" y="2896448"/>
              <a:ext cx="521858" cy="23784"/>
            </a:xfrm>
            <a:prstGeom prst="rect">
              <a:avLst/>
            </a:pr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ŝḷiḑè">
              <a:extLst>
                <a:ext uri="{FF2B5EF4-FFF2-40B4-BE49-F238E27FC236}">
                  <a16:creationId xmlns:a16="http://schemas.microsoft.com/office/drawing/2014/main" id="{C6411E3B-86D4-4BEE-90B2-259739E5586E}"/>
                </a:ext>
              </a:extLst>
            </p:cNvPr>
            <p:cNvSpPr/>
            <p:nvPr/>
          </p:nvSpPr>
          <p:spPr bwMode="auto">
            <a:xfrm>
              <a:off x="4395458" y="2896448"/>
              <a:ext cx="521858" cy="23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ṡļïḍé">
              <a:extLst>
                <a:ext uri="{FF2B5EF4-FFF2-40B4-BE49-F238E27FC236}">
                  <a16:creationId xmlns:a16="http://schemas.microsoft.com/office/drawing/2014/main" id="{49F929E4-778A-48DF-A1B5-904855C30C97}"/>
                </a:ext>
              </a:extLst>
            </p:cNvPr>
            <p:cNvSpPr/>
            <p:nvPr/>
          </p:nvSpPr>
          <p:spPr bwMode="auto">
            <a:xfrm>
              <a:off x="4395458" y="2984590"/>
              <a:ext cx="1018531" cy="2378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ṩ1ïḋe">
              <a:extLst>
                <a:ext uri="{FF2B5EF4-FFF2-40B4-BE49-F238E27FC236}">
                  <a16:creationId xmlns:a16="http://schemas.microsoft.com/office/drawing/2014/main" id="{59EE7930-5FFB-4532-9379-E29764ACF2B9}"/>
                </a:ext>
              </a:extLst>
            </p:cNvPr>
            <p:cNvSpPr/>
            <p:nvPr/>
          </p:nvSpPr>
          <p:spPr bwMode="auto">
            <a:xfrm>
              <a:off x="4012110" y="2837686"/>
              <a:ext cx="223853" cy="223853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Sḻíḓê">
              <a:extLst>
                <a:ext uri="{FF2B5EF4-FFF2-40B4-BE49-F238E27FC236}">
                  <a16:creationId xmlns:a16="http://schemas.microsoft.com/office/drawing/2014/main" id="{7F9DAFB1-BED9-4715-AFD5-AB1F7B4C729C}"/>
                </a:ext>
              </a:extLst>
            </p:cNvPr>
            <p:cNvSpPr/>
            <p:nvPr/>
          </p:nvSpPr>
          <p:spPr bwMode="auto">
            <a:xfrm>
              <a:off x="4012110" y="2837686"/>
              <a:ext cx="223853" cy="22385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98" name="ïṣḻïḑe">
              <a:extLst>
                <a:ext uri="{FF2B5EF4-FFF2-40B4-BE49-F238E27FC236}">
                  <a16:creationId xmlns:a16="http://schemas.microsoft.com/office/drawing/2014/main" id="{8DEBB854-6F55-4009-8A97-0CB1ACDB03FB}"/>
                </a:ext>
              </a:extLst>
            </p:cNvPr>
            <p:cNvGrpSpPr/>
            <p:nvPr/>
          </p:nvGrpSpPr>
          <p:grpSpPr>
            <a:xfrm>
              <a:off x="3641354" y="1433853"/>
              <a:ext cx="849241" cy="839788"/>
              <a:chOff x="2928938" y="714375"/>
              <a:chExt cx="963612" cy="839788"/>
            </a:xfrm>
          </p:grpSpPr>
          <p:cxnSp>
            <p:nvCxnSpPr>
              <p:cNvPr id="102" name="直接连接符 101">
                <a:extLst>
                  <a:ext uri="{FF2B5EF4-FFF2-40B4-BE49-F238E27FC236}">
                    <a16:creationId xmlns:a16="http://schemas.microsoft.com/office/drawing/2014/main" id="{8568C648-1FAE-4A39-8298-918EF1FF8A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4375"/>
                <a:ext cx="963612" cy="0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>
                <a:extLst>
                  <a:ext uri="{FF2B5EF4-FFF2-40B4-BE49-F238E27FC236}">
                    <a16:creationId xmlns:a16="http://schemas.microsoft.com/office/drawing/2014/main" id="{779BAD9D-045A-4801-9619-4841A3191C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6756"/>
                <a:ext cx="0" cy="837407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ïṧļiḋé">
              <a:extLst>
                <a:ext uri="{FF2B5EF4-FFF2-40B4-BE49-F238E27FC236}">
                  <a16:creationId xmlns:a16="http://schemas.microsoft.com/office/drawing/2014/main" id="{3B9F39C0-59B2-47B5-956A-4B3AD419FB25}"/>
                </a:ext>
              </a:extLst>
            </p:cNvPr>
            <p:cNvGrpSpPr/>
            <p:nvPr/>
          </p:nvGrpSpPr>
          <p:grpSpPr>
            <a:xfrm flipH="1" flipV="1">
              <a:off x="4444427" y="1500753"/>
              <a:ext cx="849241" cy="839788"/>
              <a:chOff x="2928938" y="714375"/>
              <a:chExt cx="963612" cy="839788"/>
            </a:xfrm>
          </p:grpSpPr>
          <p:cxnSp>
            <p:nvCxnSpPr>
              <p:cNvPr id="100" name="直接连接符 99">
                <a:extLst>
                  <a:ext uri="{FF2B5EF4-FFF2-40B4-BE49-F238E27FC236}">
                    <a16:creationId xmlns:a16="http://schemas.microsoft.com/office/drawing/2014/main" id="{9E8925BC-4216-41D8-9F51-9B6F44B20A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4375"/>
                <a:ext cx="963612" cy="0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>
                <a:extLst>
                  <a:ext uri="{FF2B5EF4-FFF2-40B4-BE49-F238E27FC236}">
                    <a16:creationId xmlns:a16="http://schemas.microsoft.com/office/drawing/2014/main" id="{96DCBD32-A71F-4A85-A3B5-98B2105BA4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28938" y="716756"/>
                <a:ext cx="0" cy="837407"/>
              </a:xfrm>
              <a:prstGeom prst="line">
                <a:avLst/>
              </a:prstGeom>
              <a:ln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4" name="TextBox 6">
            <a:extLst>
              <a:ext uri="{FF2B5EF4-FFF2-40B4-BE49-F238E27FC236}">
                <a16:creationId xmlns:a16="http://schemas.microsoft.com/office/drawing/2014/main" id="{2981605C-796A-4015-9619-FD37E13BC32D}"/>
              </a:ext>
            </a:extLst>
          </p:cNvPr>
          <p:cNvSpPr txBox="1"/>
          <p:nvPr/>
        </p:nvSpPr>
        <p:spPr>
          <a:xfrm>
            <a:off x="1125190" y="2123854"/>
            <a:ext cx="4207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dirty="0">
                <a:latin typeface="张海山锐谐体" panose="02000000000000000000" pitchFamily="2" charset="-122"/>
                <a:ea typeface="张海山锐谐体" panose="02000000000000000000" pitchFamily="2" charset="-122"/>
              </a:rPr>
              <a:t>簡報問題答復四</a:t>
            </a:r>
            <a:endParaRPr lang="id-ID" sz="4400" dirty="0">
              <a:latin typeface="张海山锐谐体" panose="02000000000000000000" pitchFamily="2" charset="-122"/>
              <a:ea typeface="张海山锐谐体" panose="02000000000000000000" pitchFamily="2" charset="-122"/>
            </a:endParaRPr>
          </a:p>
        </p:txBody>
      </p:sp>
      <p:sp>
        <p:nvSpPr>
          <p:cNvPr id="105" name="Rectangle: Rounded Corners 7">
            <a:extLst>
              <a:ext uri="{FF2B5EF4-FFF2-40B4-BE49-F238E27FC236}">
                <a16:creationId xmlns:a16="http://schemas.microsoft.com/office/drawing/2014/main" id="{3BA2DF51-B127-4FDE-8298-F6EC7B2E33A4}"/>
              </a:ext>
            </a:extLst>
          </p:cNvPr>
          <p:cNvSpPr/>
          <p:nvPr/>
        </p:nvSpPr>
        <p:spPr>
          <a:xfrm>
            <a:off x="1252984" y="2080455"/>
            <a:ext cx="347346" cy="36000"/>
          </a:xfrm>
          <a:prstGeom prst="roundRect">
            <a:avLst>
              <a:gd name="adj" fmla="val 6090"/>
            </a:avLst>
          </a:prstGeom>
          <a:solidFill>
            <a:srgbClr val="25E0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tx1"/>
              </a:solidFill>
            </a:endParaRPr>
          </a:p>
        </p:txBody>
      </p:sp>
      <p:sp>
        <p:nvSpPr>
          <p:cNvPr id="106" name="Rectangle 8">
            <a:extLst>
              <a:ext uri="{FF2B5EF4-FFF2-40B4-BE49-F238E27FC236}">
                <a16:creationId xmlns:a16="http://schemas.microsoft.com/office/drawing/2014/main" id="{A7318A95-89CD-44B0-B636-8B4D01CDCEAA}"/>
              </a:ext>
            </a:extLst>
          </p:cNvPr>
          <p:cNvSpPr/>
          <p:nvPr/>
        </p:nvSpPr>
        <p:spPr>
          <a:xfrm>
            <a:off x="1213948" y="3909630"/>
            <a:ext cx="128272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>
                <a:latin typeface="张海山锐线体2.0" panose="02000000000000000000" pitchFamily="2" charset="-122"/>
                <a:cs typeface="Segoe UI Light" panose="020B0502040204020203" pitchFamily="34" charset="0"/>
              </a:rPr>
              <a:t>Question</a:t>
            </a:r>
            <a:r>
              <a:rPr lang="zh-CN" altLang="en-US" sz="1600" dirty="0">
                <a:latin typeface="张海山锐线体2.0" panose="02000000000000000000" pitchFamily="2" charset="-122"/>
                <a:cs typeface="Segoe UI Light" panose="020B0502040204020203" pitchFamily="34" charset="0"/>
              </a:rPr>
              <a:t>：</a:t>
            </a:r>
            <a:endParaRPr lang="en-US" altLang="zh-CN" sz="1600" dirty="0">
              <a:latin typeface="张海山锐线体2.0" panose="02000000000000000000" pitchFamily="2" charset="-122"/>
              <a:cs typeface="Segoe UI Light" panose="020B0502040204020203" pitchFamily="34" charset="0"/>
            </a:endParaRPr>
          </a:p>
        </p:txBody>
      </p:sp>
      <p:cxnSp>
        <p:nvCxnSpPr>
          <p:cNvPr id="109" name="Straight Connector 5">
            <a:extLst>
              <a:ext uri="{FF2B5EF4-FFF2-40B4-BE49-F238E27FC236}">
                <a16:creationId xmlns:a16="http://schemas.microsoft.com/office/drawing/2014/main" id="{3AC255FB-13CF-48C6-9E36-C63405435E6C}"/>
              </a:ext>
            </a:extLst>
          </p:cNvPr>
          <p:cNvCxnSpPr>
            <a:cxnSpLocks/>
          </p:cNvCxnSpPr>
          <p:nvPr/>
        </p:nvCxnSpPr>
        <p:spPr>
          <a:xfrm>
            <a:off x="7979392" y="2370576"/>
            <a:ext cx="309454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A327F6D6-90E6-4DEB-8AFD-387AF9116A07}"/>
              </a:ext>
            </a:extLst>
          </p:cNvPr>
          <p:cNvSpPr txBox="1"/>
          <p:nvPr/>
        </p:nvSpPr>
        <p:spPr>
          <a:xfrm>
            <a:off x="1213948" y="4467143"/>
            <a:ext cx="51482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判讀的手語詞庫可以實際用於哪些情境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2570471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6" presetClass="entr" presetSubtype="37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4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/>
      <p:bldP spid="105" grpId="0" animBg="1"/>
      <p:bldP spid="10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5">
            <a:extLst>
              <a:ext uri="{FF2B5EF4-FFF2-40B4-BE49-F238E27FC236}">
                <a16:creationId xmlns:a16="http://schemas.microsoft.com/office/drawing/2014/main" id="{D19A76A4-A235-4168-9CEB-2E7E39A3492E}"/>
              </a:ext>
            </a:extLst>
          </p:cNvPr>
          <p:cNvSpPr/>
          <p:nvPr/>
        </p:nvSpPr>
        <p:spPr>
          <a:xfrm flipV="1">
            <a:off x="1" y="0"/>
            <a:ext cx="13285693" cy="9620250"/>
          </a:xfrm>
          <a:custGeom>
            <a:avLst/>
            <a:gdLst>
              <a:gd name="connsiteX0" fmla="*/ 0 w 3983598"/>
              <a:gd name="connsiteY0" fmla="*/ 0 h 6286500"/>
              <a:gd name="connsiteX1" fmla="*/ 3983598 w 3983598"/>
              <a:gd name="connsiteY1" fmla="*/ 0 h 6286500"/>
              <a:gd name="connsiteX2" fmla="*/ 3983598 w 3983598"/>
              <a:gd name="connsiteY2" fmla="*/ 6286500 h 6286500"/>
              <a:gd name="connsiteX3" fmla="*/ 0 w 3983598"/>
              <a:gd name="connsiteY3" fmla="*/ 6286500 h 6286500"/>
              <a:gd name="connsiteX4" fmla="*/ 0 w 3983598"/>
              <a:gd name="connsiteY4" fmla="*/ 0 h 6286500"/>
              <a:gd name="connsiteX0" fmla="*/ 0 w 6498198"/>
              <a:gd name="connsiteY0" fmla="*/ 8538 h 6295038"/>
              <a:gd name="connsiteX1" fmla="*/ 3983598 w 6498198"/>
              <a:gd name="connsiteY1" fmla="*/ 8538 h 6295038"/>
              <a:gd name="connsiteX2" fmla="*/ 3983598 w 6498198"/>
              <a:gd name="connsiteY2" fmla="*/ 6295038 h 6295038"/>
              <a:gd name="connsiteX3" fmla="*/ 0 w 6498198"/>
              <a:gd name="connsiteY3" fmla="*/ 6295038 h 6295038"/>
              <a:gd name="connsiteX4" fmla="*/ 0 w 6498198"/>
              <a:gd name="connsiteY4" fmla="*/ 8538 h 6295038"/>
              <a:gd name="connsiteX0" fmla="*/ 0 w 5676931"/>
              <a:gd name="connsiteY0" fmla="*/ 0 h 6286500"/>
              <a:gd name="connsiteX1" fmla="*/ 3983598 w 5676931"/>
              <a:gd name="connsiteY1" fmla="*/ 0 h 6286500"/>
              <a:gd name="connsiteX2" fmla="*/ 3983598 w 5676931"/>
              <a:gd name="connsiteY2" fmla="*/ 6286500 h 6286500"/>
              <a:gd name="connsiteX3" fmla="*/ 0 w 5676931"/>
              <a:gd name="connsiteY3" fmla="*/ 6286500 h 6286500"/>
              <a:gd name="connsiteX4" fmla="*/ 0 w 5676931"/>
              <a:gd name="connsiteY4" fmla="*/ 0 h 6286500"/>
              <a:gd name="connsiteX0" fmla="*/ 0 w 5676931"/>
              <a:gd name="connsiteY0" fmla="*/ 322170 h 6608670"/>
              <a:gd name="connsiteX1" fmla="*/ 3983598 w 5676931"/>
              <a:gd name="connsiteY1" fmla="*/ 322170 h 6608670"/>
              <a:gd name="connsiteX2" fmla="*/ 3983598 w 5676931"/>
              <a:gd name="connsiteY2" fmla="*/ 6608670 h 6608670"/>
              <a:gd name="connsiteX3" fmla="*/ 0 w 5676931"/>
              <a:gd name="connsiteY3" fmla="*/ 6608670 h 6608670"/>
              <a:gd name="connsiteX4" fmla="*/ 0 w 5676931"/>
              <a:gd name="connsiteY4" fmla="*/ 322170 h 6608670"/>
              <a:gd name="connsiteX0" fmla="*/ 0 w 5194331"/>
              <a:gd name="connsiteY0" fmla="*/ 322170 h 6608670"/>
              <a:gd name="connsiteX1" fmla="*/ 3983598 w 5194331"/>
              <a:gd name="connsiteY1" fmla="*/ 322170 h 6608670"/>
              <a:gd name="connsiteX2" fmla="*/ 3983598 w 5194331"/>
              <a:gd name="connsiteY2" fmla="*/ 6608670 h 6608670"/>
              <a:gd name="connsiteX3" fmla="*/ 0 w 5194331"/>
              <a:gd name="connsiteY3" fmla="*/ 6608670 h 6608670"/>
              <a:gd name="connsiteX4" fmla="*/ 0 w 5194331"/>
              <a:gd name="connsiteY4" fmla="*/ 322170 h 6608670"/>
              <a:gd name="connsiteX0" fmla="*/ 0 w 5194331"/>
              <a:gd name="connsiteY0" fmla="*/ 93260 h 6379760"/>
              <a:gd name="connsiteX1" fmla="*/ 3983598 w 5194331"/>
              <a:gd name="connsiteY1" fmla="*/ 93260 h 6379760"/>
              <a:gd name="connsiteX2" fmla="*/ 3983598 w 5194331"/>
              <a:gd name="connsiteY2" fmla="*/ 6379760 h 6379760"/>
              <a:gd name="connsiteX3" fmla="*/ 0 w 5194331"/>
              <a:gd name="connsiteY3" fmla="*/ 6379760 h 6379760"/>
              <a:gd name="connsiteX4" fmla="*/ 0 w 5194331"/>
              <a:gd name="connsiteY4" fmla="*/ 93260 h 6379760"/>
              <a:gd name="connsiteX0" fmla="*/ 0 w 5055273"/>
              <a:gd name="connsiteY0" fmla="*/ 7129 h 6293629"/>
              <a:gd name="connsiteX1" fmla="*/ 3793098 w 5055273"/>
              <a:gd name="connsiteY1" fmla="*/ 159736 h 6293629"/>
              <a:gd name="connsiteX2" fmla="*/ 3983598 w 5055273"/>
              <a:gd name="connsiteY2" fmla="*/ 6293629 h 6293629"/>
              <a:gd name="connsiteX3" fmla="*/ 0 w 5055273"/>
              <a:gd name="connsiteY3" fmla="*/ 6293629 h 6293629"/>
              <a:gd name="connsiteX4" fmla="*/ 0 w 5055273"/>
              <a:gd name="connsiteY4" fmla="*/ 7129 h 6293629"/>
              <a:gd name="connsiteX0" fmla="*/ 0 w 5909537"/>
              <a:gd name="connsiteY0" fmla="*/ 7129 h 6293629"/>
              <a:gd name="connsiteX1" fmla="*/ 3793098 w 5909537"/>
              <a:gd name="connsiteY1" fmla="*/ 159736 h 6293629"/>
              <a:gd name="connsiteX2" fmla="*/ 3983598 w 5909537"/>
              <a:gd name="connsiteY2" fmla="*/ 6293629 h 6293629"/>
              <a:gd name="connsiteX3" fmla="*/ 0 w 5909537"/>
              <a:gd name="connsiteY3" fmla="*/ 6293629 h 6293629"/>
              <a:gd name="connsiteX4" fmla="*/ 0 w 5909537"/>
              <a:gd name="connsiteY4" fmla="*/ 7129 h 6293629"/>
              <a:gd name="connsiteX0" fmla="*/ 0 w 5909537"/>
              <a:gd name="connsiteY0" fmla="*/ 442559 h 6729059"/>
              <a:gd name="connsiteX1" fmla="*/ 3050148 w 5909537"/>
              <a:gd name="connsiteY1" fmla="*/ 530809 h 6729059"/>
              <a:gd name="connsiteX2" fmla="*/ 3793098 w 5909537"/>
              <a:gd name="connsiteY2" fmla="*/ 595166 h 6729059"/>
              <a:gd name="connsiteX3" fmla="*/ 3983598 w 5909537"/>
              <a:gd name="connsiteY3" fmla="*/ 6729059 h 6729059"/>
              <a:gd name="connsiteX4" fmla="*/ 0 w 5909537"/>
              <a:gd name="connsiteY4" fmla="*/ 6729059 h 6729059"/>
              <a:gd name="connsiteX5" fmla="*/ 0 w 5909537"/>
              <a:gd name="connsiteY5" fmla="*/ 442559 h 6729059"/>
              <a:gd name="connsiteX0" fmla="*/ 0 w 5909537"/>
              <a:gd name="connsiteY0" fmla="*/ 745791 h 7032291"/>
              <a:gd name="connsiteX1" fmla="*/ 2535798 w 5909537"/>
              <a:gd name="connsiteY1" fmla="*/ 71006 h 7032291"/>
              <a:gd name="connsiteX2" fmla="*/ 3793098 w 5909537"/>
              <a:gd name="connsiteY2" fmla="*/ 898398 h 7032291"/>
              <a:gd name="connsiteX3" fmla="*/ 3983598 w 5909537"/>
              <a:gd name="connsiteY3" fmla="*/ 7032291 h 7032291"/>
              <a:gd name="connsiteX4" fmla="*/ 0 w 5909537"/>
              <a:gd name="connsiteY4" fmla="*/ 7032291 h 7032291"/>
              <a:gd name="connsiteX5" fmla="*/ 0 w 5909537"/>
              <a:gd name="connsiteY5" fmla="*/ 745791 h 7032291"/>
              <a:gd name="connsiteX0" fmla="*/ 0 w 5909537"/>
              <a:gd name="connsiteY0" fmla="*/ 745791 h 7032291"/>
              <a:gd name="connsiteX1" fmla="*/ 2535798 w 5909537"/>
              <a:gd name="connsiteY1" fmla="*/ 71006 h 7032291"/>
              <a:gd name="connsiteX2" fmla="*/ 3793098 w 5909537"/>
              <a:gd name="connsiteY2" fmla="*/ 898398 h 7032291"/>
              <a:gd name="connsiteX3" fmla="*/ 3983598 w 5909537"/>
              <a:gd name="connsiteY3" fmla="*/ 7032291 h 7032291"/>
              <a:gd name="connsiteX4" fmla="*/ 0 w 5909537"/>
              <a:gd name="connsiteY4" fmla="*/ 7032291 h 7032291"/>
              <a:gd name="connsiteX5" fmla="*/ 0 w 5909537"/>
              <a:gd name="connsiteY5" fmla="*/ 745791 h 7032291"/>
              <a:gd name="connsiteX0" fmla="*/ 0 w 5909537"/>
              <a:gd name="connsiteY0" fmla="*/ 745791 h 7032291"/>
              <a:gd name="connsiteX1" fmla="*/ 2535798 w 5909537"/>
              <a:gd name="connsiteY1" fmla="*/ 71006 h 7032291"/>
              <a:gd name="connsiteX2" fmla="*/ 3793098 w 5909537"/>
              <a:gd name="connsiteY2" fmla="*/ 898398 h 7032291"/>
              <a:gd name="connsiteX3" fmla="*/ 3983598 w 5909537"/>
              <a:gd name="connsiteY3" fmla="*/ 7032291 h 7032291"/>
              <a:gd name="connsiteX4" fmla="*/ 0 w 5909537"/>
              <a:gd name="connsiteY4" fmla="*/ 7032291 h 7032291"/>
              <a:gd name="connsiteX5" fmla="*/ 0 w 5909537"/>
              <a:gd name="connsiteY5" fmla="*/ 745791 h 7032291"/>
              <a:gd name="connsiteX0" fmla="*/ 0 w 5909537"/>
              <a:gd name="connsiteY0" fmla="*/ 1157397 h 7443897"/>
              <a:gd name="connsiteX1" fmla="*/ 2535798 w 5909537"/>
              <a:gd name="connsiteY1" fmla="*/ 482612 h 7443897"/>
              <a:gd name="connsiteX2" fmla="*/ 3793098 w 5909537"/>
              <a:gd name="connsiteY2" fmla="*/ 1310004 h 7443897"/>
              <a:gd name="connsiteX3" fmla="*/ 3983598 w 5909537"/>
              <a:gd name="connsiteY3" fmla="*/ 7443897 h 7443897"/>
              <a:gd name="connsiteX4" fmla="*/ 0 w 5909537"/>
              <a:gd name="connsiteY4" fmla="*/ 7443897 h 7443897"/>
              <a:gd name="connsiteX5" fmla="*/ 0 w 5909537"/>
              <a:gd name="connsiteY5" fmla="*/ 1157397 h 7443897"/>
              <a:gd name="connsiteX0" fmla="*/ 0 w 5909537"/>
              <a:gd name="connsiteY0" fmla="*/ 1157397 h 7443897"/>
              <a:gd name="connsiteX1" fmla="*/ 2535798 w 5909537"/>
              <a:gd name="connsiteY1" fmla="*/ 482612 h 7443897"/>
              <a:gd name="connsiteX2" fmla="*/ 3793098 w 5909537"/>
              <a:gd name="connsiteY2" fmla="*/ 1310004 h 7443897"/>
              <a:gd name="connsiteX3" fmla="*/ 3983598 w 5909537"/>
              <a:gd name="connsiteY3" fmla="*/ 7443897 h 7443897"/>
              <a:gd name="connsiteX4" fmla="*/ 0 w 5909537"/>
              <a:gd name="connsiteY4" fmla="*/ 7443897 h 7443897"/>
              <a:gd name="connsiteX5" fmla="*/ 0 w 5909537"/>
              <a:gd name="connsiteY5" fmla="*/ 1157397 h 7443897"/>
              <a:gd name="connsiteX0" fmla="*/ 0 w 13636106"/>
              <a:gd name="connsiteY0" fmla="*/ 1157397 h 7443897"/>
              <a:gd name="connsiteX1" fmla="*/ 2535798 w 13636106"/>
              <a:gd name="connsiteY1" fmla="*/ 482612 h 7443897"/>
              <a:gd name="connsiteX2" fmla="*/ 12651348 w 13636106"/>
              <a:gd name="connsiteY2" fmla="*/ 838312 h 7443897"/>
              <a:gd name="connsiteX3" fmla="*/ 3983598 w 13636106"/>
              <a:gd name="connsiteY3" fmla="*/ 7443897 h 7443897"/>
              <a:gd name="connsiteX4" fmla="*/ 0 w 13636106"/>
              <a:gd name="connsiteY4" fmla="*/ 7443897 h 7443897"/>
              <a:gd name="connsiteX5" fmla="*/ 0 w 13636106"/>
              <a:gd name="connsiteY5" fmla="*/ 1157397 h 7443897"/>
              <a:gd name="connsiteX0" fmla="*/ 0 w 13474452"/>
              <a:gd name="connsiteY0" fmla="*/ 1157397 h 7443897"/>
              <a:gd name="connsiteX1" fmla="*/ 2535798 w 13474452"/>
              <a:gd name="connsiteY1" fmla="*/ 482612 h 7443897"/>
              <a:gd name="connsiteX2" fmla="*/ 12651348 w 13474452"/>
              <a:gd name="connsiteY2" fmla="*/ 838312 h 7443897"/>
              <a:gd name="connsiteX3" fmla="*/ 3983598 w 13474452"/>
              <a:gd name="connsiteY3" fmla="*/ 7443897 h 7443897"/>
              <a:gd name="connsiteX4" fmla="*/ 0 w 13474452"/>
              <a:gd name="connsiteY4" fmla="*/ 7443897 h 7443897"/>
              <a:gd name="connsiteX5" fmla="*/ 0 w 13474452"/>
              <a:gd name="connsiteY5" fmla="*/ 1157397 h 7443897"/>
              <a:gd name="connsiteX0" fmla="*/ 0 w 13498871"/>
              <a:gd name="connsiteY0" fmla="*/ 1157397 h 7443897"/>
              <a:gd name="connsiteX1" fmla="*/ 2535798 w 13498871"/>
              <a:gd name="connsiteY1" fmla="*/ 482612 h 7443897"/>
              <a:gd name="connsiteX2" fmla="*/ 12651348 w 13498871"/>
              <a:gd name="connsiteY2" fmla="*/ 838312 h 7443897"/>
              <a:gd name="connsiteX3" fmla="*/ 3983598 w 13498871"/>
              <a:gd name="connsiteY3" fmla="*/ 7443897 h 7443897"/>
              <a:gd name="connsiteX4" fmla="*/ 0 w 13498871"/>
              <a:gd name="connsiteY4" fmla="*/ 7443897 h 7443897"/>
              <a:gd name="connsiteX5" fmla="*/ 0 w 13498871"/>
              <a:gd name="connsiteY5" fmla="*/ 1157397 h 7443897"/>
              <a:gd name="connsiteX0" fmla="*/ 0 w 13285693"/>
              <a:gd name="connsiteY0" fmla="*/ 1157397 h 7443897"/>
              <a:gd name="connsiteX1" fmla="*/ 2535798 w 13285693"/>
              <a:gd name="connsiteY1" fmla="*/ 482612 h 7443897"/>
              <a:gd name="connsiteX2" fmla="*/ 12651348 w 13285693"/>
              <a:gd name="connsiteY2" fmla="*/ 838312 h 7443897"/>
              <a:gd name="connsiteX3" fmla="*/ 3983598 w 13285693"/>
              <a:gd name="connsiteY3" fmla="*/ 7443897 h 7443897"/>
              <a:gd name="connsiteX4" fmla="*/ 0 w 13285693"/>
              <a:gd name="connsiteY4" fmla="*/ 7443897 h 7443897"/>
              <a:gd name="connsiteX5" fmla="*/ 0 w 13285693"/>
              <a:gd name="connsiteY5" fmla="*/ 1157397 h 744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85693" h="7443897">
                <a:moveTo>
                  <a:pt x="0" y="1157397"/>
                </a:moveTo>
                <a:cubicBezTo>
                  <a:pt x="508358" y="124355"/>
                  <a:pt x="2075065" y="-477540"/>
                  <a:pt x="2535798" y="482612"/>
                </a:cubicBezTo>
                <a:cubicBezTo>
                  <a:pt x="3015581" y="1576295"/>
                  <a:pt x="11943323" y="816291"/>
                  <a:pt x="12651348" y="838312"/>
                </a:cubicBezTo>
                <a:cubicBezTo>
                  <a:pt x="16537548" y="3248245"/>
                  <a:pt x="1183248" y="2400319"/>
                  <a:pt x="3983598" y="7443897"/>
                </a:cubicBezTo>
                <a:lnTo>
                  <a:pt x="0" y="7443897"/>
                </a:lnTo>
                <a:lnTo>
                  <a:pt x="0" y="1157397"/>
                </a:lnTo>
                <a:close/>
              </a:path>
            </a:pathLst>
          </a:custGeom>
          <a:gradFill>
            <a:gsLst>
              <a:gs pos="61000">
                <a:srgbClr val="C2A1FF"/>
              </a:gs>
              <a:gs pos="29000">
                <a:srgbClr val="F7B2C3"/>
              </a:gs>
              <a:gs pos="100000">
                <a:srgbClr val="1993E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圆角矩形 3">
            <a:extLst>
              <a:ext uri="{FF2B5EF4-FFF2-40B4-BE49-F238E27FC236}">
                <a16:creationId xmlns:a16="http://schemas.microsoft.com/office/drawing/2014/main" id="{8F34D3D7-D09B-4166-8C2A-AAE9956FCE83}"/>
              </a:ext>
            </a:extLst>
          </p:cNvPr>
          <p:cNvSpPr/>
          <p:nvPr/>
        </p:nvSpPr>
        <p:spPr>
          <a:xfrm>
            <a:off x="694734" y="581749"/>
            <a:ext cx="10802533" cy="5694503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ln w="12700">
            <a:noFill/>
          </a:ln>
          <a:effectLst>
            <a:outerShdw blurRad="381000" dist="38100" dir="5400000" algn="t" rotWithShape="0">
              <a:srgbClr val="B8B8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prstClr val="white"/>
              </a:solidFill>
            </a:endParaRPr>
          </a:p>
        </p:txBody>
      </p:sp>
      <p:sp>
        <p:nvSpPr>
          <p:cNvPr id="5" name="圆角矩形 14">
            <a:extLst>
              <a:ext uri="{FF2B5EF4-FFF2-40B4-BE49-F238E27FC236}">
                <a16:creationId xmlns:a16="http://schemas.microsoft.com/office/drawing/2014/main" id="{1F48B8FF-0C9F-4040-8CAE-104BF8A6A73D}"/>
              </a:ext>
            </a:extLst>
          </p:cNvPr>
          <p:cNvSpPr/>
          <p:nvPr/>
        </p:nvSpPr>
        <p:spPr>
          <a:xfrm>
            <a:off x="7770390" y="1736002"/>
            <a:ext cx="2052487" cy="1368894"/>
          </a:xfrm>
          <a:prstGeom prst="roundRect">
            <a:avLst>
              <a:gd name="adj" fmla="val 8350"/>
            </a:avLst>
          </a:prstGeom>
          <a:gradFill>
            <a:gsLst>
              <a:gs pos="75000">
                <a:srgbClr val="4748FF"/>
              </a:gs>
              <a:gs pos="18000">
                <a:srgbClr val="0000A8"/>
              </a:gs>
            </a:gsLst>
            <a:lin ang="18600000" scaled="0"/>
          </a:gradFill>
          <a:ln>
            <a:noFill/>
          </a:ln>
          <a:effectLst>
            <a:outerShdw blurRad="63500" dist="50800" dir="2700000" algn="tl" rotWithShape="0">
              <a:srgbClr val="0000A8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694" tIns="43347" rIns="86694" bIns="43347" rtlCol="0" anchor="ctr"/>
          <a:lstStyle/>
          <a:p>
            <a:pPr algn="ctr"/>
            <a:endParaRPr lang="zh-CN" altLang="en-US"/>
          </a:p>
        </p:txBody>
      </p:sp>
      <p:pic>
        <p:nvPicPr>
          <p:cNvPr id="6" name="Picture 307" descr="C:\Users\Administrator\Desktop\未标题-1.png">
            <a:extLst>
              <a:ext uri="{FF2B5EF4-FFF2-40B4-BE49-F238E27FC236}">
                <a16:creationId xmlns:a16="http://schemas.microsoft.com/office/drawing/2014/main" id="{B3026361-9F77-4C6D-A7D5-407CC4FD80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43290" y="990111"/>
            <a:ext cx="1550919" cy="192072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圆角矩形 16">
            <a:extLst>
              <a:ext uri="{FF2B5EF4-FFF2-40B4-BE49-F238E27FC236}">
                <a16:creationId xmlns:a16="http://schemas.microsoft.com/office/drawing/2014/main" id="{CD404184-502C-4BCA-BAB7-2402F9F89364}"/>
              </a:ext>
            </a:extLst>
          </p:cNvPr>
          <p:cNvSpPr/>
          <p:nvPr/>
        </p:nvSpPr>
        <p:spPr>
          <a:xfrm>
            <a:off x="7770390" y="3490852"/>
            <a:ext cx="2052487" cy="1368894"/>
          </a:xfrm>
          <a:prstGeom prst="roundRect">
            <a:avLst>
              <a:gd name="adj" fmla="val 5567"/>
            </a:avLst>
          </a:prstGeom>
          <a:gradFill>
            <a:gsLst>
              <a:gs pos="75000">
                <a:schemeClr val="accent4">
                  <a:lumMod val="60000"/>
                  <a:lumOff val="40000"/>
                </a:schemeClr>
              </a:gs>
              <a:gs pos="18000">
                <a:schemeClr val="accent4"/>
              </a:gs>
            </a:gsLst>
            <a:lin ang="18600000" scaled="0"/>
          </a:gradFill>
          <a:ln>
            <a:noFill/>
          </a:ln>
          <a:effectLst>
            <a:outerShdw blurRad="50800" dist="38100" algn="l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694" tIns="43347" rIns="86694" bIns="43347" rtlCol="0" anchor="ctr"/>
          <a:lstStyle/>
          <a:p>
            <a:pPr algn="ctr"/>
            <a:endParaRPr lang="zh-CN" altLang="en-US"/>
          </a:p>
        </p:txBody>
      </p:sp>
      <p:pic>
        <p:nvPicPr>
          <p:cNvPr id="8" name="Picture 307" descr="C:\Users\Administrator\Desktop\未标题-1.png">
            <a:extLst>
              <a:ext uri="{FF2B5EF4-FFF2-40B4-BE49-F238E27FC236}">
                <a16:creationId xmlns:a16="http://schemas.microsoft.com/office/drawing/2014/main" id="{E634445E-61F3-448F-8BFA-BF6F1B8AB4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8126575" y="3459183"/>
            <a:ext cx="1340116" cy="222445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Speech Bubble: Rectangle 29">
            <a:extLst>
              <a:ext uri="{FF2B5EF4-FFF2-40B4-BE49-F238E27FC236}">
                <a16:creationId xmlns:a16="http://schemas.microsoft.com/office/drawing/2014/main" id="{6B0673E1-FE25-4A12-88EB-88B33DAACD5F}"/>
              </a:ext>
            </a:extLst>
          </p:cNvPr>
          <p:cNvSpPr/>
          <p:nvPr/>
        </p:nvSpPr>
        <p:spPr>
          <a:xfrm>
            <a:off x="1487347" y="1180506"/>
            <a:ext cx="4608653" cy="3941376"/>
          </a:xfrm>
          <a:prstGeom prst="wedgeRectCallout">
            <a:avLst>
              <a:gd name="adj1" fmla="val 66068"/>
              <a:gd name="adj2" fmla="val 3306"/>
            </a:avLst>
          </a:prstGeom>
          <a:solidFill>
            <a:srgbClr val="25E0E7"/>
          </a:solidFill>
          <a:ln>
            <a:noFill/>
          </a:ln>
          <a:effectLst>
            <a:outerShdw blurRad="381000" dist="63500" dir="5400000" algn="t" rotWithShape="0">
              <a:schemeClr val="tx1">
                <a:lumMod val="85000"/>
                <a:lumOff val="1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800" dirty="0"/>
              <a:t>能夠較好地辨識靜態以及動態的手語，可以滿足一些基本日常生活的需求（例如：可以去咖啡廳用手語點一杯咖啡，或者向路人詢問最近的捷運站怎麼走）</a:t>
            </a:r>
            <a:endParaRPr lang="id-ID" sz="2800" dirty="0"/>
          </a:p>
        </p:txBody>
      </p:sp>
    </p:spTree>
    <p:extLst>
      <p:ext uri="{BB962C8B-B14F-4D97-AF65-F5344CB8AC3E}">
        <p14:creationId xmlns:p14="http://schemas.microsoft.com/office/powerpoint/2010/main" val="216002914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2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14ED57AC-2788-4937-8BB3-712DF1FFC6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37"/>
          <a:stretch/>
        </p:blipFill>
        <p:spPr>
          <a:xfrm>
            <a:off x="-97398" y="0"/>
            <a:ext cx="12289397" cy="6915150"/>
          </a:xfrm>
          <a:prstGeom prst="rect">
            <a:avLst/>
          </a:prstGeom>
        </p:spPr>
      </p:pic>
      <p:pic>
        <p:nvPicPr>
          <p:cNvPr id="6" name="PA_库_图片 5">
            <a:extLst>
              <a:ext uri="{FF2B5EF4-FFF2-40B4-BE49-F238E27FC236}">
                <a16:creationId xmlns:a16="http://schemas.microsoft.com/office/drawing/2014/main" id="{CF83B222-305A-4424-ABC4-576DCA86F65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7138" y="-603652"/>
            <a:ext cx="12192000" cy="6846101"/>
          </a:xfrm>
          <a:prstGeom prst="rect">
            <a:avLst/>
          </a:prstGeom>
        </p:spPr>
      </p:pic>
      <p:sp>
        <p:nvSpPr>
          <p:cNvPr id="5" name="PA_库_$30">
            <a:extLst>
              <a:ext uri="{FF2B5EF4-FFF2-40B4-BE49-F238E27FC236}">
                <a16:creationId xmlns:a16="http://schemas.microsoft.com/office/drawing/2014/main" id="{7D234C83-5217-40A3-A37B-EBA760D2DB6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872554" y="750673"/>
            <a:ext cx="1179810" cy="23775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algn="l">
              <a:lnSpc>
                <a:spcPct val="120000"/>
              </a:lnSpc>
              <a:defRPr sz="5500" b="0">
                <a:solidFill>
                  <a:srgbClr val="30353E"/>
                </a:solidFill>
                <a:latin typeface="Aileron Heavy"/>
                <a:ea typeface="Aileron Heavy"/>
                <a:cs typeface="Aileron Heavy"/>
                <a:sym typeface="Aileron Heavy"/>
              </a:defRPr>
            </a:lvl1pPr>
          </a:lstStyle>
          <a:p>
            <a:r>
              <a:rPr lang="en-US" sz="13800" dirty="0">
                <a:solidFill>
                  <a:schemeClr val="bg1"/>
                </a:solidFill>
                <a:latin typeface="Arial Black" panose="020B0A04020102020204" pitchFamily="34" charset="0"/>
                <a:ea typeface="汉仪清庭-55简" panose="00020600040101010101" pitchFamily="18" charset="-122"/>
              </a:rPr>
              <a:t>3</a:t>
            </a:r>
            <a:endParaRPr sz="13800" dirty="0">
              <a:solidFill>
                <a:schemeClr val="bg1"/>
              </a:solidFill>
              <a:latin typeface="Arial Black" panose="020B0A04020102020204" pitchFamily="34" charset="0"/>
              <a:ea typeface="汉仪清庭-55简" panose="00020600040101010101" pitchFamily="18" charset="-122"/>
            </a:endParaRPr>
          </a:p>
        </p:txBody>
      </p:sp>
      <p:sp>
        <p:nvSpPr>
          <p:cNvPr id="7" name="PA_库_Special Price Tittle…">
            <a:extLst>
              <a:ext uri="{FF2B5EF4-FFF2-40B4-BE49-F238E27FC236}">
                <a16:creationId xmlns:a16="http://schemas.microsoft.com/office/drawing/2014/main" id="{07AEED53-7A48-4F32-8FB9-E9DCA8450A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03094" y="2760548"/>
            <a:ext cx="5054328" cy="13369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50000"/>
              </a:lnSpc>
              <a:defRPr sz="1800">
                <a:solidFill>
                  <a:srgbClr val="677180"/>
                </a:solidFill>
                <a:latin typeface="Aileron"/>
                <a:ea typeface="Aileron"/>
                <a:cs typeface="Aileron"/>
                <a:sym typeface="Aileron"/>
              </a:defRPr>
            </a:pPr>
            <a:r>
              <a:rPr lang="zh-CN" altLang="en-US" sz="6600" dirty="0">
                <a:solidFill>
                  <a:schemeClr val="bg1"/>
                </a:solidFill>
                <a:latin typeface="禹卫书法行书繁体&#10;" panose="02000603000000000000" pitchFamily="2" charset="-120"/>
                <a:ea typeface="禹卫书法行书繁体&#10;" panose="02000603000000000000" pitchFamily="2" charset="-120"/>
              </a:rPr>
              <a:t>現場</a:t>
            </a:r>
            <a:r>
              <a:rPr lang="en-US" altLang="zh-CN" sz="6600" dirty="0">
                <a:solidFill>
                  <a:schemeClr val="bg1"/>
                </a:solidFill>
                <a:latin typeface="禹卫书法行书繁体&#10;" panose="02000603000000000000" pitchFamily="2" charset="-120"/>
                <a:ea typeface="禹卫书法行书繁体&#10;" panose="02000603000000000000" pitchFamily="2" charset="-120"/>
              </a:rPr>
              <a:t>DEMO</a:t>
            </a:r>
            <a:endParaRPr sz="6600" dirty="0">
              <a:solidFill>
                <a:schemeClr val="bg1"/>
              </a:solidFill>
              <a:latin typeface="禹卫书法行书繁体&#10;" panose="02000603000000000000" pitchFamily="2" charset="-120"/>
              <a:ea typeface="禹卫书法行书繁体&#10;" panose="02000603000000000000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5471073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1000"/>
                                        <p:tgtEl>
                                          <p:spTgt spid="7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  <p:bldP spid="7" grpId="0" autoUpdateAnimBg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C602DFCF-DD7C-4D16-90B7-A7B4E74A58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0" y="0"/>
            <a:ext cx="12192000" cy="6862684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D66B94CD-3897-4E47-A382-5FE73985F2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0286" y="11899"/>
            <a:ext cx="12192000" cy="6846101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86B829B8-72DC-40AC-956E-C2CE5CAF76F7}"/>
              </a:ext>
            </a:extLst>
          </p:cNvPr>
          <p:cNvSpPr txBox="1"/>
          <p:nvPr/>
        </p:nvSpPr>
        <p:spPr>
          <a:xfrm>
            <a:off x="239953" y="2899487"/>
            <a:ext cx="158542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800" b="1" dirty="0">
                <a:gradFill>
                  <a:gsLst>
                    <a:gs pos="10000">
                      <a:srgbClr val="25E0E7"/>
                    </a:gs>
                    <a:gs pos="48000">
                      <a:schemeClr val="bg1"/>
                    </a:gs>
                  </a:gsLst>
                  <a:lin ang="10800000" scaled="1"/>
                </a:gradFill>
                <a:latin typeface="Arial Black" panose="020B0A04020102020204" pitchFamily="34" charset="0"/>
                <a:ea typeface="微软雅黑" panose="020B0503020204020204" pitchFamily="34" charset="-122"/>
              </a:rPr>
              <a:t>T</a:t>
            </a:r>
            <a:endParaRPr lang="zh-CN" altLang="en-US" sz="8800" b="1" dirty="0">
              <a:gradFill>
                <a:gsLst>
                  <a:gs pos="10000">
                    <a:srgbClr val="25E0E7"/>
                  </a:gs>
                  <a:gs pos="48000">
                    <a:schemeClr val="bg1"/>
                  </a:gs>
                </a:gsLst>
                <a:lin ang="10800000" scaled="1"/>
              </a:gra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CE364189-2BCD-4FE2-B3C6-78FEB7D341FB}"/>
              </a:ext>
            </a:extLst>
          </p:cNvPr>
          <p:cNvSpPr txBox="1"/>
          <p:nvPr/>
        </p:nvSpPr>
        <p:spPr>
          <a:xfrm>
            <a:off x="1289152" y="2899487"/>
            <a:ext cx="158542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800" b="1" dirty="0">
                <a:gradFill>
                  <a:gsLst>
                    <a:gs pos="10000">
                      <a:srgbClr val="2FDEE5"/>
                    </a:gs>
                    <a:gs pos="48000">
                      <a:schemeClr val="bg1"/>
                    </a:gs>
                  </a:gsLst>
                  <a:lin ang="10800000" scaled="1"/>
                </a:gradFill>
                <a:latin typeface="Arial Black" panose="020B0A04020102020204" pitchFamily="34" charset="0"/>
                <a:ea typeface="微软雅黑" panose="020B0503020204020204" pitchFamily="34" charset="-122"/>
              </a:rPr>
              <a:t>H</a:t>
            </a:r>
            <a:endParaRPr lang="zh-CN" altLang="en-US" sz="8800" b="1" dirty="0">
              <a:gradFill>
                <a:gsLst>
                  <a:gs pos="10000">
                    <a:srgbClr val="2FDEE5"/>
                  </a:gs>
                  <a:gs pos="48000">
                    <a:schemeClr val="bg1"/>
                  </a:gs>
                </a:gsLst>
                <a:lin ang="10800000" scaled="1"/>
              </a:gra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E1674179-A4EE-4A51-A37A-ACA04C5478A3}"/>
              </a:ext>
            </a:extLst>
          </p:cNvPr>
          <p:cNvSpPr txBox="1"/>
          <p:nvPr/>
        </p:nvSpPr>
        <p:spPr>
          <a:xfrm>
            <a:off x="2338351" y="2899487"/>
            <a:ext cx="158542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800" b="1" dirty="0">
                <a:gradFill>
                  <a:gsLst>
                    <a:gs pos="10000">
                      <a:srgbClr val="3DDBE3"/>
                    </a:gs>
                    <a:gs pos="48000">
                      <a:schemeClr val="bg1"/>
                    </a:gs>
                  </a:gsLst>
                  <a:lin ang="10800000" scaled="1"/>
                </a:gradFill>
                <a:latin typeface="Arial Black" panose="020B0A04020102020204" pitchFamily="34" charset="0"/>
                <a:ea typeface="微软雅黑" panose="020B0503020204020204" pitchFamily="34" charset="-122"/>
              </a:rPr>
              <a:t>A</a:t>
            </a:r>
            <a:endParaRPr lang="zh-CN" altLang="en-US" sz="8800" b="1" dirty="0">
              <a:gradFill>
                <a:gsLst>
                  <a:gs pos="10000">
                    <a:srgbClr val="3DDBE3"/>
                  </a:gs>
                  <a:gs pos="48000">
                    <a:schemeClr val="bg1"/>
                  </a:gs>
                </a:gsLst>
                <a:lin ang="10800000" scaled="1"/>
              </a:gra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F381BBB-D1BE-4524-B71A-871599786D66}"/>
              </a:ext>
            </a:extLst>
          </p:cNvPr>
          <p:cNvSpPr txBox="1"/>
          <p:nvPr/>
        </p:nvSpPr>
        <p:spPr>
          <a:xfrm>
            <a:off x="3387550" y="2899487"/>
            <a:ext cx="158542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800" b="1" dirty="0">
                <a:gradFill>
                  <a:gsLst>
                    <a:gs pos="10000">
                      <a:srgbClr val="5DD4DE"/>
                    </a:gs>
                    <a:gs pos="48000">
                      <a:schemeClr val="bg1"/>
                    </a:gs>
                  </a:gsLst>
                  <a:lin ang="10800000" scaled="1"/>
                </a:gradFill>
                <a:latin typeface="Arial Black" panose="020B0A04020102020204" pitchFamily="34" charset="0"/>
                <a:ea typeface="微软雅黑" panose="020B0503020204020204" pitchFamily="34" charset="-122"/>
              </a:rPr>
              <a:t>N</a:t>
            </a:r>
            <a:endParaRPr lang="zh-CN" altLang="en-US" sz="8800" b="1" dirty="0">
              <a:gradFill>
                <a:gsLst>
                  <a:gs pos="10000">
                    <a:srgbClr val="5DD4DE"/>
                  </a:gs>
                  <a:gs pos="48000">
                    <a:schemeClr val="bg1"/>
                  </a:gs>
                </a:gsLst>
                <a:lin ang="10800000" scaled="1"/>
              </a:gra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88FAEA74-4ACE-49F8-AAE5-3824C8072C19}"/>
              </a:ext>
            </a:extLst>
          </p:cNvPr>
          <p:cNvSpPr txBox="1"/>
          <p:nvPr/>
        </p:nvSpPr>
        <p:spPr>
          <a:xfrm>
            <a:off x="4436749" y="2899487"/>
            <a:ext cx="158542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800" b="1" dirty="0">
                <a:gradFill>
                  <a:gsLst>
                    <a:gs pos="10000">
                      <a:srgbClr val="83CBD7"/>
                    </a:gs>
                    <a:gs pos="48000">
                      <a:schemeClr val="bg1"/>
                    </a:gs>
                  </a:gsLst>
                  <a:lin ang="10800000" scaled="1"/>
                </a:gradFill>
                <a:latin typeface="Arial Black" panose="020B0A04020102020204" pitchFamily="34" charset="0"/>
                <a:ea typeface="微软雅黑" panose="020B0503020204020204" pitchFamily="34" charset="-122"/>
              </a:rPr>
              <a:t>K</a:t>
            </a:r>
            <a:endParaRPr lang="zh-CN" altLang="en-US" sz="8800" b="1" dirty="0">
              <a:gradFill>
                <a:gsLst>
                  <a:gs pos="10000">
                    <a:srgbClr val="83CBD7"/>
                  </a:gs>
                  <a:gs pos="48000">
                    <a:schemeClr val="bg1"/>
                  </a:gs>
                </a:gsLst>
                <a:lin ang="10800000" scaled="1"/>
              </a:gra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4F3684F6-109D-4B22-8DE9-179B56E86B54}"/>
              </a:ext>
            </a:extLst>
          </p:cNvPr>
          <p:cNvSpPr txBox="1"/>
          <p:nvPr/>
        </p:nvSpPr>
        <p:spPr>
          <a:xfrm>
            <a:off x="5485948" y="2899487"/>
            <a:ext cx="158542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800" b="1" dirty="0">
                <a:gradFill>
                  <a:gsLst>
                    <a:gs pos="10000">
                      <a:srgbClr val="9EC5D2"/>
                    </a:gs>
                    <a:gs pos="48000">
                      <a:schemeClr val="bg1"/>
                    </a:gs>
                  </a:gsLst>
                  <a:lin ang="10800000" scaled="1"/>
                </a:gradFill>
                <a:latin typeface="Arial Black" panose="020B0A04020102020204" pitchFamily="34" charset="0"/>
                <a:ea typeface="微软雅黑" panose="020B0503020204020204" pitchFamily="34" charset="-122"/>
              </a:rPr>
              <a:t>S</a:t>
            </a:r>
            <a:endParaRPr lang="zh-CN" altLang="en-US" sz="8800" b="1" dirty="0">
              <a:gradFill>
                <a:gsLst>
                  <a:gs pos="10000">
                    <a:srgbClr val="9EC5D2"/>
                  </a:gs>
                  <a:gs pos="48000">
                    <a:schemeClr val="bg1"/>
                  </a:gs>
                </a:gsLst>
                <a:lin ang="10800000" scaled="1"/>
              </a:gradFill>
              <a:latin typeface="Arial Black" panose="020B0A0402010202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886390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1" grpId="0"/>
      <p:bldP spid="12" grpId="0"/>
      <p:bldP spid="14" grpId="0"/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A_图片 6">
            <a:extLst>
              <a:ext uri="{FF2B5EF4-FFF2-40B4-BE49-F238E27FC236}">
                <a16:creationId xmlns:a16="http://schemas.microsoft.com/office/drawing/2014/main" id="{C602DFCF-DD7C-4D16-90B7-A7B4E74A58E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-40193" y="-15984"/>
            <a:ext cx="12192000" cy="6862684"/>
          </a:xfrm>
          <a:prstGeom prst="rect">
            <a:avLst/>
          </a:prstGeom>
        </p:spPr>
      </p:pic>
      <p:pic>
        <p:nvPicPr>
          <p:cNvPr id="14" name="图片 13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863942" y="-27284"/>
            <a:ext cx="9340777" cy="6885284"/>
          </a:xfrm>
          <a:prstGeom prst="rect">
            <a:avLst/>
          </a:prstGeom>
          <a:ln>
            <a:noFill/>
          </a:ln>
        </p:spPr>
      </p:pic>
      <p:sp>
        <p:nvSpPr>
          <p:cNvPr id="15" name="PA_库_Freeform: Shape 4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<p:cNvSpPr/>
          <p:nvPr>
            <p:custDataLst>
              <p:tags r:id="rId2"/>
            </p:custDataLst>
          </p:nvPr>
        </p:nvSpPr>
        <p:spPr>
          <a:xfrm>
            <a:off x="717546" y="1929307"/>
            <a:ext cx="1362600" cy="927358"/>
          </a:xfrm>
          <a:custGeom>
            <a:avLst/>
            <a:gdLst>
              <a:gd name="connsiteX0" fmla="*/ 28575 w 1545431"/>
              <a:gd name="connsiteY0" fmla="*/ 526256 h 1069181"/>
              <a:gd name="connsiteX1" fmla="*/ 571500 w 1545431"/>
              <a:gd name="connsiteY1" fmla="*/ 1069181 h 1069181"/>
              <a:gd name="connsiteX2" fmla="*/ 1545431 w 1545431"/>
              <a:gd name="connsiteY2" fmla="*/ 1069181 h 1069181"/>
              <a:gd name="connsiteX3" fmla="*/ 476250 w 1545431"/>
              <a:gd name="connsiteY3" fmla="*/ 0 h 1069181"/>
              <a:gd name="connsiteX4" fmla="*/ 145256 w 1545431"/>
              <a:gd name="connsiteY4" fmla="*/ 0 h 1069181"/>
              <a:gd name="connsiteX5" fmla="*/ 0 w 1545431"/>
              <a:gd name="connsiteY5" fmla="*/ 276225 h 1069181"/>
              <a:gd name="connsiteX6" fmla="*/ 28575 w 1545431"/>
              <a:gd name="connsiteY6" fmla="*/ 526256 h 1069181"/>
              <a:gd name="connsiteX0" fmla="*/ 28575 w 1545431"/>
              <a:gd name="connsiteY0" fmla="*/ 526256 h 1069181"/>
              <a:gd name="connsiteX1" fmla="*/ 571500 w 1545431"/>
              <a:gd name="connsiteY1" fmla="*/ 1069181 h 1069181"/>
              <a:gd name="connsiteX2" fmla="*/ 1545431 w 1545431"/>
              <a:gd name="connsiteY2" fmla="*/ 1069181 h 1069181"/>
              <a:gd name="connsiteX3" fmla="*/ 471488 w 1545431"/>
              <a:gd name="connsiteY3" fmla="*/ 2381 h 1069181"/>
              <a:gd name="connsiteX4" fmla="*/ 145256 w 1545431"/>
              <a:gd name="connsiteY4" fmla="*/ 0 h 1069181"/>
              <a:gd name="connsiteX5" fmla="*/ 0 w 1545431"/>
              <a:gd name="connsiteY5" fmla="*/ 276225 h 1069181"/>
              <a:gd name="connsiteX6" fmla="*/ 28575 w 1545431"/>
              <a:gd name="connsiteY6" fmla="*/ 526256 h 1069181"/>
              <a:gd name="connsiteX0" fmla="*/ 0 w 1516856"/>
              <a:gd name="connsiteY0" fmla="*/ 526256 h 1069181"/>
              <a:gd name="connsiteX1" fmla="*/ 542925 w 1516856"/>
              <a:gd name="connsiteY1" fmla="*/ 1069181 h 1069181"/>
              <a:gd name="connsiteX2" fmla="*/ 1516856 w 1516856"/>
              <a:gd name="connsiteY2" fmla="*/ 1069181 h 1069181"/>
              <a:gd name="connsiteX3" fmla="*/ 442913 w 1516856"/>
              <a:gd name="connsiteY3" fmla="*/ 2381 h 1069181"/>
              <a:gd name="connsiteX4" fmla="*/ 116681 w 1516856"/>
              <a:gd name="connsiteY4" fmla="*/ 0 h 1069181"/>
              <a:gd name="connsiteX5" fmla="*/ 0 w 1516856"/>
              <a:gd name="connsiteY5" fmla="*/ 526256 h 1069181"/>
              <a:gd name="connsiteX0" fmla="*/ 0 w 1516856"/>
              <a:gd name="connsiteY0" fmla="*/ 523875 h 1066800"/>
              <a:gd name="connsiteX1" fmla="*/ 542925 w 1516856"/>
              <a:gd name="connsiteY1" fmla="*/ 1066800 h 1066800"/>
              <a:gd name="connsiteX2" fmla="*/ 1516856 w 1516856"/>
              <a:gd name="connsiteY2" fmla="*/ 1066800 h 1066800"/>
              <a:gd name="connsiteX3" fmla="*/ 442913 w 1516856"/>
              <a:gd name="connsiteY3" fmla="*/ 0 h 1066800"/>
              <a:gd name="connsiteX4" fmla="*/ 0 w 1516856"/>
              <a:gd name="connsiteY4" fmla="*/ 523875 h 1066800"/>
              <a:gd name="connsiteX0" fmla="*/ 0 w 1516856"/>
              <a:gd name="connsiteY0" fmla="*/ 494717 h 1037642"/>
              <a:gd name="connsiteX1" fmla="*/ 542925 w 1516856"/>
              <a:gd name="connsiteY1" fmla="*/ 1037642 h 1037642"/>
              <a:gd name="connsiteX2" fmla="*/ 1516856 w 1516856"/>
              <a:gd name="connsiteY2" fmla="*/ 1037642 h 1037642"/>
              <a:gd name="connsiteX3" fmla="*/ 477373 w 1516856"/>
              <a:gd name="connsiteY3" fmla="*/ 0 h 1037642"/>
              <a:gd name="connsiteX4" fmla="*/ 0 w 1516856"/>
              <a:gd name="connsiteY4" fmla="*/ 494717 h 1037642"/>
              <a:gd name="connsiteX0" fmla="*/ 0 w 1516856"/>
              <a:gd name="connsiteY0" fmla="*/ 489416 h 1032341"/>
              <a:gd name="connsiteX1" fmla="*/ 542925 w 1516856"/>
              <a:gd name="connsiteY1" fmla="*/ 1032341 h 1032341"/>
              <a:gd name="connsiteX2" fmla="*/ 1516856 w 1516856"/>
              <a:gd name="connsiteY2" fmla="*/ 1032341 h 1032341"/>
              <a:gd name="connsiteX3" fmla="*/ 474722 w 1516856"/>
              <a:gd name="connsiteY3" fmla="*/ 0 h 1032341"/>
              <a:gd name="connsiteX4" fmla="*/ 0 w 1516856"/>
              <a:gd name="connsiteY4" fmla="*/ 489416 h 1032341"/>
              <a:gd name="connsiteX0" fmla="*/ 0 w 1516856"/>
              <a:gd name="connsiteY0" fmla="*/ 484115 h 1027040"/>
              <a:gd name="connsiteX1" fmla="*/ 542925 w 1516856"/>
              <a:gd name="connsiteY1" fmla="*/ 1027040 h 1027040"/>
              <a:gd name="connsiteX2" fmla="*/ 1516856 w 1516856"/>
              <a:gd name="connsiteY2" fmla="*/ 1027040 h 1027040"/>
              <a:gd name="connsiteX3" fmla="*/ 480024 w 1516856"/>
              <a:gd name="connsiteY3" fmla="*/ 0 h 1027040"/>
              <a:gd name="connsiteX4" fmla="*/ 0 w 1516856"/>
              <a:gd name="connsiteY4" fmla="*/ 484115 h 1027040"/>
              <a:gd name="connsiteX0" fmla="*/ 0 w 1516856"/>
              <a:gd name="connsiteY0" fmla="*/ 489417 h 1032342"/>
              <a:gd name="connsiteX1" fmla="*/ 542925 w 1516856"/>
              <a:gd name="connsiteY1" fmla="*/ 1032342 h 1032342"/>
              <a:gd name="connsiteX2" fmla="*/ 1516856 w 1516856"/>
              <a:gd name="connsiteY2" fmla="*/ 1032342 h 1032342"/>
              <a:gd name="connsiteX3" fmla="*/ 480024 w 1516856"/>
              <a:gd name="connsiteY3" fmla="*/ 0 h 1032342"/>
              <a:gd name="connsiteX4" fmla="*/ 0 w 1516856"/>
              <a:gd name="connsiteY4" fmla="*/ 489417 h 1032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6856" h="1032342">
                <a:moveTo>
                  <a:pt x="0" y="489417"/>
                </a:moveTo>
                <a:lnTo>
                  <a:pt x="542925" y="1032342"/>
                </a:lnTo>
                <a:lnTo>
                  <a:pt x="1516856" y="1032342"/>
                </a:lnTo>
                <a:lnTo>
                  <a:pt x="480024" y="0"/>
                </a:lnTo>
                <a:lnTo>
                  <a:pt x="0" y="489417"/>
                </a:lnTo>
                <a:close/>
              </a:path>
            </a:pathLst>
          </a:custGeom>
          <a:gradFill>
            <a:gsLst>
              <a:gs pos="0">
                <a:srgbClr val="2842A2"/>
              </a:gs>
              <a:gs pos="56000">
                <a:schemeClr val="accent5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PA_库_矩形 5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<p:cNvSpPr/>
          <p:nvPr>
            <p:custDataLst>
              <p:tags r:id="rId3"/>
            </p:custDataLst>
          </p:nvPr>
        </p:nvSpPr>
        <p:spPr>
          <a:xfrm>
            <a:off x="715633" y="1931321"/>
            <a:ext cx="435428" cy="435428"/>
          </a:xfrm>
          <a:prstGeom prst="rect">
            <a:avLst/>
          </a:prstGeom>
          <a:solidFill>
            <a:srgbClr val="2842A2"/>
          </a:solidFill>
          <a:ln>
            <a:noFill/>
          </a:ln>
          <a:effectLst>
            <a:outerShdw blurRad="88900" dist="381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bg1"/>
              </a:solidFill>
              <a:latin typeface="思源黑体 CN Light" panose="020B0300000000000000" pitchFamily="34" charset="-122"/>
              <a:ea typeface="思源黑体 CN Light" panose="020B0300000000000000" pitchFamily="34" charset="-122"/>
            </a:endParaRPr>
          </a:p>
        </p:txBody>
      </p:sp>
      <p:sp>
        <p:nvSpPr>
          <p:cNvPr id="17" name="PA_库_文本框 6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<p:cNvSpPr txBox="1"/>
          <p:nvPr>
            <p:custDataLst>
              <p:tags r:id="rId4"/>
            </p:custDataLst>
          </p:nvPr>
        </p:nvSpPr>
        <p:spPr>
          <a:xfrm>
            <a:off x="777695" y="1972017"/>
            <a:ext cx="3113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Adobe Garamond Pro" panose="02020502060506020403" pitchFamily="18" charset="0"/>
                <a:ea typeface="思源黑体 CN Normal" panose="020B0400000000000000" pitchFamily="34" charset="-122"/>
              </a:rPr>
              <a:t>1</a:t>
            </a:r>
            <a:endParaRPr lang="zh-CN" altLang="en-US" dirty="0">
              <a:solidFill>
                <a:schemeClr val="bg1"/>
              </a:solidFill>
              <a:latin typeface="Adobe Garamond Pro" panose="02020502060506020403" pitchFamily="18" charset="0"/>
              <a:ea typeface="思源黑体 CN Normal" panose="020B0400000000000000" pitchFamily="34" charset="-122"/>
            </a:endParaRPr>
          </a:p>
        </p:txBody>
      </p:sp>
      <p:sp>
        <p:nvSpPr>
          <p:cNvPr id="18" name="Freeform: Shape 9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<p:cNvSpPr/>
          <p:nvPr/>
        </p:nvSpPr>
        <p:spPr>
          <a:xfrm>
            <a:off x="563183" y="586661"/>
            <a:ext cx="1545431" cy="1069181"/>
          </a:xfrm>
          <a:custGeom>
            <a:avLst/>
            <a:gdLst>
              <a:gd name="connsiteX0" fmla="*/ 28575 w 1545431"/>
              <a:gd name="connsiteY0" fmla="*/ 526256 h 1069181"/>
              <a:gd name="connsiteX1" fmla="*/ 571500 w 1545431"/>
              <a:gd name="connsiteY1" fmla="*/ 1069181 h 1069181"/>
              <a:gd name="connsiteX2" fmla="*/ 1545431 w 1545431"/>
              <a:gd name="connsiteY2" fmla="*/ 1069181 h 1069181"/>
              <a:gd name="connsiteX3" fmla="*/ 476250 w 1545431"/>
              <a:gd name="connsiteY3" fmla="*/ 0 h 1069181"/>
              <a:gd name="connsiteX4" fmla="*/ 145256 w 1545431"/>
              <a:gd name="connsiteY4" fmla="*/ 0 h 1069181"/>
              <a:gd name="connsiteX5" fmla="*/ 0 w 1545431"/>
              <a:gd name="connsiteY5" fmla="*/ 276225 h 1069181"/>
              <a:gd name="connsiteX6" fmla="*/ 28575 w 1545431"/>
              <a:gd name="connsiteY6" fmla="*/ 526256 h 1069181"/>
              <a:gd name="connsiteX0" fmla="*/ 28575 w 1545431"/>
              <a:gd name="connsiteY0" fmla="*/ 526256 h 1069181"/>
              <a:gd name="connsiteX1" fmla="*/ 571500 w 1545431"/>
              <a:gd name="connsiteY1" fmla="*/ 1069181 h 1069181"/>
              <a:gd name="connsiteX2" fmla="*/ 1545431 w 1545431"/>
              <a:gd name="connsiteY2" fmla="*/ 1069181 h 1069181"/>
              <a:gd name="connsiteX3" fmla="*/ 471488 w 1545431"/>
              <a:gd name="connsiteY3" fmla="*/ 2381 h 1069181"/>
              <a:gd name="connsiteX4" fmla="*/ 145256 w 1545431"/>
              <a:gd name="connsiteY4" fmla="*/ 0 h 1069181"/>
              <a:gd name="connsiteX5" fmla="*/ 0 w 1545431"/>
              <a:gd name="connsiteY5" fmla="*/ 276225 h 1069181"/>
              <a:gd name="connsiteX6" fmla="*/ 28575 w 1545431"/>
              <a:gd name="connsiteY6" fmla="*/ 526256 h 1069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45431" h="1069181">
                <a:moveTo>
                  <a:pt x="28575" y="526256"/>
                </a:moveTo>
                <a:lnTo>
                  <a:pt x="571500" y="1069181"/>
                </a:lnTo>
                <a:lnTo>
                  <a:pt x="1545431" y="1069181"/>
                </a:lnTo>
                <a:lnTo>
                  <a:pt x="471488" y="2381"/>
                </a:lnTo>
                <a:lnTo>
                  <a:pt x="145256" y="0"/>
                </a:lnTo>
                <a:lnTo>
                  <a:pt x="0" y="276225"/>
                </a:lnTo>
                <a:lnTo>
                  <a:pt x="28575" y="526256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56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9" name="Freeform: Shape 10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<p:cNvSpPr/>
          <p:nvPr/>
        </p:nvSpPr>
        <p:spPr>
          <a:xfrm>
            <a:off x="501800" y="499508"/>
            <a:ext cx="541325" cy="705917"/>
          </a:xfrm>
          <a:custGeom>
            <a:avLst/>
            <a:gdLst/>
            <a:ahLst/>
            <a:cxnLst/>
            <a:rect l="l" t="t" r="r" b="b"/>
            <a:pathLst>
              <a:path w="541325" h="705917">
                <a:moveTo>
                  <a:pt x="324612" y="0"/>
                </a:moveTo>
                <a:cubicBezTo>
                  <a:pt x="366065" y="0"/>
                  <a:pt x="405689" y="8839"/>
                  <a:pt x="443484" y="26517"/>
                </a:cubicBezTo>
                <a:cubicBezTo>
                  <a:pt x="476402" y="41757"/>
                  <a:pt x="505663" y="62484"/>
                  <a:pt x="531267" y="88697"/>
                </a:cubicBezTo>
                <a:lnTo>
                  <a:pt x="445313" y="192938"/>
                </a:lnTo>
                <a:cubicBezTo>
                  <a:pt x="426415" y="175869"/>
                  <a:pt x="408737" y="163068"/>
                  <a:pt x="392278" y="154533"/>
                </a:cubicBezTo>
                <a:cubicBezTo>
                  <a:pt x="371551" y="144780"/>
                  <a:pt x="349910" y="139903"/>
                  <a:pt x="327355" y="139903"/>
                </a:cubicBezTo>
                <a:cubicBezTo>
                  <a:pt x="281635" y="139903"/>
                  <a:pt x="244145" y="158496"/>
                  <a:pt x="214884" y="195681"/>
                </a:cubicBezTo>
                <a:cubicBezTo>
                  <a:pt x="183185" y="234696"/>
                  <a:pt x="167335" y="286512"/>
                  <a:pt x="167335" y="351129"/>
                </a:cubicBezTo>
                <a:cubicBezTo>
                  <a:pt x="167335" y="493776"/>
                  <a:pt x="220066" y="565099"/>
                  <a:pt x="325526" y="565099"/>
                </a:cubicBezTo>
                <a:cubicBezTo>
                  <a:pt x="351130" y="565099"/>
                  <a:pt x="375514" y="559003"/>
                  <a:pt x="398678" y="546811"/>
                </a:cubicBezTo>
                <a:cubicBezTo>
                  <a:pt x="418795" y="536448"/>
                  <a:pt x="437693" y="521818"/>
                  <a:pt x="455371" y="502920"/>
                </a:cubicBezTo>
                <a:lnTo>
                  <a:pt x="541325" y="605333"/>
                </a:lnTo>
                <a:cubicBezTo>
                  <a:pt x="483413" y="672389"/>
                  <a:pt x="409346" y="705917"/>
                  <a:pt x="319126" y="705917"/>
                </a:cubicBezTo>
                <a:cubicBezTo>
                  <a:pt x="228295" y="705917"/>
                  <a:pt x="153619" y="676351"/>
                  <a:pt x="95098" y="617220"/>
                </a:cubicBezTo>
                <a:cubicBezTo>
                  <a:pt x="31699" y="553822"/>
                  <a:pt x="0" y="466953"/>
                  <a:pt x="0" y="356616"/>
                </a:cubicBezTo>
                <a:cubicBezTo>
                  <a:pt x="0" y="247497"/>
                  <a:pt x="32614" y="159715"/>
                  <a:pt x="97841" y="93269"/>
                </a:cubicBezTo>
                <a:cubicBezTo>
                  <a:pt x="158801" y="31089"/>
                  <a:pt x="234391" y="0"/>
                  <a:pt x="324612" y="0"/>
                </a:cubicBezTo>
                <a:close/>
              </a:path>
            </a:pathLst>
          </a:custGeom>
          <a:solidFill>
            <a:srgbClr val="2842A2"/>
          </a:solidFill>
          <a:ln>
            <a:noFill/>
          </a:ln>
          <a:effectLst>
            <a:outerShdw blurRad="50800" dist="25400" dir="2700000" algn="t" rotWithShape="0">
              <a:prstClr val="black">
                <a:alpha val="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文本框 28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<p:cNvSpPr txBox="1"/>
          <p:nvPr/>
        </p:nvSpPr>
        <p:spPr>
          <a:xfrm>
            <a:off x="982749" y="742606"/>
            <a:ext cx="1957587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b="1" dirty="0">
                <a:solidFill>
                  <a:srgbClr val="2842A2"/>
                </a:solidFill>
              </a:rPr>
              <a:t>ONTENTS</a:t>
            </a:r>
          </a:p>
          <a:p>
            <a:endParaRPr lang="zh-CN" altLang="en-US" sz="2800" b="1" dirty="0">
              <a:solidFill>
                <a:srgbClr val="2842A2"/>
              </a:solidFill>
            </a:endParaRPr>
          </a:p>
        </p:txBody>
      </p:sp>
      <p:sp>
        <p:nvSpPr>
          <p:cNvPr id="32" name="文本框 31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<p:cNvSpPr txBox="1"/>
          <p:nvPr/>
        </p:nvSpPr>
        <p:spPr>
          <a:xfrm>
            <a:off x="1424468" y="1820132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000">
                <a:solidFill>
                  <a:srgbClr val="2842A2"/>
                </a:solidFill>
                <a:latin typeface="+mj-lt"/>
              </a:defRPr>
            </a:lvl1pPr>
          </a:lstStyle>
          <a:p>
            <a:r>
              <a:rPr lang="zh-CN" altLang="en-US" dirty="0"/>
              <a:t>專題進度</a:t>
            </a:r>
          </a:p>
        </p:txBody>
      </p:sp>
      <p:cxnSp>
        <p:nvCxnSpPr>
          <p:cNvPr id="38" name="直接连接符 37"/>
          <p:cNvCxnSpPr/>
          <p:nvPr/>
        </p:nvCxnSpPr>
        <p:spPr>
          <a:xfrm>
            <a:off x="1535274" y="2275968"/>
            <a:ext cx="184869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158EEC77-FCD7-463C-BC1F-841583CDA196}"/>
              </a:ext>
            </a:extLst>
          </p:cNvPr>
          <p:cNvGrpSpPr/>
          <p:nvPr/>
        </p:nvGrpSpPr>
        <p:grpSpPr>
          <a:xfrm>
            <a:off x="715633" y="2808337"/>
            <a:ext cx="6163546" cy="1084861"/>
            <a:chOff x="715633" y="2808337"/>
            <a:chExt cx="6163546" cy="1084861"/>
          </a:xfrm>
        </p:grpSpPr>
        <p:sp>
          <p:nvSpPr>
            <p:cNvPr id="20" name="PA_库_Freeform: Shape 21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  <p:cNvSpPr/>
            <p:nvPr>
              <p:custDataLst>
                <p:tags r:id="rId8"/>
              </p:custDataLst>
            </p:nvPr>
          </p:nvSpPr>
          <p:spPr>
            <a:xfrm>
              <a:off x="717546" y="2965840"/>
              <a:ext cx="1362600" cy="927358"/>
            </a:xfrm>
            <a:custGeom>
              <a:avLst/>
              <a:gdLst>
                <a:gd name="connsiteX0" fmla="*/ 28575 w 1545431"/>
                <a:gd name="connsiteY0" fmla="*/ 526256 h 1069181"/>
                <a:gd name="connsiteX1" fmla="*/ 571500 w 1545431"/>
                <a:gd name="connsiteY1" fmla="*/ 1069181 h 1069181"/>
                <a:gd name="connsiteX2" fmla="*/ 1545431 w 1545431"/>
                <a:gd name="connsiteY2" fmla="*/ 1069181 h 1069181"/>
                <a:gd name="connsiteX3" fmla="*/ 476250 w 1545431"/>
                <a:gd name="connsiteY3" fmla="*/ 0 h 1069181"/>
                <a:gd name="connsiteX4" fmla="*/ 145256 w 1545431"/>
                <a:gd name="connsiteY4" fmla="*/ 0 h 1069181"/>
                <a:gd name="connsiteX5" fmla="*/ 0 w 1545431"/>
                <a:gd name="connsiteY5" fmla="*/ 276225 h 1069181"/>
                <a:gd name="connsiteX6" fmla="*/ 28575 w 1545431"/>
                <a:gd name="connsiteY6" fmla="*/ 526256 h 1069181"/>
                <a:gd name="connsiteX0" fmla="*/ 28575 w 1545431"/>
                <a:gd name="connsiteY0" fmla="*/ 526256 h 1069181"/>
                <a:gd name="connsiteX1" fmla="*/ 571500 w 1545431"/>
                <a:gd name="connsiteY1" fmla="*/ 1069181 h 1069181"/>
                <a:gd name="connsiteX2" fmla="*/ 1545431 w 1545431"/>
                <a:gd name="connsiteY2" fmla="*/ 1069181 h 1069181"/>
                <a:gd name="connsiteX3" fmla="*/ 471488 w 1545431"/>
                <a:gd name="connsiteY3" fmla="*/ 2381 h 1069181"/>
                <a:gd name="connsiteX4" fmla="*/ 145256 w 1545431"/>
                <a:gd name="connsiteY4" fmla="*/ 0 h 1069181"/>
                <a:gd name="connsiteX5" fmla="*/ 0 w 1545431"/>
                <a:gd name="connsiteY5" fmla="*/ 276225 h 1069181"/>
                <a:gd name="connsiteX6" fmla="*/ 28575 w 1545431"/>
                <a:gd name="connsiteY6" fmla="*/ 526256 h 1069181"/>
                <a:gd name="connsiteX0" fmla="*/ 0 w 1516856"/>
                <a:gd name="connsiteY0" fmla="*/ 526256 h 1069181"/>
                <a:gd name="connsiteX1" fmla="*/ 542925 w 1516856"/>
                <a:gd name="connsiteY1" fmla="*/ 1069181 h 1069181"/>
                <a:gd name="connsiteX2" fmla="*/ 1516856 w 1516856"/>
                <a:gd name="connsiteY2" fmla="*/ 1069181 h 1069181"/>
                <a:gd name="connsiteX3" fmla="*/ 442913 w 1516856"/>
                <a:gd name="connsiteY3" fmla="*/ 2381 h 1069181"/>
                <a:gd name="connsiteX4" fmla="*/ 116681 w 1516856"/>
                <a:gd name="connsiteY4" fmla="*/ 0 h 1069181"/>
                <a:gd name="connsiteX5" fmla="*/ 0 w 1516856"/>
                <a:gd name="connsiteY5" fmla="*/ 526256 h 1069181"/>
                <a:gd name="connsiteX0" fmla="*/ 0 w 1516856"/>
                <a:gd name="connsiteY0" fmla="*/ 523875 h 1066800"/>
                <a:gd name="connsiteX1" fmla="*/ 542925 w 1516856"/>
                <a:gd name="connsiteY1" fmla="*/ 1066800 h 1066800"/>
                <a:gd name="connsiteX2" fmla="*/ 1516856 w 1516856"/>
                <a:gd name="connsiteY2" fmla="*/ 1066800 h 1066800"/>
                <a:gd name="connsiteX3" fmla="*/ 442913 w 1516856"/>
                <a:gd name="connsiteY3" fmla="*/ 0 h 1066800"/>
                <a:gd name="connsiteX4" fmla="*/ 0 w 1516856"/>
                <a:gd name="connsiteY4" fmla="*/ 523875 h 1066800"/>
                <a:gd name="connsiteX0" fmla="*/ 0 w 1516856"/>
                <a:gd name="connsiteY0" fmla="*/ 494717 h 1037642"/>
                <a:gd name="connsiteX1" fmla="*/ 542925 w 1516856"/>
                <a:gd name="connsiteY1" fmla="*/ 1037642 h 1037642"/>
                <a:gd name="connsiteX2" fmla="*/ 1516856 w 1516856"/>
                <a:gd name="connsiteY2" fmla="*/ 1037642 h 1037642"/>
                <a:gd name="connsiteX3" fmla="*/ 477373 w 1516856"/>
                <a:gd name="connsiteY3" fmla="*/ 0 h 1037642"/>
                <a:gd name="connsiteX4" fmla="*/ 0 w 1516856"/>
                <a:gd name="connsiteY4" fmla="*/ 494717 h 1037642"/>
                <a:gd name="connsiteX0" fmla="*/ 0 w 1516856"/>
                <a:gd name="connsiteY0" fmla="*/ 489416 h 1032341"/>
                <a:gd name="connsiteX1" fmla="*/ 542925 w 1516856"/>
                <a:gd name="connsiteY1" fmla="*/ 1032341 h 1032341"/>
                <a:gd name="connsiteX2" fmla="*/ 1516856 w 1516856"/>
                <a:gd name="connsiteY2" fmla="*/ 1032341 h 1032341"/>
                <a:gd name="connsiteX3" fmla="*/ 474722 w 1516856"/>
                <a:gd name="connsiteY3" fmla="*/ 0 h 1032341"/>
                <a:gd name="connsiteX4" fmla="*/ 0 w 1516856"/>
                <a:gd name="connsiteY4" fmla="*/ 489416 h 1032341"/>
                <a:gd name="connsiteX0" fmla="*/ 0 w 1516856"/>
                <a:gd name="connsiteY0" fmla="*/ 484115 h 1027040"/>
                <a:gd name="connsiteX1" fmla="*/ 542925 w 1516856"/>
                <a:gd name="connsiteY1" fmla="*/ 1027040 h 1027040"/>
                <a:gd name="connsiteX2" fmla="*/ 1516856 w 1516856"/>
                <a:gd name="connsiteY2" fmla="*/ 1027040 h 1027040"/>
                <a:gd name="connsiteX3" fmla="*/ 480024 w 1516856"/>
                <a:gd name="connsiteY3" fmla="*/ 0 h 1027040"/>
                <a:gd name="connsiteX4" fmla="*/ 0 w 1516856"/>
                <a:gd name="connsiteY4" fmla="*/ 484115 h 1027040"/>
                <a:gd name="connsiteX0" fmla="*/ 0 w 1516856"/>
                <a:gd name="connsiteY0" fmla="*/ 489417 h 1032342"/>
                <a:gd name="connsiteX1" fmla="*/ 542925 w 1516856"/>
                <a:gd name="connsiteY1" fmla="*/ 1032342 h 1032342"/>
                <a:gd name="connsiteX2" fmla="*/ 1516856 w 1516856"/>
                <a:gd name="connsiteY2" fmla="*/ 1032342 h 1032342"/>
                <a:gd name="connsiteX3" fmla="*/ 480024 w 1516856"/>
                <a:gd name="connsiteY3" fmla="*/ 0 h 1032342"/>
                <a:gd name="connsiteX4" fmla="*/ 0 w 1516856"/>
                <a:gd name="connsiteY4" fmla="*/ 489417 h 103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6856" h="1032342">
                  <a:moveTo>
                    <a:pt x="0" y="489417"/>
                  </a:moveTo>
                  <a:lnTo>
                    <a:pt x="542925" y="1032342"/>
                  </a:lnTo>
                  <a:lnTo>
                    <a:pt x="1516856" y="1032342"/>
                  </a:lnTo>
                  <a:lnTo>
                    <a:pt x="480024" y="0"/>
                  </a:lnTo>
                  <a:lnTo>
                    <a:pt x="0" y="489417"/>
                  </a:lnTo>
                  <a:close/>
                </a:path>
              </a:pathLst>
            </a:custGeom>
            <a:gradFill>
              <a:gsLst>
                <a:gs pos="0">
                  <a:srgbClr val="2842A2"/>
                </a:gs>
                <a:gs pos="56000">
                  <a:schemeClr val="accent5">
                    <a:alpha val="0"/>
                  </a:scheme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PA_库_矩形 22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  <p:cNvSpPr/>
            <p:nvPr>
              <p:custDataLst>
                <p:tags r:id="rId9"/>
              </p:custDataLst>
            </p:nvPr>
          </p:nvSpPr>
          <p:spPr>
            <a:xfrm>
              <a:off x="715633" y="2968630"/>
              <a:ext cx="435428" cy="435428"/>
            </a:xfrm>
            <a:prstGeom prst="rect">
              <a:avLst/>
            </a:prstGeom>
            <a:solidFill>
              <a:srgbClr val="2842A2"/>
            </a:solidFill>
            <a:ln>
              <a:noFill/>
            </a:ln>
            <a:effectLst>
              <a:outerShdw blurRad="889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22" name="PA_库_文本框 23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  <p:cNvSpPr txBox="1"/>
            <p:nvPr>
              <p:custDataLst>
                <p:tags r:id="rId10"/>
              </p:custDataLst>
            </p:nvPr>
          </p:nvSpPr>
          <p:spPr>
            <a:xfrm>
              <a:off x="777695" y="3009326"/>
              <a:ext cx="3113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Adobe Garamond Pro" panose="02020502060506020403" pitchFamily="18" charset="0"/>
                  <a:ea typeface="思源黑体 CN Normal" panose="020B0400000000000000" pitchFamily="34" charset="-122"/>
                </a:rPr>
                <a:t>2</a:t>
              </a:r>
              <a:endParaRPr lang="zh-CN" altLang="en-US" dirty="0">
                <a:solidFill>
                  <a:schemeClr val="bg1"/>
                </a:solidFill>
                <a:latin typeface="Adobe Garamond Pro" panose="02020502060506020403" pitchFamily="18" charset="0"/>
                <a:ea typeface="思源黑体 CN Normal" panose="020B0400000000000000" pitchFamily="34" charset="-122"/>
              </a:endParaRPr>
            </a:p>
          </p:txBody>
        </p:sp>
        <p:sp>
          <p:nvSpPr>
            <p:cNvPr id="30" name="文本框 29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/>
            <p:cNvSpPr txBox="1"/>
            <p:nvPr/>
          </p:nvSpPr>
          <p:spPr>
            <a:xfrm>
              <a:off x="1439081" y="2808337"/>
              <a:ext cx="146706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dirty="0">
                  <a:solidFill>
                    <a:srgbClr val="2842A2"/>
                  </a:solidFill>
                  <a:latin typeface="+mj-lt"/>
                </a:rPr>
                <a:t>問題與回復</a:t>
              </a:r>
            </a:p>
          </p:txBody>
        </p:sp>
        <p:cxnSp>
          <p:nvCxnSpPr>
            <p:cNvPr id="39" name="直接连接符 38"/>
            <p:cNvCxnSpPr/>
            <p:nvPr/>
          </p:nvCxnSpPr>
          <p:spPr>
            <a:xfrm>
              <a:off x="1535274" y="3291968"/>
              <a:ext cx="184869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矩形 45"/>
            <p:cNvSpPr/>
            <p:nvPr/>
          </p:nvSpPr>
          <p:spPr>
            <a:xfrm>
              <a:off x="1439081" y="3367177"/>
              <a:ext cx="544009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Question and answer</a:t>
              </a:r>
              <a:endPara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47" name="矩形 46"/>
          <p:cNvSpPr/>
          <p:nvPr/>
        </p:nvSpPr>
        <p:spPr>
          <a:xfrm>
            <a:off x="1439081" y="2310129"/>
            <a:ext cx="544009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ject progress</a:t>
            </a:r>
            <a:endParaRPr lang="zh-CN" alt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68055CE-31FC-4783-A36B-0F01A8A49D94}"/>
              </a:ext>
            </a:extLst>
          </p:cNvPr>
          <p:cNvGrpSpPr/>
          <p:nvPr/>
        </p:nvGrpSpPr>
        <p:grpSpPr>
          <a:xfrm>
            <a:off x="710092" y="3983203"/>
            <a:ext cx="6163546" cy="1084861"/>
            <a:chOff x="715633" y="2808337"/>
            <a:chExt cx="6163546" cy="1084861"/>
          </a:xfrm>
        </p:grpSpPr>
        <p:sp>
          <p:nvSpPr>
            <p:cNvPr id="24" name="PA_库_Freeform: Shape 21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E48DABE3-C9F3-4909-AA5B-CBBDE8E58C23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717546" y="2965840"/>
              <a:ext cx="1362600" cy="927358"/>
            </a:xfrm>
            <a:custGeom>
              <a:avLst/>
              <a:gdLst>
                <a:gd name="connsiteX0" fmla="*/ 28575 w 1545431"/>
                <a:gd name="connsiteY0" fmla="*/ 526256 h 1069181"/>
                <a:gd name="connsiteX1" fmla="*/ 571500 w 1545431"/>
                <a:gd name="connsiteY1" fmla="*/ 1069181 h 1069181"/>
                <a:gd name="connsiteX2" fmla="*/ 1545431 w 1545431"/>
                <a:gd name="connsiteY2" fmla="*/ 1069181 h 1069181"/>
                <a:gd name="connsiteX3" fmla="*/ 476250 w 1545431"/>
                <a:gd name="connsiteY3" fmla="*/ 0 h 1069181"/>
                <a:gd name="connsiteX4" fmla="*/ 145256 w 1545431"/>
                <a:gd name="connsiteY4" fmla="*/ 0 h 1069181"/>
                <a:gd name="connsiteX5" fmla="*/ 0 w 1545431"/>
                <a:gd name="connsiteY5" fmla="*/ 276225 h 1069181"/>
                <a:gd name="connsiteX6" fmla="*/ 28575 w 1545431"/>
                <a:gd name="connsiteY6" fmla="*/ 526256 h 1069181"/>
                <a:gd name="connsiteX0" fmla="*/ 28575 w 1545431"/>
                <a:gd name="connsiteY0" fmla="*/ 526256 h 1069181"/>
                <a:gd name="connsiteX1" fmla="*/ 571500 w 1545431"/>
                <a:gd name="connsiteY1" fmla="*/ 1069181 h 1069181"/>
                <a:gd name="connsiteX2" fmla="*/ 1545431 w 1545431"/>
                <a:gd name="connsiteY2" fmla="*/ 1069181 h 1069181"/>
                <a:gd name="connsiteX3" fmla="*/ 471488 w 1545431"/>
                <a:gd name="connsiteY3" fmla="*/ 2381 h 1069181"/>
                <a:gd name="connsiteX4" fmla="*/ 145256 w 1545431"/>
                <a:gd name="connsiteY4" fmla="*/ 0 h 1069181"/>
                <a:gd name="connsiteX5" fmla="*/ 0 w 1545431"/>
                <a:gd name="connsiteY5" fmla="*/ 276225 h 1069181"/>
                <a:gd name="connsiteX6" fmla="*/ 28575 w 1545431"/>
                <a:gd name="connsiteY6" fmla="*/ 526256 h 1069181"/>
                <a:gd name="connsiteX0" fmla="*/ 0 w 1516856"/>
                <a:gd name="connsiteY0" fmla="*/ 526256 h 1069181"/>
                <a:gd name="connsiteX1" fmla="*/ 542925 w 1516856"/>
                <a:gd name="connsiteY1" fmla="*/ 1069181 h 1069181"/>
                <a:gd name="connsiteX2" fmla="*/ 1516856 w 1516856"/>
                <a:gd name="connsiteY2" fmla="*/ 1069181 h 1069181"/>
                <a:gd name="connsiteX3" fmla="*/ 442913 w 1516856"/>
                <a:gd name="connsiteY3" fmla="*/ 2381 h 1069181"/>
                <a:gd name="connsiteX4" fmla="*/ 116681 w 1516856"/>
                <a:gd name="connsiteY4" fmla="*/ 0 h 1069181"/>
                <a:gd name="connsiteX5" fmla="*/ 0 w 1516856"/>
                <a:gd name="connsiteY5" fmla="*/ 526256 h 1069181"/>
                <a:gd name="connsiteX0" fmla="*/ 0 w 1516856"/>
                <a:gd name="connsiteY0" fmla="*/ 523875 h 1066800"/>
                <a:gd name="connsiteX1" fmla="*/ 542925 w 1516856"/>
                <a:gd name="connsiteY1" fmla="*/ 1066800 h 1066800"/>
                <a:gd name="connsiteX2" fmla="*/ 1516856 w 1516856"/>
                <a:gd name="connsiteY2" fmla="*/ 1066800 h 1066800"/>
                <a:gd name="connsiteX3" fmla="*/ 442913 w 1516856"/>
                <a:gd name="connsiteY3" fmla="*/ 0 h 1066800"/>
                <a:gd name="connsiteX4" fmla="*/ 0 w 1516856"/>
                <a:gd name="connsiteY4" fmla="*/ 523875 h 1066800"/>
                <a:gd name="connsiteX0" fmla="*/ 0 w 1516856"/>
                <a:gd name="connsiteY0" fmla="*/ 494717 h 1037642"/>
                <a:gd name="connsiteX1" fmla="*/ 542925 w 1516856"/>
                <a:gd name="connsiteY1" fmla="*/ 1037642 h 1037642"/>
                <a:gd name="connsiteX2" fmla="*/ 1516856 w 1516856"/>
                <a:gd name="connsiteY2" fmla="*/ 1037642 h 1037642"/>
                <a:gd name="connsiteX3" fmla="*/ 477373 w 1516856"/>
                <a:gd name="connsiteY3" fmla="*/ 0 h 1037642"/>
                <a:gd name="connsiteX4" fmla="*/ 0 w 1516856"/>
                <a:gd name="connsiteY4" fmla="*/ 494717 h 1037642"/>
                <a:gd name="connsiteX0" fmla="*/ 0 w 1516856"/>
                <a:gd name="connsiteY0" fmla="*/ 489416 h 1032341"/>
                <a:gd name="connsiteX1" fmla="*/ 542925 w 1516856"/>
                <a:gd name="connsiteY1" fmla="*/ 1032341 h 1032341"/>
                <a:gd name="connsiteX2" fmla="*/ 1516856 w 1516856"/>
                <a:gd name="connsiteY2" fmla="*/ 1032341 h 1032341"/>
                <a:gd name="connsiteX3" fmla="*/ 474722 w 1516856"/>
                <a:gd name="connsiteY3" fmla="*/ 0 h 1032341"/>
                <a:gd name="connsiteX4" fmla="*/ 0 w 1516856"/>
                <a:gd name="connsiteY4" fmla="*/ 489416 h 1032341"/>
                <a:gd name="connsiteX0" fmla="*/ 0 w 1516856"/>
                <a:gd name="connsiteY0" fmla="*/ 484115 h 1027040"/>
                <a:gd name="connsiteX1" fmla="*/ 542925 w 1516856"/>
                <a:gd name="connsiteY1" fmla="*/ 1027040 h 1027040"/>
                <a:gd name="connsiteX2" fmla="*/ 1516856 w 1516856"/>
                <a:gd name="connsiteY2" fmla="*/ 1027040 h 1027040"/>
                <a:gd name="connsiteX3" fmla="*/ 480024 w 1516856"/>
                <a:gd name="connsiteY3" fmla="*/ 0 h 1027040"/>
                <a:gd name="connsiteX4" fmla="*/ 0 w 1516856"/>
                <a:gd name="connsiteY4" fmla="*/ 484115 h 1027040"/>
                <a:gd name="connsiteX0" fmla="*/ 0 w 1516856"/>
                <a:gd name="connsiteY0" fmla="*/ 489417 h 1032342"/>
                <a:gd name="connsiteX1" fmla="*/ 542925 w 1516856"/>
                <a:gd name="connsiteY1" fmla="*/ 1032342 h 1032342"/>
                <a:gd name="connsiteX2" fmla="*/ 1516856 w 1516856"/>
                <a:gd name="connsiteY2" fmla="*/ 1032342 h 1032342"/>
                <a:gd name="connsiteX3" fmla="*/ 480024 w 1516856"/>
                <a:gd name="connsiteY3" fmla="*/ 0 h 1032342"/>
                <a:gd name="connsiteX4" fmla="*/ 0 w 1516856"/>
                <a:gd name="connsiteY4" fmla="*/ 489417 h 103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6856" h="1032342">
                  <a:moveTo>
                    <a:pt x="0" y="489417"/>
                  </a:moveTo>
                  <a:lnTo>
                    <a:pt x="542925" y="1032342"/>
                  </a:lnTo>
                  <a:lnTo>
                    <a:pt x="1516856" y="1032342"/>
                  </a:lnTo>
                  <a:lnTo>
                    <a:pt x="480024" y="0"/>
                  </a:lnTo>
                  <a:lnTo>
                    <a:pt x="0" y="489417"/>
                  </a:lnTo>
                  <a:close/>
                </a:path>
              </a:pathLst>
            </a:custGeom>
            <a:gradFill>
              <a:gsLst>
                <a:gs pos="0">
                  <a:srgbClr val="2842A2"/>
                </a:gs>
                <a:gs pos="56000">
                  <a:schemeClr val="accent5">
                    <a:alpha val="0"/>
                  </a:schemeClr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PA_库_矩形 22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EDACCEC4-3340-4211-B4EE-2CF6C5A64D00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715633" y="2968630"/>
              <a:ext cx="435428" cy="435428"/>
            </a:xfrm>
            <a:prstGeom prst="rect">
              <a:avLst/>
            </a:prstGeom>
            <a:solidFill>
              <a:srgbClr val="2842A2"/>
            </a:solidFill>
            <a:ln>
              <a:noFill/>
            </a:ln>
            <a:effectLst>
              <a:outerShdw blurRad="889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26" name="PA_库_文本框 23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40293C31-93C5-42B1-A2AD-2864F992C7BF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777695" y="3009326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Adobe Garamond Pro" panose="02020502060506020403" pitchFamily="18" charset="0"/>
                  <a:ea typeface="思源黑体 CN Normal" panose="020B0400000000000000" pitchFamily="34" charset="-122"/>
                </a:rPr>
                <a:t>3</a:t>
              </a:r>
              <a:endParaRPr lang="zh-CN" altLang="en-US" dirty="0">
                <a:solidFill>
                  <a:schemeClr val="bg1"/>
                </a:solidFill>
                <a:latin typeface="Adobe Garamond Pro" panose="02020502060506020403" pitchFamily="18" charset="0"/>
                <a:ea typeface="思源黑体 CN Normal" panose="020B0400000000000000" pitchFamily="34" charset="-122"/>
              </a:endParaRPr>
            </a:p>
          </p:txBody>
        </p:sp>
        <p:sp>
          <p:nvSpPr>
            <p:cNvPr id="27" name="文本框 29" descr="e7d195523061f1c03a90ee8e42cb24248e56383cd534985688F9F494128731F165EE95AB4B0C0A38076AAEA07667B1565C446FC45FF01DFB0E885BCDBDF3A284F3DB14DA61DD97F0BAB2E6C668FB4931659DCAC52277681B35A97A58EB1CDE1A30E511E1F70EEB23193653529328E29B82636547E25AC41088D20F0A52114429D13EF1D12E4FBA26373564D4CAB325C9">
              <a:extLst>
                <a:ext uri="{FF2B5EF4-FFF2-40B4-BE49-F238E27FC236}">
                  <a16:creationId xmlns:a16="http://schemas.microsoft.com/office/drawing/2014/main" id="{6D32AA38-DED5-4D3D-AAA0-5793C8CDBDE7}"/>
                </a:ext>
              </a:extLst>
            </p:cNvPr>
            <p:cNvSpPr txBox="1"/>
            <p:nvPr/>
          </p:nvSpPr>
          <p:spPr>
            <a:xfrm>
              <a:off x="1439081" y="2808337"/>
              <a:ext cx="140775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dirty="0">
                  <a:solidFill>
                    <a:srgbClr val="2842A2"/>
                  </a:solidFill>
                  <a:latin typeface="+mj-lt"/>
                </a:rPr>
                <a:t>現場</a:t>
              </a:r>
              <a:r>
                <a:rPr lang="en-US" altLang="zh-CN" sz="2000" dirty="0">
                  <a:solidFill>
                    <a:srgbClr val="2842A2"/>
                  </a:solidFill>
                  <a:latin typeface="+mj-lt"/>
                </a:rPr>
                <a:t>DEMO</a:t>
              </a:r>
              <a:endParaRPr lang="zh-CN" altLang="en-US" sz="2000" dirty="0">
                <a:solidFill>
                  <a:srgbClr val="2842A2"/>
                </a:solidFill>
                <a:latin typeface="+mj-lt"/>
              </a:endParaRPr>
            </a:p>
          </p:txBody>
        </p:sp>
        <p:cxnSp>
          <p:nvCxnSpPr>
            <p:cNvPr id="28" name="直接连接符 38">
              <a:extLst>
                <a:ext uri="{FF2B5EF4-FFF2-40B4-BE49-F238E27FC236}">
                  <a16:creationId xmlns:a16="http://schemas.microsoft.com/office/drawing/2014/main" id="{3DE0EB5C-94E9-449C-A672-1B5E0E0B241F}"/>
                </a:ext>
              </a:extLst>
            </p:cNvPr>
            <p:cNvCxnSpPr/>
            <p:nvPr/>
          </p:nvCxnSpPr>
          <p:spPr>
            <a:xfrm>
              <a:off x="1535274" y="3291968"/>
              <a:ext cx="184869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矩形 45">
              <a:extLst>
                <a:ext uri="{FF2B5EF4-FFF2-40B4-BE49-F238E27FC236}">
                  <a16:creationId xmlns:a16="http://schemas.microsoft.com/office/drawing/2014/main" id="{925C2633-1018-469D-A267-59E61D4BE9EA}"/>
                </a:ext>
              </a:extLst>
            </p:cNvPr>
            <p:cNvSpPr/>
            <p:nvPr/>
          </p:nvSpPr>
          <p:spPr>
            <a:xfrm>
              <a:off x="1439081" y="3367177"/>
              <a:ext cx="544009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ive DEMO</a:t>
              </a:r>
              <a:endPara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955299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836D1CD0-DE8A-4BCA-9AB8-B402DC3345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2684"/>
          </a:xfrm>
          <a:prstGeom prst="rect">
            <a:avLst/>
          </a:prstGeom>
        </p:spPr>
      </p:pic>
      <p:sp>
        <p:nvSpPr>
          <p:cNvPr id="3" name="圆角矩形 3">
            <a:extLst>
              <a:ext uri="{FF2B5EF4-FFF2-40B4-BE49-F238E27FC236}">
                <a16:creationId xmlns:a16="http://schemas.microsoft.com/office/drawing/2014/main" id="{D3E0BC2A-2A33-4845-9E2E-4571CA2A2562}"/>
              </a:ext>
            </a:extLst>
          </p:cNvPr>
          <p:cNvSpPr/>
          <p:nvPr/>
        </p:nvSpPr>
        <p:spPr>
          <a:xfrm>
            <a:off x="694734" y="581749"/>
            <a:ext cx="10802533" cy="5694503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ln w="12700">
            <a:noFill/>
          </a:ln>
          <a:effectLst>
            <a:outerShdw blurRad="381000" dist="38100" dir="5400000" algn="t" rotWithShape="0">
              <a:srgbClr val="B8B8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prstClr val="white"/>
              </a:solidFill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D8AFFDE-19DF-4431-A7C2-D17DF1F293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55901" y="2751512"/>
            <a:ext cx="3534438" cy="3724304"/>
          </a:xfrm>
          <a:prstGeom prst="rect">
            <a:avLst/>
          </a:prstGeom>
        </p:spPr>
      </p:pic>
      <p:sp>
        <p:nvSpPr>
          <p:cNvPr id="28" name="Parallelogram 7">
            <a:extLst>
              <a:ext uri="{FF2B5EF4-FFF2-40B4-BE49-F238E27FC236}">
                <a16:creationId xmlns:a16="http://schemas.microsoft.com/office/drawing/2014/main" id="{942D70BE-9452-45D8-BA8A-9194ACBD62D6}"/>
              </a:ext>
            </a:extLst>
          </p:cNvPr>
          <p:cNvSpPr/>
          <p:nvPr/>
        </p:nvSpPr>
        <p:spPr>
          <a:xfrm flipH="1">
            <a:off x="880889" y="5468685"/>
            <a:ext cx="5342360" cy="660959"/>
          </a:xfrm>
          <a:prstGeom prst="parallelogram">
            <a:avLst>
              <a:gd name="adj" fmla="val 100000"/>
            </a:avLst>
          </a:prstGeom>
          <a:solidFill>
            <a:srgbClr val="7611D5"/>
          </a:solidFill>
          <a:ln>
            <a:noFill/>
          </a:ln>
          <a:effectLst>
            <a:outerShdw blurRad="127000" dist="63500" dir="8100000" algn="tr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 dirty="0">
                <a:latin typeface="张海山锐线体2.0" panose="02000000000000000000" pitchFamily="2" charset="-122"/>
              </a:rPr>
              <a:t>HI5 VR GLOVE</a:t>
            </a:r>
            <a:endParaRPr lang="id-ID" sz="3600" dirty="0">
              <a:latin typeface="张海山锐线体2.0" panose="02000000000000000000" pitchFamily="2" charset="-122"/>
            </a:endParaRPr>
          </a:p>
        </p:txBody>
      </p:sp>
      <p:pic>
        <p:nvPicPr>
          <p:cNvPr id="25" name="图片 24" descr="屏幕剪辑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62" y="789568"/>
            <a:ext cx="8113438" cy="4532509"/>
          </a:xfrm>
          <a:prstGeom prst="rect">
            <a:avLst/>
          </a:prstGeom>
        </p:spPr>
      </p:pic>
      <p:pic>
        <p:nvPicPr>
          <p:cNvPr id="24" name="image7.jpeg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80889" y="829924"/>
            <a:ext cx="3634422" cy="445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4029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81B861B5-6FCE-4F78-8BEF-DD74DD9D626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8678" y="10914"/>
            <a:ext cx="12288540" cy="205740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8F4B29BB-16B5-4607-B56A-BB709421D3A1}"/>
              </a:ext>
            </a:extLst>
          </p:cNvPr>
          <p:cNvSpPr/>
          <p:nvPr/>
        </p:nvSpPr>
        <p:spPr>
          <a:xfrm>
            <a:off x="-97398" y="1828800"/>
            <a:ext cx="12289398" cy="6286500"/>
          </a:xfrm>
          <a:prstGeom prst="rect">
            <a:avLst/>
          </a:prstGeom>
          <a:solidFill>
            <a:srgbClr val="F4F5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B17F0DA6-C8F6-4851-857F-76EC2B014E84}"/>
              </a:ext>
            </a:extLst>
          </p:cNvPr>
          <p:cNvSpPr/>
          <p:nvPr/>
        </p:nvSpPr>
        <p:spPr>
          <a:xfrm>
            <a:off x="-93439" y="742950"/>
            <a:ext cx="5909537" cy="7372350"/>
          </a:xfrm>
          <a:custGeom>
            <a:avLst/>
            <a:gdLst>
              <a:gd name="connsiteX0" fmla="*/ 0 w 3983598"/>
              <a:gd name="connsiteY0" fmla="*/ 0 h 6286500"/>
              <a:gd name="connsiteX1" fmla="*/ 3983598 w 3983598"/>
              <a:gd name="connsiteY1" fmla="*/ 0 h 6286500"/>
              <a:gd name="connsiteX2" fmla="*/ 3983598 w 3983598"/>
              <a:gd name="connsiteY2" fmla="*/ 6286500 h 6286500"/>
              <a:gd name="connsiteX3" fmla="*/ 0 w 3983598"/>
              <a:gd name="connsiteY3" fmla="*/ 6286500 h 6286500"/>
              <a:gd name="connsiteX4" fmla="*/ 0 w 3983598"/>
              <a:gd name="connsiteY4" fmla="*/ 0 h 6286500"/>
              <a:gd name="connsiteX0" fmla="*/ 0 w 6498198"/>
              <a:gd name="connsiteY0" fmla="*/ 8538 h 6295038"/>
              <a:gd name="connsiteX1" fmla="*/ 3983598 w 6498198"/>
              <a:gd name="connsiteY1" fmla="*/ 8538 h 6295038"/>
              <a:gd name="connsiteX2" fmla="*/ 3983598 w 6498198"/>
              <a:gd name="connsiteY2" fmla="*/ 6295038 h 6295038"/>
              <a:gd name="connsiteX3" fmla="*/ 0 w 6498198"/>
              <a:gd name="connsiteY3" fmla="*/ 6295038 h 6295038"/>
              <a:gd name="connsiteX4" fmla="*/ 0 w 6498198"/>
              <a:gd name="connsiteY4" fmla="*/ 8538 h 6295038"/>
              <a:gd name="connsiteX0" fmla="*/ 0 w 5676931"/>
              <a:gd name="connsiteY0" fmla="*/ 0 h 6286500"/>
              <a:gd name="connsiteX1" fmla="*/ 3983598 w 5676931"/>
              <a:gd name="connsiteY1" fmla="*/ 0 h 6286500"/>
              <a:gd name="connsiteX2" fmla="*/ 3983598 w 5676931"/>
              <a:gd name="connsiteY2" fmla="*/ 6286500 h 6286500"/>
              <a:gd name="connsiteX3" fmla="*/ 0 w 5676931"/>
              <a:gd name="connsiteY3" fmla="*/ 6286500 h 6286500"/>
              <a:gd name="connsiteX4" fmla="*/ 0 w 5676931"/>
              <a:gd name="connsiteY4" fmla="*/ 0 h 6286500"/>
              <a:gd name="connsiteX0" fmla="*/ 0 w 5676931"/>
              <a:gd name="connsiteY0" fmla="*/ 322170 h 6608670"/>
              <a:gd name="connsiteX1" fmla="*/ 3983598 w 5676931"/>
              <a:gd name="connsiteY1" fmla="*/ 322170 h 6608670"/>
              <a:gd name="connsiteX2" fmla="*/ 3983598 w 5676931"/>
              <a:gd name="connsiteY2" fmla="*/ 6608670 h 6608670"/>
              <a:gd name="connsiteX3" fmla="*/ 0 w 5676931"/>
              <a:gd name="connsiteY3" fmla="*/ 6608670 h 6608670"/>
              <a:gd name="connsiteX4" fmla="*/ 0 w 5676931"/>
              <a:gd name="connsiteY4" fmla="*/ 322170 h 6608670"/>
              <a:gd name="connsiteX0" fmla="*/ 0 w 5194331"/>
              <a:gd name="connsiteY0" fmla="*/ 322170 h 6608670"/>
              <a:gd name="connsiteX1" fmla="*/ 3983598 w 5194331"/>
              <a:gd name="connsiteY1" fmla="*/ 322170 h 6608670"/>
              <a:gd name="connsiteX2" fmla="*/ 3983598 w 5194331"/>
              <a:gd name="connsiteY2" fmla="*/ 6608670 h 6608670"/>
              <a:gd name="connsiteX3" fmla="*/ 0 w 5194331"/>
              <a:gd name="connsiteY3" fmla="*/ 6608670 h 6608670"/>
              <a:gd name="connsiteX4" fmla="*/ 0 w 5194331"/>
              <a:gd name="connsiteY4" fmla="*/ 322170 h 6608670"/>
              <a:gd name="connsiteX0" fmla="*/ 0 w 5194331"/>
              <a:gd name="connsiteY0" fmla="*/ 93260 h 6379760"/>
              <a:gd name="connsiteX1" fmla="*/ 3983598 w 5194331"/>
              <a:gd name="connsiteY1" fmla="*/ 93260 h 6379760"/>
              <a:gd name="connsiteX2" fmla="*/ 3983598 w 5194331"/>
              <a:gd name="connsiteY2" fmla="*/ 6379760 h 6379760"/>
              <a:gd name="connsiteX3" fmla="*/ 0 w 5194331"/>
              <a:gd name="connsiteY3" fmla="*/ 6379760 h 6379760"/>
              <a:gd name="connsiteX4" fmla="*/ 0 w 5194331"/>
              <a:gd name="connsiteY4" fmla="*/ 93260 h 6379760"/>
              <a:gd name="connsiteX0" fmla="*/ 0 w 5055273"/>
              <a:gd name="connsiteY0" fmla="*/ 7129 h 6293629"/>
              <a:gd name="connsiteX1" fmla="*/ 3793098 w 5055273"/>
              <a:gd name="connsiteY1" fmla="*/ 159736 h 6293629"/>
              <a:gd name="connsiteX2" fmla="*/ 3983598 w 5055273"/>
              <a:gd name="connsiteY2" fmla="*/ 6293629 h 6293629"/>
              <a:gd name="connsiteX3" fmla="*/ 0 w 5055273"/>
              <a:gd name="connsiteY3" fmla="*/ 6293629 h 6293629"/>
              <a:gd name="connsiteX4" fmla="*/ 0 w 5055273"/>
              <a:gd name="connsiteY4" fmla="*/ 7129 h 6293629"/>
              <a:gd name="connsiteX0" fmla="*/ 0 w 5909537"/>
              <a:gd name="connsiteY0" fmla="*/ 7129 h 6293629"/>
              <a:gd name="connsiteX1" fmla="*/ 3793098 w 5909537"/>
              <a:gd name="connsiteY1" fmla="*/ 159736 h 6293629"/>
              <a:gd name="connsiteX2" fmla="*/ 3983598 w 5909537"/>
              <a:gd name="connsiteY2" fmla="*/ 6293629 h 6293629"/>
              <a:gd name="connsiteX3" fmla="*/ 0 w 5909537"/>
              <a:gd name="connsiteY3" fmla="*/ 6293629 h 6293629"/>
              <a:gd name="connsiteX4" fmla="*/ 0 w 5909537"/>
              <a:gd name="connsiteY4" fmla="*/ 7129 h 6293629"/>
              <a:gd name="connsiteX0" fmla="*/ 0 w 5909537"/>
              <a:gd name="connsiteY0" fmla="*/ 442559 h 6729059"/>
              <a:gd name="connsiteX1" fmla="*/ 3050148 w 5909537"/>
              <a:gd name="connsiteY1" fmla="*/ 530809 h 6729059"/>
              <a:gd name="connsiteX2" fmla="*/ 3793098 w 5909537"/>
              <a:gd name="connsiteY2" fmla="*/ 595166 h 6729059"/>
              <a:gd name="connsiteX3" fmla="*/ 3983598 w 5909537"/>
              <a:gd name="connsiteY3" fmla="*/ 6729059 h 6729059"/>
              <a:gd name="connsiteX4" fmla="*/ 0 w 5909537"/>
              <a:gd name="connsiteY4" fmla="*/ 6729059 h 6729059"/>
              <a:gd name="connsiteX5" fmla="*/ 0 w 5909537"/>
              <a:gd name="connsiteY5" fmla="*/ 442559 h 6729059"/>
              <a:gd name="connsiteX0" fmla="*/ 0 w 5909537"/>
              <a:gd name="connsiteY0" fmla="*/ 745791 h 7032291"/>
              <a:gd name="connsiteX1" fmla="*/ 2535798 w 5909537"/>
              <a:gd name="connsiteY1" fmla="*/ 71006 h 7032291"/>
              <a:gd name="connsiteX2" fmla="*/ 3793098 w 5909537"/>
              <a:gd name="connsiteY2" fmla="*/ 898398 h 7032291"/>
              <a:gd name="connsiteX3" fmla="*/ 3983598 w 5909537"/>
              <a:gd name="connsiteY3" fmla="*/ 7032291 h 7032291"/>
              <a:gd name="connsiteX4" fmla="*/ 0 w 5909537"/>
              <a:gd name="connsiteY4" fmla="*/ 7032291 h 7032291"/>
              <a:gd name="connsiteX5" fmla="*/ 0 w 5909537"/>
              <a:gd name="connsiteY5" fmla="*/ 745791 h 7032291"/>
              <a:gd name="connsiteX0" fmla="*/ 0 w 5909537"/>
              <a:gd name="connsiteY0" fmla="*/ 745791 h 7032291"/>
              <a:gd name="connsiteX1" fmla="*/ 2535798 w 5909537"/>
              <a:gd name="connsiteY1" fmla="*/ 71006 h 7032291"/>
              <a:gd name="connsiteX2" fmla="*/ 3793098 w 5909537"/>
              <a:gd name="connsiteY2" fmla="*/ 898398 h 7032291"/>
              <a:gd name="connsiteX3" fmla="*/ 3983598 w 5909537"/>
              <a:gd name="connsiteY3" fmla="*/ 7032291 h 7032291"/>
              <a:gd name="connsiteX4" fmla="*/ 0 w 5909537"/>
              <a:gd name="connsiteY4" fmla="*/ 7032291 h 7032291"/>
              <a:gd name="connsiteX5" fmla="*/ 0 w 5909537"/>
              <a:gd name="connsiteY5" fmla="*/ 745791 h 7032291"/>
              <a:gd name="connsiteX0" fmla="*/ 0 w 5909537"/>
              <a:gd name="connsiteY0" fmla="*/ 745791 h 7032291"/>
              <a:gd name="connsiteX1" fmla="*/ 2535798 w 5909537"/>
              <a:gd name="connsiteY1" fmla="*/ 71006 h 7032291"/>
              <a:gd name="connsiteX2" fmla="*/ 3793098 w 5909537"/>
              <a:gd name="connsiteY2" fmla="*/ 898398 h 7032291"/>
              <a:gd name="connsiteX3" fmla="*/ 3983598 w 5909537"/>
              <a:gd name="connsiteY3" fmla="*/ 7032291 h 7032291"/>
              <a:gd name="connsiteX4" fmla="*/ 0 w 5909537"/>
              <a:gd name="connsiteY4" fmla="*/ 7032291 h 7032291"/>
              <a:gd name="connsiteX5" fmla="*/ 0 w 5909537"/>
              <a:gd name="connsiteY5" fmla="*/ 745791 h 7032291"/>
              <a:gd name="connsiteX0" fmla="*/ 0 w 5909537"/>
              <a:gd name="connsiteY0" fmla="*/ 1157397 h 7443897"/>
              <a:gd name="connsiteX1" fmla="*/ 2535798 w 5909537"/>
              <a:gd name="connsiteY1" fmla="*/ 482612 h 7443897"/>
              <a:gd name="connsiteX2" fmla="*/ 3793098 w 5909537"/>
              <a:gd name="connsiteY2" fmla="*/ 1310004 h 7443897"/>
              <a:gd name="connsiteX3" fmla="*/ 3983598 w 5909537"/>
              <a:gd name="connsiteY3" fmla="*/ 7443897 h 7443897"/>
              <a:gd name="connsiteX4" fmla="*/ 0 w 5909537"/>
              <a:gd name="connsiteY4" fmla="*/ 7443897 h 7443897"/>
              <a:gd name="connsiteX5" fmla="*/ 0 w 5909537"/>
              <a:gd name="connsiteY5" fmla="*/ 1157397 h 7443897"/>
              <a:gd name="connsiteX0" fmla="*/ 0 w 5909537"/>
              <a:gd name="connsiteY0" fmla="*/ 1157397 h 7443897"/>
              <a:gd name="connsiteX1" fmla="*/ 2535798 w 5909537"/>
              <a:gd name="connsiteY1" fmla="*/ 482612 h 7443897"/>
              <a:gd name="connsiteX2" fmla="*/ 3793098 w 5909537"/>
              <a:gd name="connsiteY2" fmla="*/ 1310004 h 7443897"/>
              <a:gd name="connsiteX3" fmla="*/ 3983598 w 5909537"/>
              <a:gd name="connsiteY3" fmla="*/ 7443897 h 7443897"/>
              <a:gd name="connsiteX4" fmla="*/ 0 w 5909537"/>
              <a:gd name="connsiteY4" fmla="*/ 7443897 h 7443897"/>
              <a:gd name="connsiteX5" fmla="*/ 0 w 5909537"/>
              <a:gd name="connsiteY5" fmla="*/ 1157397 h 744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09537" h="7443897">
                <a:moveTo>
                  <a:pt x="0" y="1157397"/>
                </a:moveTo>
                <a:cubicBezTo>
                  <a:pt x="508358" y="124355"/>
                  <a:pt x="2075065" y="-477540"/>
                  <a:pt x="2535798" y="482612"/>
                </a:cubicBezTo>
                <a:cubicBezTo>
                  <a:pt x="3015581" y="1576295"/>
                  <a:pt x="3085073" y="1287983"/>
                  <a:pt x="3793098" y="1310004"/>
                </a:cubicBezTo>
                <a:cubicBezTo>
                  <a:pt x="8441298" y="2054273"/>
                  <a:pt x="3983598" y="5348397"/>
                  <a:pt x="3983598" y="7443897"/>
                </a:cubicBezTo>
                <a:lnTo>
                  <a:pt x="0" y="7443897"/>
                </a:lnTo>
                <a:lnTo>
                  <a:pt x="0" y="1157397"/>
                </a:lnTo>
                <a:close/>
              </a:path>
            </a:pathLst>
          </a:custGeom>
          <a:gradFill>
            <a:gsLst>
              <a:gs pos="0">
                <a:srgbClr val="CECEFF"/>
              </a:gs>
              <a:gs pos="73000">
                <a:srgbClr val="C2A1FF"/>
              </a:gs>
              <a:gs pos="46000">
                <a:srgbClr val="D0D0FF"/>
              </a:gs>
              <a:gs pos="100000">
                <a:srgbClr val="1993E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ACF60CE-94ED-41BC-B09A-CD4299C0C4AC}"/>
              </a:ext>
            </a:extLst>
          </p:cNvPr>
          <p:cNvGrpSpPr/>
          <p:nvPr/>
        </p:nvGrpSpPr>
        <p:grpSpPr>
          <a:xfrm>
            <a:off x="330110" y="1162685"/>
            <a:ext cx="11491238" cy="6252318"/>
            <a:chOff x="330110" y="694599"/>
            <a:chExt cx="11491238" cy="6252318"/>
          </a:xfrm>
        </p:grpSpPr>
        <p:sp>
          <p:nvSpPr>
            <p:cNvPr id="8" name="圆角矩形 3">
              <a:extLst>
                <a:ext uri="{FF2B5EF4-FFF2-40B4-BE49-F238E27FC236}">
                  <a16:creationId xmlns:a16="http://schemas.microsoft.com/office/drawing/2014/main" id="{96A9CC42-4A47-4FC3-B0E7-C8ABCEE00650}"/>
                </a:ext>
              </a:extLst>
            </p:cNvPr>
            <p:cNvSpPr/>
            <p:nvPr/>
          </p:nvSpPr>
          <p:spPr>
            <a:xfrm>
              <a:off x="370652" y="780926"/>
              <a:ext cx="11450696" cy="6162739"/>
            </a:xfrm>
            <a:prstGeom prst="roundRect">
              <a:avLst>
                <a:gd name="adj" fmla="val 2001"/>
              </a:avLst>
            </a:prstGeom>
            <a:solidFill>
              <a:schemeClr val="bg1"/>
            </a:solidFill>
            <a:ln w="12700">
              <a:noFill/>
            </a:ln>
            <a:effectLst>
              <a:outerShdw blurRad="381000" dist="38100" dir="5400000" algn="t" rotWithShape="0">
                <a:srgbClr val="B8B8FF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>
                <a:solidFill>
                  <a:prstClr val="white"/>
                </a:solidFill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92EA31F-B979-4432-923C-0CB61745A06E}"/>
                </a:ext>
              </a:extLst>
            </p:cNvPr>
            <p:cNvGrpSpPr/>
            <p:nvPr/>
          </p:nvGrpSpPr>
          <p:grpSpPr>
            <a:xfrm>
              <a:off x="8603546" y="825483"/>
              <a:ext cx="2866512" cy="6121434"/>
              <a:chOff x="8148022" y="614889"/>
              <a:chExt cx="2866512" cy="6121434"/>
            </a:xfrm>
          </p:grpSpPr>
          <p:pic>
            <p:nvPicPr>
              <p:cNvPr id="34" name="Picture 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48022" y="614889"/>
                <a:ext cx="1879079" cy="6121434"/>
              </a:xfrm>
              <a:prstGeom prst="rect">
                <a:avLst/>
              </a:prstGeom>
            </p:spPr>
          </p:pic>
          <p:sp>
            <p:nvSpPr>
              <p:cNvPr id="44" name="iṣ1îḍe">
                <a:extLst>
                  <a:ext uri="{FF2B5EF4-FFF2-40B4-BE49-F238E27FC236}">
                    <a16:creationId xmlns:a16="http://schemas.microsoft.com/office/drawing/2014/main" id="{A4187711-6644-4BCB-BC4A-140F374D58FD}"/>
                  </a:ext>
                </a:extLst>
              </p:cNvPr>
              <p:cNvSpPr/>
              <p:nvPr/>
            </p:nvSpPr>
            <p:spPr bwMode="auto">
              <a:xfrm>
                <a:off x="9469039" y="758629"/>
                <a:ext cx="1116124" cy="648072"/>
              </a:xfrm>
              <a:prstGeom prst="rect">
                <a:avLst/>
              </a:prstGeom>
              <a:solidFill>
                <a:srgbClr val="7611D5"/>
              </a:solidFill>
              <a:ln w="19050">
                <a:noFill/>
                <a:round/>
                <a:headEnd/>
                <a:tailEnd/>
              </a:ln>
            </p:spPr>
            <p:txBody>
              <a:bodyPr rot="0" spcFirstLastPara="0" vert="horz" wrap="none" lIns="91440" tIns="45720" rIns="91440" bIns="45720" anchor="ctr" anchorCtr="1" forceAA="0" compatLnSpc="1">
                <a:prstTxWarp prst="textNoShape">
                  <a:avLst/>
                </a:prstTxWarp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0"/>
                      </a:srgbClr>
                    </a:solidFill>
                    <a:effectLst/>
                    <a:uLnTx/>
                    <a:uFillTx/>
                    <a:latin typeface="Impact" panose="020B0806030902050204" pitchFamily="34" charset="0"/>
                    <a:ea typeface="微软雅黑"/>
                  </a:rPr>
                  <a:t>01</a:t>
                </a:r>
              </a:p>
            </p:txBody>
          </p:sp>
          <p:sp>
            <p:nvSpPr>
              <p:cNvPr id="47" name="îṩľïḑe">
                <a:extLst>
                  <a:ext uri="{FF2B5EF4-FFF2-40B4-BE49-F238E27FC236}">
                    <a16:creationId xmlns:a16="http://schemas.microsoft.com/office/drawing/2014/main" id="{EBC496AD-33C3-45B7-86F5-31431EB2BEC0}"/>
                  </a:ext>
                </a:extLst>
              </p:cNvPr>
              <p:cNvSpPr/>
              <p:nvPr/>
            </p:nvSpPr>
            <p:spPr bwMode="auto">
              <a:xfrm>
                <a:off x="9646060" y="5333111"/>
                <a:ext cx="1116124" cy="648072"/>
              </a:xfrm>
              <a:prstGeom prst="rect">
                <a:avLst/>
              </a:prstGeom>
              <a:solidFill>
                <a:srgbClr val="92D050"/>
              </a:solidFill>
              <a:ln w="19050">
                <a:noFill/>
                <a:round/>
                <a:headEnd/>
                <a:tailEnd/>
              </a:ln>
            </p:spPr>
            <p:txBody>
              <a:bodyPr rot="0" spcFirstLastPara="0" vert="horz" wrap="none" lIns="91440" tIns="45720" rIns="91440" bIns="45720" anchor="ctr" anchorCtr="1" forceAA="0" compatLnSpc="1">
                <a:prstTxWarp prst="textNoShape">
                  <a:avLst/>
                </a:prstTxWarp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>
                        <a:lumMod val="100000"/>
                      </a:srgbClr>
                    </a:solidFill>
                    <a:effectLst/>
                    <a:uLnTx/>
                    <a:uFillTx/>
                    <a:latin typeface="Impact" panose="020B0806030902050204" pitchFamily="34" charset="0"/>
                    <a:ea typeface="微软雅黑"/>
                  </a:rPr>
                  <a:t>03</a:t>
                </a:r>
              </a:p>
            </p:txBody>
          </p:sp>
          <p:sp>
            <p:nvSpPr>
              <p:cNvPr id="48" name="iś1ïďê">
                <a:extLst>
                  <a:ext uri="{FF2B5EF4-FFF2-40B4-BE49-F238E27FC236}">
                    <a16:creationId xmlns:a16="http://schemas.microsoft.com/office/drawing/2014/main" id="{3477927C-DB84-47A4-AB42-50BE5743E3FF}"/>
                  </a:ext>
                </a:extLst>
              </p:cNvPr>
              <p:cNvSpPr/>
              <p:nvPr/>
            </p:nvSpPr>
            <p:spPr bwMode="auto">
              <a:xfrm>
                <a:off x="9898410" y="2911888"/>
                <a:ext cx="1116124" cy="648072"/>
              </a:xfrm>
              <a:prstGeom prst="rect">
                <a:avLst/>
              </a:prstGeom>
              <a:solidFill>
                <a:srgbClr val="38ACF8">
                  <a:lumMod val="100000"/>
                </a:srgbClr>
              </a:solidFill>
              <a:ln w="19050">
                <a:noFill/>
                <a:round/>
                <a:headEnd/>
                <a:tailEnd/>
              </a:ln>
            </p:spPr>
            <p:txBody>
              <a:bodyPr rot="0" spcFirstLastPara="0" vert="horz" wrap="none" lIns="91440" tIns="45720" rIns="91440" bIns="45720" anchor="ctr" anchorCtr="1" forceAA="0" compatLnSpc="1">
                <a:prstTxWarp prst="textNoShape">
                  <a:avLst/>
                </a:prstTxWarp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100000"/>
                      </a:srgbClr>
                    </a:solidFill>
                    <a:effectLst/>
                    <a:uLnTx/>
                    <a:uFillTx/>
                    <a:latin typeface="Impact" panose="020B0806030902050204" pitchFamily="34" charset="0"/>
                    <a:ea typeface="微软雅黑"/>
                  </a:rPr>
                  <a:t>02</a:t>
                </a:r>
              </a:p>
            </p:txBody>
          </p:sp>
        </p:grpSp>
        <p:pic>
          <p:nvPicPr>
            <p:cNvPr id="4" name="Picture 3" descr="A close up of a logo&#10;&#10;Description automatically generated">
              <a:extLst>
                <a:ext uri="{FF2B5EF4-FFF2-40B4-BE49-F238E27FC236}">
                  <a16:creationId xmlns:a16="http://schemas.microsoft.com/office/drawing/2014/main" id="{15A8AD9D-B756-4F27-8C98-5B39913BD4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224" b="29714"/>
            <a:stretch/>
          </p:blipFill>
          <p:spPr>
            <a:xfrm>
              <a:off x="330110" y="694599"/>
              <a:ext cx="8139836" cy="5503838"/>
            </a:xfrm>
            <a:prstGeom prst="rect">
              <a:avLst/>
            </a:prstGeom>
          </p:spPr>
        </p:pic>
      </p:grpSp>
      <p:sp>
        <p:nvSpPr>
          <p:cNvPr id="22" name="副标题 4">
            <a:extLst>
              <a:ext uri="{FF2B5EF4-FFF2-40B4-BE49-F238E27FC236}">
                <a16:creationId xmlns:a16="http://schemas.microsoft.com/office/drawing/2014/main" id="{475CF186-2F76-4A90-935A-6C5D6D7FF285}"/>
              </a:ext>
            </a:extLst>
          </p:cNvPr>
          <p:cNvSpPr txBox="1">
            <a:spLocks/>
          </p:cNvSpPr>
          <p:nvPr/>
        </p:nvSpPr>
        <p:spPr>
          <a:xfrm>
            <a:off x="819378" y="410333"/>
            <a:ext cx="5514974" cy="4188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3200" dirty="0">
                <a:latin typeface="微软雅黑" panose="020B0503020204020204" pitchFamily="34" charset="-122"/>
                <a:ea typeface="微软雅黑" panose="020B0503020204020204" pitchFamily="34" charset="-122"/>
                <a:cs typeface="Adobe Arabic" panose="02040503050201020203" pitchFamily="18" charset="-78"/>
              </a:rPr>
              <a:t>System Architecture</a:t>
            </a:r>
          </a:p>
        </p:txBody>
      </p:sp>
    </p:spTree>
    <p:extLst>
      <p:ext uri="{BB962C8B-B14F-4D97-AF65-F5344CB8AC3E}">
        <p14:creationId xmlns:p14="http://schemas.microsoft.com/office/powerpoint/2010/main" val="13053077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8D537F49-6596-4036-872E-7FACCD9552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37"/>
          <a:stretch/>
        </p:blipFill>
        <p:spPr>
          <a:xfrm>
            <a:off x="-97398" y="0"/>
            <a:ext cx="12289397" cy="6915150"/>
          </a:xfrm>
          <a:prstGeom prst="rect">
            <a:avLst/>
          </a:prstGeom>
        </p:spPr>
      </p:pic>
      <p:pic>
        <p:nvPicPr>
          <p:cNvPr id="4" name="PA_库_图片 3">
            <a:extLst>
              <a:ext uri="{FF2B5EF4-FFF2-40B4-BE49-F238E27FC236}">
                <a16:creationId xmlns:a16="http://schemas.microsoft.com/office/drawing/2014/main" id="{E7FA7E3B-0392-441C-920B-8EF0B7B3DD2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7892" y="-185818"/>
            <a:ext cx="6864108" cy="6864108"/>
          </a:xfrm>
          <a:prstGeom prst="rect">
            <a:avLst/>
          </a:prstGeom>
        </p:spPr>
      </p:pic>
      <p:sp>
        <p:nvSpPr>
          <p:cNvPr id="5" name="PA_库_$30">
            <a:extLst>
              <a:ext uri="{FF2B5EF4-FFF2-40B4-BE49-F238E27FC236}">
                <a16:creationId xmlns:a16="http://schemas.microsoft.com/office/drawing/2014/main" id="{E866CD17-E846-47FB-B583-50B0B9C722F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872554" y="750673"/>
            <a:ext cx="1179810" cy="23775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algn="l">
              <a:lnSpc>
                <a:spcPct val="120000"/>
              </a:lnSpc>
              <a:defRPr sz="5500" b="0">
                <a:solidFill>
                  <a:srgbClr val="30353E"/>
                </a:solidFill>
                <a:latin typeface="Aileron Heavy"/>
                <a:ea typeface="Aileron Heavy"/>
                <a:cs typeface="Aileron Heavy"/>
                <a:sym typeface="Aileron Heavy"/>
              </a:defRPr>
            </a:lvl1pPr>
          </a:lstStyle>
          <a:p>
            <a:r>
              <a:rPr lang="en-US" sz="13800" dirty="0">
                <a:solidFill>
                  <a:schemeClr val="bg1"/>
                </a:solidFill>
                <a:latin typeface="Arial Black" panose="020B0A04020102020204" pitchFamily="34" charset="0"/>
                <a:ea typeface="汉仪清庭-55简" panose="00020600040101010101" pitchFamily="18" charset="-122"/>
              </a:rPr>
              <a:t>1</a:t>
            </a:r>
            <a:endParaRPr sz="13800" dirty="0">
              <a:solidFill>
                <a:schemeClr val="bg1"/>
              </a:solidFill>
              <a:latin typeface="Arial Black" panose="020B0A04020102020204" pitchFamily="34" charset="0"/>
              <a:ea typeface="汉仪清庭-55简" panose="00020600040101010101" pitchFamily="18" charset="-122"/>
            </a:endParaRPr>
          </a:p>
        </p:txBody>
      </p:sp>
      <p:sp>
        <p:nvSpPr>
          <p:cNvPr id="7" name="PA_库_Special Price Tittle…">
            <a:extLst>
              <a:ext uri="{FF2B5EF4-FFF2-40B4-BE49-F238E27FC236}">
                <a16:creationId xmlns:a16="http://schemas.microsoft.com/office/drawing/2014/main" id="{07AEED53-7A48-4F32-8FB9-E9DCA8450A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417967" y="2695828"/>
            <a:ext cx="4088984" cy="13369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50000"/>
              </a:lnSpc>
              <a:defRPr sz="1800">
                <a:solidFill>
                  <a:srgbClr val="677180"/>
                </a:solidFill>
                <a:latin typeface="Aileron"/>
                <a:ea typeface="Aileron"/>
                <a:cs typeface="Aileron"/>
                <a:sym typeface="Aileron"/>
              </a:defRPr>
            </a:pPr>
            <a:r>
              <a:rPr lang="zh-CN" altLang="en-US" sz="6600" dirty="0">
                <a:solidFill>
                  <a:schemeClr val="bg1"/>
                </a:solidFill>
                <a:latin typeface="禹卫书法行书繁体&#10;" panose="02000603000000000000" pitchFamily="2" charset="-120"/>
                <a:ea typeface="禹卫书法行书繁体&#10;" panose="02000603000000000000" pitchFamily="2" charset="-120"/>
              </a:rPr>
              <a:t>專題進度</a:t>
            </a:r>
            <a:endParaRPr sz="6600" dirty="0">
              <a:solidFill>
                <a:schemeClr val="bg1"/>
              </a:solidFill>
              <a:latin typeface="禹卫书法行书繁体&#10;" panose="02000603000000000000" pitchFamily="2" charset="-120"/>
              <a:ea typeface="禹卫书法行书繁体&#10;" panose="02000603000000000000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6626378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  <p:bldP spid="7" grpId="0" autoUpdateAnimBg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1C5A976-A079-42D8-912B-72DC5DAE73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844" y="1997411"/>
            <a:ext cx="11616138" cy="328198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8E4A07B-3A34-4AB3-80D8-BBEB08630A9C}"/>
              </a:ext>
            </a:extLst>
          </p:cNvPr>
          <p:cNvSpPr txBox="1"/>
          <p:nvPr/>
        </p:nvSpPr>
        <p:spPr>
          <a:xfrm>
            <a:off x="4476107" y="745226"/>
            <a:ext cx="33596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ocabulary List</a:t>
            </a:r>
          </a:p>
        </p:txBody>
      </p:sp>
    </p:spTree>
    <p:extLst>
      <p:ext uri="{BB962C8B-B14F-4D97-AF65-F5344CB8AC3E}">
        <p14:creationId xmlns:p14="http://schemas.microsoft.com/office/powerpoint/2010/main" val="3640159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62051EA4-BA92-47BD-AE11-D04D721177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3399" y="0"/>
            <a:ext cx="80052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7997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rgbClr val="3F3F3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D63FBA-DC7E-4649-A6E6-8DF1BE6B6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623392"/>
            <a:ext cx="3363974" cy="1607060"/>
          </a:xfrm>
          <a:noFill/>
          <a:ln w="19050">
            <a:solidFill>
              <a:schemeClr val="tx1"/>
            </a:solidFill>
          </a:ln>
        </p:spPr>
        <p:txBody>
          <a:bodyPr wrap="square" anchor="ctr">
            <a:normAutofit/>
          </a:bodyPr>
          <a:lstStyle/>
          <a:p>
            <a:pPr algn="ctr"/>
            <a:r>
              <a:rPr lang="en-US" sz="2800"/>
              <a:t>Trai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AF2EEC-5EEC-478E-8339-3931105143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467" y="2638043"/>
            <a:ext cx="3645503" cy="3415623"/>
          </a:xfrm>
        </p:spPr>
        <p:txBody>
          <a:bodyPr>
            <a:normAutofit/>
          </a:bodyPr>
          <a:lstStyle/>
          <a:p>
            <a:r>
              <a:rPr lang="en-US" dirty="0"/>
              <a:t>SSH </a:t>
            </a:r>
            <a:r>
              <a:rPr lang="en-US" dirty="0">
                <a:sym typeface="Wingdings" panose="05000000000000000000" pitchFamily="2" charset="2"/>
              </a:rPr>
              <a:t>-&gt; </a:t>
            </a:r>
            <a:r>
              <a:rPr lang="en-US" dirty="0"/>
              <a:t>Linux server</a:t>
            </a:r>
          </a:p>
          <a:p>
            <a:r>
              <a:rPr lang="en-US" altLang="zh-CN" dirty="0"/>
              <a:t>ftp: file transfer</a:t>
            </a:r>
          </a:p>
          <a:p>
            <a:r>
              <a:rPr lang="en-US" altLang="zh-CN" dirty="0" err="1"/>
              <a:t>Tf</a:t>
            </a:r>
            <a:r>
              <a:rPr lang="en-US" altLang="zh-CN" dirty="0"/>
              <a:t>-nightly </a:t>
            </a:r>
          </a:p>
          <a:p>
            <a:r>
              <a:rPr lang="en-US" i="1" dirty="0"/>
              <a:t>two-layer RNN</a:t>
            </a:r>
            <a:r>
              <a:rPr lang="en-US" dirty="0"/>
              <a:t> </a:t>
            </a:r>
          </a:p>
          <a:p>
            <a:r>
              <a:rPr lang="en-US" dirty="0"/>
              <a:t>recurrent unit: LSTM</a:t>
            </a:r>
          </a:p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F0950E-D66C-454B-B71F-15755544B066}"/>
              </a:ext>
            </a:extLst>
          </p:cNvPr>
          <p:cNvSpPr/>
          <p:nvPr/>
        </p:nvSpPr>
        <p:spPr>
          <a:xfrm>
            <a:off x="5414467" y="3244334"/>
            <a:ext cx="13630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000 steps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710478-9456-42F8-87C7-99603B2FE80B}"/>
              </a:ext>
            </a:extLst>
          </p:cNvPr>
          <p:cNvSpPr/>
          <p:nvPr/>
        </p:nvSpPr>
        <p:spPr>
          <a:xfrm>
            <a:off x="5414467" y="3244334"/>
            <a:ext cx="13630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000 steps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1B2DDA-A061-4468-B767-CCEA3E6402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7763" y="623392"/>
            <a:ext cx="6247619" cy="5430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497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836D1CD0-DE8A-4BCA-9AB8-B402DC3345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62684"/>
          </a:xfrm>
          <a:prstGeom prst="rect">
            <a:avLst/>
          </a:prstGeom>
        </p:spPr>
      </p:pic>
      <p:sp>
        <p:nvSpPr>
          <p:cNvPr id="3" name="圆角矩形 3">
            <a:extLst>
              <a:ext uri="{FF2B5EF4-FFF2-40B4-BE49-F238E27FC236}">
                <a16:creationId xmlns:a16="http://schemas.microsoft.com/office/drawing/2014/main" id="{D3E0BC2A-2A33-4845-9E2E-4571CA2A2562}"/>
              </a:ext>
            </a:extLst>
          </p:cNvPr>
          <p:cNvSpPr/>
          <p:nvPr/>
        </p:nvSpPr>
        <p:spPr>
          <a:xfrm>
            <a:off x="694734" y="581749"/>
            <a:ext cx="10802533" cy="5694503"/>
          </a:xfrm>
          <a:prstGeom prst="roundRect">
            <a:avLst>
              <a:gd name="adj" fmla="val 2001"/>
            </a:avLst>
          </a:prstGeom>
          <a:solidFill>
            <a:schemeClr val="bg1"/>
          </a:solidFill>
          <a:ln w="12700">
            <a:noFill/>
          </a:ln>
          <a:effectLst>
            <a:outerShdw blurRad="381000" dist="38100" dir="5400000" algn="t" rotWithShape="0">
              <a:srgbClr val="B8B8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104" name="4ed2b8f1-7960-4733-a073-41c4a99704f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0E44F43-58D9-4CB4-AB82-30EBD112368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184641" y="1367952"/>
            <a:ext cx="4602930" cy="4122096"/>
            <a:chOff x="3465513" y="1133475"/>
            <a:chExt cx="4802187" cy="4300538"/>
          </a:xfrm>
        </p:grpSpPr>
        <p:sp>
          <p:nvSpPr>
            <p:cNvPr id="105" name="ïsḷíḑê">
              <a:extLst>
                <a:ext uri="{FF2B5EF4-FFF2-40B4-BE49-F238E27FC236}">
                  <a16:creationId xmlns:a16="http://schemas.microsoft.com/office/drawing/2014/main" id="{F40A128A-D2D3-4E7C-B17D-B1611324437E}"/>
                </a:ext>
              </a:extLst>
            </p:cNvPr>
            <p:cNvSpPr/>
            <p:nvPr/>
          </p:nvSpPr>
          <p:spPr bwMode="auto">
            <a:xfrm>
              <a:off x="7578725" y="1808163"/>
              <a:ext cx="223837" cy="22066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îṧḻïďé">
              <a:extLst>
                <a:ext uri="{FF2B5EF4-FFF2-40B4-BE49-F238E27FC236}">
                  <a16:creationId xmlns:a16="http://schemas.microsoft.com/office/drawing/2014/main" id="{1CD7EDC4-E18A-4711-8408-8CB1427CA7FF}"/>
                </a:ext>
              </a:extLst>
            </p:cNvPr>
            <p:cNvSpPr/>
            <p:nvPr/>
          </p:nvSpPr>
          <p:spPr bwMode="auto">
            <a:xfrm>
              <a:off x="7386638" y="1757363"/>
              <a:ext cx="635000" cy="188913"/>
            </a:xfrm>
            <a:custGeom>
              <a:avLst/>
              <a:gdLst>
                <a:gd name="T0" fmla="*/ 400 w 400"/>
                <a:gd name="T1" fmla="*/ 119 h 119"/>
                <a:gd name="T2" fmla="*/ 0 w 400"/>
                <a:gd name="T3" fmla="*/ 119 h 119"/>
                <a:gd name="T4" fmla="*/ 133 w 400"/>
                <a:gd name="T5" fmla="*/ 0 h 119"/>
                <a:gd name="T6" fmla="*/ 267 w 400"/>
                <a:gd name="T7" fmla="*/ 0 h 119"/>
                <a:gd name="T8" fmla="*/ 400 w 400"/>
                <a:gd name="T9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119">
                  <a:moveTo>
                    <a:pt x="400" y="119"/>
                  </a:moveTo>
                  <a:lnTo>
                    <a:pt x="0" y="119"/>
                  </a:lnTo>
                  <a:lnTo>
                    <a:pt x="133" y="0"/>
                  </a:lnTo>
                  <a:lnTo>
                    <a:pt x="267" y="0"/>
                  </a:lnTo>
                  <a:lnTo>
                    <a:pt x="400" y="11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îSḻïḓe">
              <a:extLst>
                <a:ext uri="{FF2B5EF4-FFF2-40B4-BE49-F238E27FC236}">
                  <a16:creationId xmlns:a16="http://schemas.microsoft.com/office/drawing/2014/main" id="{55EE4A81-F71A-4E07-8669-D2E2155EDE1A}"/>
                </a:ext>
              </a:extLst>
            </p:cNvPr>
            <p:cNvSpPr/>
            <p:nvPr/>
          </p:nvSpPr>
          <p:spPr bwMode="auto">
            <a:xfrm>
              <a:off x="7683500" y="1133475"/>
              <a:ext cx="20637" cy="623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îṥļïďê">
              <a:extLst>
                <a:ext uri="{FF2B5EF4-FFF2-40B4-BE49-F238E27FC236}">
                  <a16:creationId xmlns:a16="http://schemas.microsoft.com/office/drawing/2014/main" id="{450BDA57-6DC2-4F06-A84C-46EA646807B8}"/>
                </a:ext>
              </a:extLst>
            </p:cNvPr>
            <p:cNvSpPr/>
            <p:nvPr/>
          </p:nvSpPr>
          <p:spPr bwMode="auto">
            <a:xfrm>
              <a:off x="7683500" y="1133475"/>
              <a:ext cx="20637" cy="623888"/>
            </a:xfrm>
            <a:custGeom>
              <a:avLst/>
              <a:gdLst>
                <a:gd name="T0" fmla="*/ 0 w 13"/>
                <a:gd name="T1" fmla="*/ 0 h 393"/>
                <a:gd name="T2" fmla="*/ 0 w 13"/>
                <a:gd name="T3" fmla="*/ 393 h 393"/>
                <a:gd name="T4" fmla="*/ 13 w 13"/>
                <a:gd name="T5" fmla="*/ 393 h 393"/>
                <a:gd name="T6" fmla="*/ 13 w 13"/>
                <a:gd name="T7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3">
                  <a:moveTo>
                    <a:pt x="0" y="0"/>
                  </a:moveTo>
                  <a:lnTo>
                    <a:pt x="0" y="393"/>
                  </a:lnTo>
                  <a:lnTo>
                    <a:pt x="13" y="393"/>
                  </a:lnTo>
                  <a:lnTo>
                    <a:pt x="1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îṩ1ïḋè">
              <a:extLst>
                <a:ext uri="{FF2B5EF4-FFF2-40B4-BE49-F238E27FC236}">
                  <a16:creationId xmlns:a16="http://schemas.microsoft.com/office/drawing/2014/main" id="{A2A62F25-EF0B-4586-AE5B-E4250785CA38}"/>
                </a:ext>
              </a:extLst>
            </p:cNvPr>
            <p:cNvSpPr/>
            <p:nvPr/>
          </p:nvSpPr>
          <p:spPr bwMode="auto">
            <a:xfrm>
              <a:off x="5722938" y="1808163"/>
              <a:ext cx="220662" cy="22066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îṥľïḍé">
              <a:extLst>
                <a:ext uri="{FF2B5EF4-FFF2-40B4-BE49-F238E27FC236}">
                  <a16:creationId xmlns:a16="http://schemas.microsoft.com/office/drawing/2014/main" id="{11EC83D6-5A3A-4B28-95EA-C5C40EE756D4}"/>
                </a:ext>
              </a:extLst>
            </p:cNvPr>
            <p:cNvSpPr/>
            <p:nvPr/>
          </p:nvSpPr>
          <p:spPr bwMode="auto">
            <a:xfrm>
              <a:off x="5527675" y="1757363"/>
              <a:ext cx="635000" cy="188913"/>
            </a:xfrm>
            <a:custGeom>
              <a:avLst/>
              <a:gdLst>
                <a:gd name="T0" fmla="*/ 400 w 400"/>
                <a:gd name="T1" fmla="*/ 119 h 119"/>
                <a:gd name="T2" fmla="*/ 0 w 400"/>
                <a:gd name="T3" fmla="*/ 119 h 119"/>
                <a:gd name="T4" fmla="*/ 135 w 400"/>
                <a:gd name="T5" fmla="*/ 0 h 119"/>
                <a:gd name="T6" fmla="*/ 267 w 400"/>
                <a:gd name="T7" fmla="*/ 0 h 119"/>
                <a:gd name="T8" fmla="*/ 400 w 400"/>
                <a:gd name="T9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119">
                  <a:moveTo>
                    <a:pt x="400" y="119"/>
                  </a:moveTo>
                  <a:lnTo>
                    <a:pt x="0" y="119"/>
                  </a:lnTo>
                  <a:lnTo>
                    <a:pt x="135" y="0"/>
                  </a:lnTo>
                  <a:lnTo>
                    <a:pt x="267" y="0"/>
                  </a:lnTo>
                  <a:lnTo>
                    <a:pt x="400" y="11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ï$ḻiḍè">
              <a:extLst>
                <a:ext uri="{FF2B5EF4-FFF2-40B4-BE49-F238E27FC236}">
                  <a16:creationId xmlns:a16="http://schemas.microsoft.com/office/drawing/2014/main" id="{6035D042-D0AD-4321-8832-2190113A73F5}"/>
                </a:ext>
              </a:extLst>
            </p:cNvPr>
            <p:cNvSpPr/>
            <p:nvPr/>
          </p:nvSpPr>
          <p:spPr bwMode="auto">
            <a:xfrm>
              <a:off x="5824538" y="1133475"/>
              <a:ext cx="20637" cy="623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îṩlíḋe">
              <a:extLst>
                <a:ext uri="{FF2B5EF4-FFF2-40B4-BE49-F238E27FC236}">
                  <a16:creationId xmlns:a16="http://schemas.microsoft.com/office/drawing/2014/main" id="{F54312A3-CFF2-4B6B-830D-749765910DC9}"/>
                </a:ext>
              </a:extLst>
            </p:cNvPr>
            <p:cNvSpPr/>
            <p:nvPr/>
          </p:nvSpPr>
          <p:spPr bwMode="auto">
            <a:xfrm>
              <a:off x="5824538" y="1133475"/>
              <a:ext cx="20637" cy="623888"/>
            </a:xfrm>
            <a:custGeom>
              <a:avLst/>
              <a:gdLst>
                <a:gd name="T0" fmla="*/ 0 w 13"/>
                <a:gd name="T1" fmla="*/ 0 h 393"/>
                <a:gd name="T2" fmla="*/ 0 w 13"/>
                <a:gd name="T3" fmla="*/ 393 h 393"/>
                <a:gd name="T4" fmla="*/ 13 w 13"/>
                <a:gd name="T5" fmla="*/ 393 h 393"/>
                <a:gd name="T6" fmla="*/ 13 w 13"/>
                <a:gd name="T7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93">
                  <a:moveTo>
                    <a:pt x="0" y="0"/>
                  </a:moveTo>
                  <a:lnTo>
                    <a:pt x="0" y="393"/>
                  </a:lnTo>
                  <a:lnTo>
                    <a:pt x="13" y="393"/>
                  </a:lnTo>
                  <a:lnTo>
                    <a:pt x="1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ïslïďè">
              <a:extLst>
                <a:ext uri="{FF2B5EF4-FFF2-40B4-BE49-F238E27FC236}">
                  <a16:creationId xmlns:a16="http://schemas.microsoft.com/office/drawing/2014/main" id="{A3CB472D-A226-44AD-BFEA-0DFD47DD4935}"/>
                </a:ext>
              </a:extLst>
            </p:cNvPr>
            <p:cNvSpPr/>
            <p:nvPr/>
          </p:nvSpPr>
          <p:spPr bwMode="auto">
            <a:xfrm>
              <a:off x="5006975" y="2139950"/>
              <a:ext cx="1030287" cy="815975"/>
            </a:xfrm>
            <a:custGeom>
              <a:avLst/>
              <a:gdLst>
                <a:gd name="T0" fmla="*/ 385 w 386"/>
                <a:gd name="T1" fmla="*/ 306 h 306"/>
                <a:gd name="T2" fmla="*/ 1 w 386"/>
                <a:gd name="T3" fmla="*/ 306 h 306"/>
                <a:gd name="T4" fmla="*/ 0 w 386"/>
                <a:gd name="T5" fmla="*/ 305 h 306"/>
                <a:gd name="T6" fmla="*/ 0 w 386"/>
                <a:gd name="T7" fmla="*/ 1 h 306"/>
                <a:gd name="T8" fmla="*/ 1 w 386"/>
                <a:gd name="T9" fmla="*/ 0 h 306"/>
                <a:gd name="T10" fmla="*/ 385 w 386"/>
                <a:gd name="T11" fmla="*/ 0 h 306"/>
                <a:gd name="T12" fmla="*/ 386 w 386"/>
                <a:gd name="T13" fmla="*/ 1 h 306"/>
                <a:gd name="T14" fmla="*/ 386 w 386"/>
                <a:gd name="T15" fmla="*/ 305 h 306"/>
                <a:gd name="T16" fmla="*/ 385 w 386"/>
                <a:gd name="T17" fmla="*/ 306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6" h="306">
                  <a:moveTo>
                    <a:pt x="385" y="306"/>
                  </a:moveTo>
                  <a:cubicBezTo>
                    <a:pt x="1" y="306"/>
                    <a:pt x="1" y="306"/>
                    <a:pt x="1" y="306"/>
                  </a:cubicBezTo>
                  <a:cubicBezTo>
                    <a:pt x="0" y="306"/>
                    <a:pt x="0" y="306"/>
                    <a:pt x="0" y="30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385" y="0"/>
                    <a:pt x="385" y="0"/>
                    <a:pt x="385" y="0"/>
                  </a:cubicBezTo>
                  <a:cubicBezTo>
                    <a:pt x="386" y="0"/>
                    <a:pt x="386" y="1"/>
                    <a:pt x="386" y="1"/>
                  </a:cubicBezTo>
                  <a:cubicBezTo>
                    <a:pt x="386" y="305"/>
                    <a:pt x="386" y="305"/>
                    <a:pt x="386" y="305"/>
                  </a:cubicBezTo>
                  <a:cubicBezTo>
                    <a:pt x="386" y="306"/>
                    <a:pt x="386" y="306"/>
                    <a:pt x="385" y="306"/>
                  </a:cubicBezTo>
                  <a:close/>
                </a:path>
              </a:pathLst>
            </a:custGeom>
            <a:solidFill>
              <a:srgbClr val="6DD5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íslîḓe">
              <a:extLst>
                <a:ext uri="{FF2B5EF4-FFF2-40B4-BE49-F238E27FC236}">
                  <a16:creationId xmlns:a16="http://schemas.microsoft.com/office/drawing/2014/main" id="{52999494-72A0-408B-ABFB-87C6C564D426}"/>
                </a:ext>
              </a:extLst>
            </p:cNvPr>
            <p:cNvSpPr/>
            <p:nvPr/>
          </p:nvSpPr>
          <p:spPr bwMode="auto">
            <a:xfrm>
              <a:off x="5434013" y="2282825"/>
              <a:ext cx="352425" cy="381000"/>
            </a:xfrm>
            <a:custGeom>
              <a:avLst/>
              <a:gdLst>
                <a:gd name="T0" fmla="*/ 82 w 132"/>
                <a:gd name="T1" fmla="*/ 1 h 143"/>
                <a:gd name="T2" fmla="*/ 119 w 132"/>
                <a:gd name="T3" fmla="*/ 52 h 143"/>
                <a:gd name="T4" fmla="*/ 119 w 132"/>
                <a:gd name="T5" fmla="*/ 98 h 143"/>
                <a:gd name="T6" fmla="*/ 106 w 132"/>
                <a:gd name="T7" fmla="*/ 108 h 143"/>
                <a:gd name="T8" fmla="*/ 59 w 132"/>
                <a:gd name="T9" fmla="*/ 140 h 143"/>
                <a:gd name="T10" fmla="*/ 9 w 132"/>
                <a:gd name="T11" fmla="*/ 102 h 143"/>
                <a:gd name="T12" fmla="*/ 10 w 132"/>
                <a:gd name="T13" fmla="*/ 9 h 143"/>
                <a:gd name="T14" fmla="*/ 82 w 132"/>
                <a:gd name="T15" fmla="*/ 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143">
                  <a:moveTo>
                    <a:pt x="82" y="1"/>
                  </a:moveTo>
                  <a:cubicBezTo>
                    <a:pt x="106" y="2"/>
                    <a:pt x="106" y="48"/>
                    <a:pt x="119" y="52"/>
                  </a:cubicBezTo>
                  <a:cubicBezTo>
                    <a:pt x="132" y="55"/>
                    <a:pt x="131" y="88"/>
                    <a:pt x="119" y="98"/>
                  </a:cubicBezTo>
                  <a:cubicBezTo>
                    <a:pt x="113" y="104"/>
                    <a:pt x="113" y="104"/>
                    <a:pt x="106" y="108"/>
                  </a:cubicBezTo>
                  <a:cubicBezTo>
                    <a:pt x="92" y="118"/>
                    <a:pt x="94" y="134"/>
                    <a:pt x="59" y="140"/>
                  </a:cubicBezTo>
                  <a:cubicBezTo>
                    <a:pt x="40" y="143"/>
                    <a:pt x="18" y="128"/>
                    <a:pt x="9" y="102"/>
                  </a:cubicBezTo>
                  <a:cubicBezTo>
                    <a:pt x="0" y="77"/>
                    <a:pt x="10" y="9"/>
                    <a:pt x="10" y="9"/>
                  </a:cubicBezTo>
                  <a:cubicBezTo>
                    <a:pt x="10" y="9"/>
                    <a:pt x="60" y="0"/>
                    <a:pt x="82" y="1"/>
                  </a:cubicBez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ïṧľîḋè">
              <a:extLst>
                <a:ext uri="{FF2B5EF4-FFF2-40B4-BE49-F238E27FC236}">
                  <a16:creationId xmlns:a16="http://schemas.microsoft.com/office/drawing/2014/main" id="{140C0938-50B5-4FB2-8DB1-0DE14F9E6DE2}"/>
                </a:ext>
              </a:extLst>
            </p:cNvPr>
            <p:cNvSpPr/>
            <p:nvPr/>
          </p:nvSpPr>
          <p:spPr bwMode="auto">
            <a:xfrm>
              <a:off x="5540375" y="2535238"/>
              <a:ext cx="187325" cy="188913"/>
            </a:xfrm>
            <a:custGeom>
              <a:avLst/>
              <a:gdLst>
                <a:gd name="T0" fmla="*/ 9 w 70"/>
                <a:gd name="T1" fmla="*/ 32 h 71"/>
                <a:gd name="T2" fmla="*/ 0 w 70"/>
                <a:gd name="T3" fmla="*/ 70 h 71"/>
                <a:gd name="T4" fmla="*/ 70 w 70"/>
                <a:gd name="T5" fmla="*/ 70 h 71"/>
                <a:gd name="T6" fmla="*/ 61 w 70"/>
                <a:gd name="T7" fmla="*/ 0 h 71"/>
                <a:gd name="T8" fmla="*/ 9 w 70"/>
                <a:gd name="T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71">
                  <a:moveTo>
                    <a:pt x="9" y="32"/>
                  </a:moveTo>
                  <a:cubicBezTo>
                    <a:pt x="10" y="45"/>
                    <a:pt x="0" y="70"/>
                    <a:pt x="0" y="70"/>
                  </a:cubicBezTo>
                  <a:cubicBezTo>
                    <a:pt x="0" y="70"/>
                    <a:pt x="54" y="71"/>
                    <a:pt x="70" y="70"/>
                  </a:cubicBezTo>
                  <a:cubicBezTo>
                    <a:pt x="70" y="70"/>
                    <a:pt x="61" y="17"/>
                    <a:pt x="61" y="0"/>
                  </a:cubicBezTo>
                  <a:lnTo>
                    <a:pt x="9" y="32"/>
                  </a:ln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iṣļíďé">
              <a:extLst>
                <a:ext uri="{FF2B5EF4-FFF2-40B4-BE49-F238E27FC236}">
                  <a16:creationId xmlns:a16="http://schemas.microsoft.com/office/drawing/2014/main" id="{1134B1E4-0DD8-47C7-A876-AF854BEA08DA}"/>
                </a:ext>
              </a:extLst>
            </p:cNvPr>
            <p:cNvSpPr/>
            <p:nvPr/>
          </p:nvSpPr>
          <p:spPr bwMode="auto">
            <a:xfrm>
              <a:off x="5438775" y="2681288"/>
              <a:ext cx="422275" cy="296863"/>
            </a:xfrm>
            <a:custGeom>
              <a:avLst/>
              <a:gdLst>
                <a:gd name="T0" fmla="*/ 70 w 158"/>
                <a:gd name="T1" fmla="*/ 8 h 111"/>
                <a:gd name="T2" fmla="*/ 91 w 158"/>
                <a:gd name="T3" fmla="*/ 0 h 111"/>
                <a:gd name="T4" fmla="*/ 121 w 158"/>
                <a:gd name="T5" fmla="*/ 13 h 111"/>
                <a:gd name="T6" fmla="*/ 158 w 158"/>
                <a:gd name="T7" fmla="*/ 36 h 111"/>
                <a:gd name="T8" fmla="*/ 62 w 158"/>
                <a:gd name="T9" fmla="*/ 102 h 111"/>
                <a:gd name="T10" fmla="*/ 28 w 158"/>
                <a:gd name="T11" fmla="*/ 10 h 111"/>
                <a:gd name="T12" fmla="*/ 42 w 158"/>
                <a:gd name="T13" fmla="*/ 3 h 111"/>
                <a:gd name="T14" fmla="*/ 70 w 158"/>
                <a:gd name="T15" fmla="*/ 8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111">
                  <a:moveTo>
                    <a:pt x="70" y="8"/>
                  </a:move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101" y="6"/>
                    <a:pt x="121" y="13"/>
                  </a:cubicBezTo>
                  <a:cubicBezTo>
                    <a:pt x="158" y="36"/>
                    <a:pt x="158" y="36"/>
                    <a:pt x="158" y="36"/>
                  </a:cubicBezTo>
                  <a:cubicBezTo>
                    <a:pt x="158" y="36"/>
                    <a:pt x="125" y="111"/>
                    <a:pt x="62" y="102"/>
                  </a:cubicBezTo>
                  <a:cubicBezTo>
                    <a:pt x="0" y="94"/>
                    <a:pt x="28" y="10"/>
                    <a:pt x="28" y="10"/>
                  </a:cubicBezTo>
                  <a:cubicBezTo>
                    <a:pt x="42" y="3"/>
                    <a:pt x="42" y="3"/>
                    <a:pt x="42" y="3"/>
                  </a:cubicBezTo>
                  <a:lnTo>
                    <a:pt x="70" y="8"/>
                  </a:ln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iŝliḋè">
              <a:extLst>
                <a:ext uri="{FF2B5EF4-FFF2-40B4-BE49-F238E27FC236}">
                  <a16:creationId xmlns:a16="http://schemas.microsoft.com/office/drawing/2014/main" id="{6A96ADF3-A44C-40E9-893B-7628029EE76C}"/>
                </a:ext>
              </a:extLst>
            </p:cNvPr>
            <p:cNvSpPr/>
            <p:nvPr/>
          </p:nvSpPr>
          <p:spPr bwMode="auto">
            <a:xfrm>
              <a:off x="5350060" y="2708275"/>
              <a:ext cx="542741" cy="247650"/>
            </a:xfrm>
            <a:custGeom>
              <a:avLst/>
              <a:gdLst>
                <a:gd name="connsiteX0" fmla="*/ 164349 w 542741"/>
                <a:gd name="connsiteY0" fmla="*/ 0 h 247650"/>
                <a:gd name="connsiteX1" fmla="*/ 236297 w 542741"/>
                <a:gd name="connsiteY1" fmla="*/ 58702 h 247650"/>
                <a:gd name="connsiteX2" fmla="*/ 412169 w 542741"/>
                <a:gd name="connsiteY2" fmla="*/ 8005 h 247650"/>
                <a:gd name="connsiteX3" fmla="*/ 542741 w 542741"/>
                <a:gd name="connsiteY3" fmla="*/ 58702 h 247650"/>
                <a:gd name="connsiteX4" fmla="*/ 542741 w 542741"/>
                <a:gd name="connsiteY4" fmla="*/ 247650 h 247650"/>
                <a:gd name="connsiteX5" fmla="*/ 0 w 542741"/>
                <a:gd name="connsiteY5" fmla="*/ 247650 h 247650"/>
                <a:gd name="connsiteX6" fmla="*/ 2050 w 542741"/>
                <a:gd name="connsiteY6" fmla="*/ 213753 h 247650"/>
                <a:gd name="connsiteX7" fmla="*/ 9795 w 542741"/>
                <a:gd name="connsiteY7" fmla="*/ 64039 h 247650"/>
                <a:gd name="connsiteX8" fmla="*/ 164349 w 542741"/>
                <a:gd name="connsiteY8" fmla="*/ 0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2741" h="247650">
                  <a:moveTo>
                    <a:pt x="164349" y="0"/>
                  </a:moveTo>
                  <a:cubicBezTo>
                    <a:pt x="164349" y="0"/>
                    <a:pt x="167014" y="29351"/>
                    <a:pt x="236297" y="58702"/>
                  </a:cubicBezTo>
                  <a:cubicBezTo>
                    <a:pt x="305580" y="85385"/>
                    <a:pt x="412169" y="8005"/>
                    <a:pt x="412169" y="8005"/>
                  </a:cubicBezTo>
                  <a:cubicBezTo>
                    <a:pt x="542741" y="58702"/>
                    <a:pt x="542741" y="58702"/>
                    <a:pt x="542741" y="58702"/>
                  </a:cubicBezTo>
                  <a:lnTo>
                    <a:pt x="542741" y="247650"/>
                  </a:lnTo>
                  <a:lnTo>
                    <a:pt x="0" y="247650"/>
                  </a:lnTo>
                  <a:lnTo>
                    <a:pt x="2050" y="213753"/>
                  </a:lnTo>
                  <a:cubicBezTo>
                    <a:pt x="6797" y="133914"/>
                    <a:pt x="9795" y="77380"/>
                    <a:pt x="9795" y="64039"/>
                  </a:cubicBezTo>
                  <a:cubicBezTo>
                    <a:pt x="73748" y="32019"/>
                    <a:pt x="71084" y="34688"/>
                    <a:pt x="164349" y="0"/>
                  </a:cubicBezTo>
                  <a:close/>
                </a:path>
              </a:pathLst>
            </a:custGeom>
            <a:solidFill>
              <a:srgbClr val="5339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îṡ1ïde">
              <a:extLst>
                <a:ext uri="{FF2B5EF4-FFF2-40B4-BE49-F238E27FC236}">
                  <a16:creationId xmlns:a16="http://schemas.microsoft.com/office/drawing/2014/main" id="{E517439A-45A4-4CFF-8A79-DB57FF01DFD3}"/>
                </a:ext>
              </a:extLst>
            </p:cNvPr>
            <p:cNvSpPr/>
            <p:nvPr/>
          </p:nvSpPr>
          <p:spPr bwMode="auto">
            <a:xfrm>
              <a:off x="5594350" y="2417763"/>
              <a:ext cx="31750" cy="31750"/>
            </a:xfrm>
            <a:custGeom>
              <a:avLst/>
              <a:gdLst>
                <a:gd name="T0" fmla="*/ 1 w 12"/>
                <a:gd name="T1" fmla="*/ 5 h 12"/>
                <a:gd name="T2" fmla="*/ 5 w 12"/>
                <a:gd name="T3" fmla="*/ 11 h 12"/>
                <a:gd name="T4" fmla="*/ 12 w 12"/>
                <a:gd name="T5" fmla="*/ 8 h 12"/>
                <a:gd name="T6" fmla="*/ 8 w 12"/>
                <a:gd name="T7" fmla="*/ 1 h 12"/>
                <a:gd name="T8" fmla="*/ 1 w 12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" y="5"/>
                  </a:moveTo>
                  <a:cubicBezTo>
                    <a:pt x="0" y="8"/>
                    <a:pt x="2" y="10"/>
                    <a:pt x="5" y="11"/>
                  </a:cubicBezTo>
                  <a:cubicBezTo>
                    <a:pt x="8" y="12"/>
                    <a:pt x="11" y="10"/>
                    <a:pt x="12" y="8"/>
                  </a:cubicBezTo>
                  <a:cubicBezTo>
                    <a:pt x="12" y="5"/>
                    <a:pt x="11" y="2"/>
                    <a:pt x="8" y="1"/>
                  </a:cubicBezTo>
                  <a:cubicBezTo>
                    <a:pt x="5" y="0"/>
                    <a:pt x="2" y="2"/>
                    <a:pt x="1" y="5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ïṧļïḑè">
              <a:extLst>
                <a:ext uri="{FF2B5EF4-FFF2-40B4-BE49-F238E27FC236}">
                  <a16:creationId xmlns:a16="http://schemas.microsoft.com/office/drawing/2014/main" id="{B6E7C602-16AB-4363-9905-20A5FA4B1E52}"/>
                </a:ext>
              </a:extLst>
            </p:cNvPr>
            <p:cNvSpPr/>
            <p:nvPr/>
          </p:nvSpPr>
          <p:spPr bwMode="auto">
            <a:xfrm>
              <a:off x="5465763" y="2409825"/>
              <a:ext cx="31750" cy="31750"/>
            </a:xfrm>
            <a:custGeom>
              <a:avLst/>
              <a:gdLst>
                <a:gd name="T0" fmla="*/ 1 w 12"/>
                <a:gd name="T1" fmla="*/ 7 h 12"/>
                <a:gd name="T2" fmla="*/ 7 w 12"/>
                <a:gd name="T3" fmla="*/ 11 h 12"/>
                <a:gd name="T4" fmla="*/ 11 w 12"/>
                <a:gd name="T5" fmla="*/ 5 h 12"/>
                <a:gd name="T6" fmla="*/ 5 w 12"/>
                <a:gd name="T7" fmla="*/ 1 h 12"/>
                <a:gd name="T8" fmla="*/ 1 w 12"/>
                <a:gd name="T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" y="7"/>
                  </a:moveTo>
                  <a:cubicBezTo>
                    <a:pt x="1" y="10"/>
                    <a:pt x="4" y="12"/>
                    <a:pt x="7" y="11"/>
                  </a:cubicBezTo>
                  <a:cubicBezTo>
                    <a:pt x="10" y="11"/>
                    <a:pt x="12" y="8"/>
                    <a:pt x="11" y="5"/>
                  </a:cubicBezTo>
                  <a:cubicBezTo>
                    <a:pt x="10" y="2"/>
                    <a:pt x="8" y="0"/>
                    <a:pt x="5" y="1"/>
                  </a:cubicBezTo>
                  <a:cubicBezTo>
                    <a:pt x="2" y="2"/>
                    <a:pt x="0" y="5"/>
                    <a:pt x="1" y="7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íSľïdé">
              <a:extLst>
                <a:ext uri="{FF2B5EF4-FFF2-40B4-BE49-F238E27FC236}">
                  <a16:creationId xmlns:a16="http://schemas.microsoft.com/office/drawing/2014/main" id="{1CCA22FA-70D3-4359-ACDE-7F1DD314AD87}"/>
                </a:ext>
              </a:extLst>
            </p:cNvPr>
            <p:cNvSpPr/>
            <p:nvPr/>
          </p:nvSpPr>
          <p:spPr bwMode="auto">
            <a:xfrm>
              <a:off x="5522913" y="2530475"/>
              <a:ext cx="68262" cy="15875"/>
            </a:xfrm>
            <a:custGeom>
              <a:avLst/>
              <a:gdLst>
                <a:gd name="T0" fmla="*/ 25 w 26"/>
                <a:gd name="T1" fmla="*/ 0 h 6"/>
                <a:gd name="T2" fmla="*/ 14 w 26"/>
                <a:gd name="T3" fmla="*/ 3 h 6"/>
                <a:gd name="T4" fmla="*/ 1 w 26"/>
                <a:gd name="T5" fmla="*/ 0 h 6"/>
                <a:gd name="T6" fmla="*/ 0 w 26"/>
                <a:gd name="T7" fmla="*/ 2 h 6"/>
                <a:gd name="T8" fmla="*/ 14 w 26"/>
                <a:gd name="T9" fmla="*/ 6 h 6"/>
                <a:gd name="T10" fmla="*/ 26 w 26"/>
                <a:gd name="T11" fmla="*/ 2 h 6"/>
                <a:gd name="T12" fmla="*/ 25 w 2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5" y="0"/>
                  </a:moveTo>
                  <a:cubicBezTo>
                    <a:pt x="22" y="2"/>
                    <a:pt x="18" y="3"/>
                    <a:pt x="14" y="3"/>
                  </a:cubicBezTo>
                  <a:cubicBezTo>
                    <a:pt x="9" y="3"/>
                    <a:pt x="5" y="2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4"/>
                    <a:pt x="9" y="6"/>
                    <a:pt x="14" y="6"/>
                  </a:cubicBezTo>
                  <a:cubicBezTo>
                    <a:pt x="18" y="6"/>
                    <a:pt x="23" y="5"/>
                    <a:pt x="26" y="2"/>
                  </a:cubicBezTo>
                  <a:cubicBezTo>
                    <a:pt x="25" y="0"/>
                    <a:pt x="25" y="0"/>
                    <a:pt x="25" y="0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ïşlïdé">
              <a:extLst>
                <a:ext uri="{FF2B5EF4-FFF2-40B4-BE49-F238E27FC236}">
                  <a16:creationId xmlns:a16="http://schemas.microsoft.com/office/drawing/2014/main" id="{1413E162-0FC2-4261-8342-F5CCFF59CA62}"/>
                </a:ext>
              </a:extLst>
            </p:cNvPr>
            <p:cNvSpPr/>
            <p:nvPr/>
          </p:nvSpPr>
          <p:spPr bwMode="auto">
            <a:xfrm>
              <a:off x="5522913" y="2433638"/>
              <a:ext cx="36512" cy="77788"/>
            </a:xfrm>
            <a:custGeom>
              <a:avLst/>
              <a:gdLst>
                <a:gd name="T0" fmla="*/ 6 w 14"/>
                <a:gd name="T1" fmla="*/ 0 h 29"/>
                <a:gd name="T2" fmla="*/ 1 w 14"/>
                <a:gd name="T3" fmla="*/ 18 h 29"/>
                <a:gd name="T4" fmla="*/ 0 w 14"/>
                <a:gd name="T5" fmla="*/ 22 h 29"/>
                <a:gd name="T6" fmla="*/ 1 w 14"/>
                <a:gd name="T7" fmla="*/ 24 h 29"/>
                <a:gd name="T8" fmla="*/ 7 w 14"/>
                <a:gd name="T9" fmla="*/ 29 h 29"/>
                <a:gd name="T10" fmla="*/ 12 w 14"/>
                <a:gd name="T11" fmla="*/ 29 h 29"/>
                <a:gd name="T12" fmla="*/ 14 w 14"/>
                <a:gd name="T13" fmla="*/ 29 h 29"/>
                <a:gd name="T14" fmla="*/ 13 w 14"/>
                <a:gd name="T15" fmla="*/ 27 h 29"/>
                <a:gd name="T16" fmla="*/ 12 w 14"/>
                <a:gd name="T17" fmla="*/ 27 h 29"/>
                <a:gd name="T18" fmla="*/ 7 w 14"/>
                <a:gd name="T19" fmla="*/ 26 h 29"/>
                <a:gd name="T20" fmla="*/ 3 w 14"/>
                <a:gd name="T21" fmla="*/ 23 h 29"/>
                <a:gd name="T22" fmla="*/ 3 w 14"/>
                <a:gd name="T23" fmla="*/ 22 h 29"/>
                <a:gd name="T24" fmla="*/ 3 w 14"/>
                <a:gd name="T25" fmla="*/ 19 h 29"/>
                <a:gd name="T26" fmla="*/ 9 w 14"/>
                <a:gd name="T27" fmla="*/ 1 h 29"/>
                <a:gd name="T28" fmla="*/ 6 w 14"/>
                <a:gd name="T2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9">
                  <a:moveTo>
                    <a:pt x="6" y="0"/>
                  </a:moveTo>
                  <a:cubicBezTo>
                    <a:pt x="5" y="6"/>
                    <a:pt x="3" y="12"/>
                    <a:pt x="1" y="18"/>
                  </a:cubicBezTo>
                  <a:cubicBezTo>
                    <a:pt x="1" y="19"/>
                    <a:pt x="0" y="20"/>
                    <a:pt x="0" y="22"/>
                  </a:cubicBezTo>
                  <a:cubicBezTo>
                    <a:pt x="0" y="23"/>
                    <a:pt x="1" y="24"/>
                    <a:pt x="1" y="24"/>
                  </a:cubicBezTo>
                  <a:cubicBezTo>
                    <a:pt x="2" y="27"/>
                    <a:pt x="4" y="28"/>
                    <a:pt x="7" y="29"/>
                  </a:cubicBezTo>
                  <a:cubicBezTo>
                    <a:pt x="9" y="29"/>
                    <a:pt x="11" y="29"/>
                    <a:pt x="12" y="29"/>
                  </a:cubicBezTo>
                  <a:cubicBezTo>
                    <a:pt x="13" y="29"/>
                    <a:pt x="13" y="29"/>
                    <a:pt x="14" y="29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3" y="27"/>
                    <a:pt x="12" y="27"/>
                  </a:cubicBezTo>
                  <a:cubicBezTo>
                    <a:pt x="11" y="27"/>
                    <a:pt x="9" y="27"/>
                    <a:pt x="7" y="26"/>
                  </a:cubicBezTo>
                  <a:cubicBezTo>
                    <a:pt x="6" y="26"/>
                    <a:pt x="4" y="25"/>
                    <a:pt x="3" y="23"/>
                  </a:cubicBezTo>
                  <a:cubicBezTo>
                    <a:pt x="3" y="23"/>
                    <a:pt x="3" y="22"/>
                    <a:pt x="3" y="22"/>
                  </a:cubicBezTo>
                  <a:cubicBezTo>
                    <a:pt x="3" y="21"/>
                    <a:pt x="3" y="20"/>
                    <a:pt x="3" y="19"/>
                  </a:cubicBezTo>
                  <a:cubicBezTo>
                    <a:pt x="5" y="13"/>
                    <a:pt x="7" y="7"/>
                    <a:pt x="9" y="1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îṩlîḑè">
              <a:extLst>
                <a:ext uri="{FF2B5EF4-FFF2-40B4-BE49-F238E27FC236}">
                  <a16:creationId xmlns:a16="http://schemas.microsoft.com/office/drawing/2014/main" id="{2199570F-F30A-4B03-AA4F-15B227F81696}"/>
                </a:ext>
              </a:extLst>
            </p:cNvPr>
            <p:cNvSpPr/>
            <p:nvPr/>
          </p:nvSpPr>
          <p:spPr bwMode="auto">
            <a:xfrm>
              <a:off x="5830237" y="2767013"/>
              <a:ext cx="173250" cy="188912"/>
            </a:xfrm>
            <a:custGeom>
              <a:avLst/>
              <a:gdLst>
                <a:gd name="connsiteX0" fmla="*/ 63732 w 173250"/>
                <a:gd name="connsiteY0" fmla="*/ 0 h 188912"/>
                <a:gd name="connsiteX1" fmla="*/ 162443 w 173250"/>
                <a:gd name="connsiteY1" fmla="*/ 106855 h 188912"/>
                <a:gd name="connsiteX2" fmla="*/ 171656 w 173250"/>
                <a:gd name="connsiteY2" fmla="*/ 163413 h 188912"/>
                <a:gd name="connsiteX3" fmla="*/ 173250 w 173250"/>
                <a:gd name="connsiteY3" fmla="*/ 188912 h 188912"/>
                <a:gd name="connsiteX4" fmla="*/ 0 w 173250"/>
                <a:gd name="connsiteY4" fmla="*/ 188912 h 188912"/>
                <a:gd name="connsiteX5" fmla="*/ 1704 w 173250"/>
                <a:gd name="connsiteY5" fmla="*/ 106521 h 188912"/>
                <a:gd name="connsiteX6" fmla="*/ 63732 w 173250"/>
                <a:gd name="connsiteY6" fmla="*/ 0 h 188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3250" h="188912">
                  <a:moveTo>
                    <a:pt x="63732" y="0"/>
                  </a:moveTo>
                  <a:cubicBezTo>
                    <a:pt x="63732" y="0"/>
                    <a:pt x="138432" y="16028"/>
                    <a:pt x="162443" y="106855"/>
                  </a:cubicBezTo>
                  <a:cubicBezTo>
                    <a:pt x="166445" y="122216"/>
                    <a:pt x="169446" y="141583"/>
                    <a:pt x="171656" y="163413"/>
                  </a:cubicBezTo>
                  <a:lnTo>
                    <a:pt x="173250" y="188912"/>
                  </a:lnTo>
                  <a:lnTo>
                    <a:pt x="0" y="188912"/>
                  </a:lnTo>
                  <a:lnTo>
                    <a:pt x="1704" y="106521"/>
                  </a:lnTo>
                  <a:cubicBezTo>
                    <a:pt x="7706" y="50756"/>
                    <a:pt x="25048" y="2672"/>
                    <a:pt x="63732" y="0"/>
                  </a:cubicBezTo>
                  <a:close/>
                </a:path>
              </a:pathLst>
            </a:custGeom>
            <a:solidFill>
              <a:srgbClr val="5339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í$ḻîdè">
              <a:extLst>
                <a:ext uri="{FF2B5EF4-FFF2-40B4-BE49-F238E27FC236}">
                  <a16:creationId xmlns:a16="http://schemas.microsoft.com/office/drawing/2014/main" id="{052FFBC9-F7E3-4687-98F0-1FFFD0E96B4E}"/>
                </a:ext>
              </a:extLst>
            </p:cNvPr>
            <p:cNvSpPr/>
            <p:nvPr/>
          </p:nvSpPr>
          <p:spPr bwMode="auto">
            <a:xfrm>
              <a:off x="5378450" y="2182813"/>
              <a:ext cx="477837" cy="419100"/>
            </a:xfrm>
            <a:custGeom>
              <a:avLst/>
              <a:gdLst>
                <a:gd name="T0" fmla="*/ 99 w 179"/>
                <a:gd name="T1" fmla="*/ 53 h 157"/>
                <a:gd name="T2" fmla="*/ 100 w 179"/>
                <a:gd name="T3" fmla="*/ 85 h 157"/>
                <a:gd name="T4" fmla="*/ 118 w 179"/>
                <a:gd name="T5" fmla="*/ 96 h 157"/>
                <a:gd name="T6" fmla="*/ 120 w 179"/>
                <a:gd name="T7" fmla="*/ 116 h 157"/>
                <a:gd name="T8" fmla="*/ 131 w 179"/>
                <a:gd name="T9" fmla="*/ 100 h 157"/>
                <a:gd name="T10" fmla="*/ 143 w 179"/>
                <a:gd name="T11" fmla="*/ 117 h 157"/>
                <a:gd name="T12" fmla="*/ 122 w 179"/>
                <a:gd name="T13" fmla="*/ 134 h 157"/>
                <a:gd name="T14" fmla="*/ 125 w 179"/>
                <a:gd name="T15" fmla="*/ 157 h 157"/>
                <a:gd name="T16" fmla="*/ 149 w 179"/>
                <a:gd name="T17" fmla="*/ 134 h 157"/>
                <a:gd name="T18" fmla="*/ 175 w 179"/>
                <a:gd name="T19" fmla="*/ 84 h 157"/>
                <a:gd name="T20" fmla="*/ 144 w 179"/>
                <a:gd name="T21" fmla="*/ 40 h 157"/>
                <a:gd name="T22" fmla="*/ 88 w 179"/>
                <a:gd name="T23" fmla="*/ 6 h 157"/>
                <a:gd name="T24" fmla="*/ 14 w 179"/>
                <a:gd name="T25" fmla="*/ 32 h 157"/>
                <a:gd name="T26" fmla="*/ 0 w 179"/>
                <a:gd name="T27" fmla="*/ 31 h 157"/>
                <a:gd name="T28" fmla="*/ 22 w 179"/>
                <a:gd name="T29" fmla="*/ 65 h 157"/>
                <a:gd name="T30" fmla="*/ 68 w 179"/>
                <a:gd name="T31" fmla="*/ 60 h 157"/>
                <a:gd name="T32" fmla="*/ 99 w 179"/>
                <a:gd name="T33" fmla="*/ 53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9" h="157">
                  <a:moveTo>
                    <a:pt x="99" y="53"/>
                  </a:moveTo>
                  <a:cubicBezTo>
                    <a:pt x="99" y="53"/>
                    <a:pt x="89" y="72"/>
                    <a:pt x="100" y="85"/>
                  </a:cubicBezTo>
                  <a:cubicBezTo>
                    <a:pt x="104" y="89"/>
                    <a:pt x="119" y="89"/>
                    <a:pt x="118" y="96"/>
                  </a:cubicBezTo>
                  <a:cubicBezTo>
                    <a:pt x="116" y="108"/>
                    <a:pt x="120" y="116"/>
                    <a:pt x="120" y="116"/>
                  </a:cubicBezTo>
                  <a:cubicBezTo>
                    <a:pt x="120" y="116"/>
                    <a:pt x="122" y="112"/>
                    <a:pt x="131" y="100"/>
                  </a:cubicBezTo>
                  <a:cubicBezTo>
                    <a:pt x="140" y="89"/>
                    <a:pt x="155" y="107"/>
                    <a:pt x="143" y="117"/>
                  </a:cubicBezTo>
                  <a:cubicBezTo>
                    <a:pt x="132" y="127"/>
                    <a:pt x="122" y="134"/>
                    <a:pt x="122" y="134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5" y="157"/>
                    <a:pt x="138" y="142"/>
                    <a:pt x="149" y="134"/>
                  </a:cubicBezTo>
                  <a:cubicBezTo>
                    <a:pt x="160" y="125"/>
                    <a:pt x="171" y="104"/>
                    <a:pt x="175" y="84"/>
                  </a:cubicBezTo>
                  <a:cubicBezTo>
                    <a:pt x="179" y="65"/>
                    <a:pt x="162" y="40"/>
                    <a:pt x="144" y="40"/>
                  </a:cubicBezTo>
                  <a:cubicBezTo>
                    <a:pt x="144" y="40"/>
                    <a:pt x="132" y="12"/>
                    <a:pt x="88" y="6"/>
                  </a:cubicBezTo>
                  <a:cubicBezTo>
                    <a:pt x="44" y="0"/>
                    <a:pt x="26" y="28"/>
                    <a:pt x="14" y="32"/>
                  </a:cubicBezTo>
                  <a:cubicBezTo>
                    <a:pt x="2" y="35"/>
                    <a:pt x="0" y="31"/>
                    <a:pt x="0" y="31"/>
                  </a:cubicBezTo>
                  <a:cubicBezTo>
                    <a:pt x="0" y="31"/>
                    <a:pt x="0" y="61"/>
                    <a:pt x="22" y="65"/>
                  </a:cubicBezTo>
                  <a:cubicBezTo>
                    <a:pt x="44" y="70"/>
                    <a:pt x="55" y="67"/>
                    <a:pt x="68" y="60"/>
                  </a:cubicBezTo>
                  <a:cubicBezTo>
                    <a:pt x="89" y="49"/>
                    <a:pt x="99" y="53"/>
                    <a:pt x="99" y="53"/>
                  </a:cubicBezTo>
                  <a:close/>
                </a:path>
              </a:pathLst>
            </a:custGeom>
            <a:solidFill>
              <a:srgbClr val="9125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i$ḷíḑè">
              <a:extLst>
                <a:ext uri="{FF2B5EF4-FFF2-40B4-BE49-F238E27FC236}">
                  <a16:creationId xmlns:a16="http://schemas.microsoft.com/office/drawing/2014/main" id="{8B935441-9C9F-46E5-92DD-4E6829CE471A}"/>
                </a:ext>
              </a:extLst>
            </p:cNvPr>
            <p:cNvSpPr/>
            <p:nvPr/>
          </p:nvSpPr>
          <p:spPr bwMode="auto">
            <a:xfrm>
              <a:off x="5245758" y="2773363"/>
              <a:ext cx="151122" cy="182562"/>
            </a:xfrm>
            <a:custGeom>
              <a:avLst/>
              <a:gdLst>
                <a:gd name="connsiteX0" fmla="*/ 113707 w 151122"/>
                <a:gd name="connsiteY0" fmla="*/ 0 h 182562"/>
                <a:gd name="connsiteX1" fmla="*/ 151082 w 151122"/>
                <a:gd name="connsiteY1" fmla="*/ 174684 h 182562"/>
                <a:gd name="connsiteX2" fmla="*/ 151122 w 151122"/>
                <a:gd name="connsiteY2" fmla="*/ 182562 h 182562"/>
                <a:gd name="connsiteX3" fmla="*/ 0 w 151122"/>
                <a:gd name="connsiteY3" fmla="*/ 182562 h 182562"/>
                <a:gd name="connsiteX4" fmla="*/ 1866 w 151122"/>
                <a:gd name="connsiteY4" fmla="*/ 175443 h 182562"/>
                <a:gd name="connsiteX5" fmla="*/ 20088 w 151122"/>
                <a:gd name="connsiteY5" fmla="*/ 109090 h 182562"/>
                <a:gd name="connsiteX6" fmla="*/ 113707 w 151122"/>
                <a:gd name="connsiteY6" fmla="*/ 0 h 18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122" h="182562">
                  <a:moveTo>
                    <a:pt x="113707" y="0"/>
                  </a:moveTo>
                  <a:cubicBezTo>
                    <a:pt x="113707" y="0"/>
                    <a:pt x="146474" y="128339"/>
                    <a:pt x="151082" y="174684"/>
                  </a:cubicBezTo>
                  <a:lnTo>
                    <a:pt x="151122" y="182562"/>
                  </a:lnTo>
                  <a:lnTo>
                    <a:pt x="0" y="182562"/>
                  </a:lnTo>
                  <a:lnTo>
                    <a:pt x="1866" y="175443"/>
                  </a:lnTo>
                  <a:cubicBezTo>
                    <a:pt x="8386" y="150997"/>
                    <a:pt x="14739" y="127716"/>
                    <a:pt x="20088" y="109090"/>
                  </a:cubicBezTo>
                  <a:cubicBezTo>
                    <a:pt x="44162" y="37250"/>
                    <a:pt x="113707" y="0"/>
                    <a:pt x="113707" y="0"/>
                  </a:cubicBezTo>
                  <a:close/>
                </a:path>
              </a:pathLst>
            </a:custGeom>
            <a:solidFill>
              <a:srgbClr val="5339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ïś1ídê">
              <a:extLst>
                <a:ext uri="{FF2B5EF4-FFF2-40B4-BE49-F238E27FC236}">
                  <a16:creationId xmlns:a16="http://schemas.microsoft.com/office/drawing/2014/main" id="{097FACF0-4789-4026-9477-6BCA310974D6}"/>
                </a:ext>
              </a:extLst>
            </p:cNvPr>
            <p:cNvSpPr/>
            <p:nvPr/>
          </p:nvSpPr>
          <p:spPr bwMode="auto">
            <a:xfrm>
              <a:off x="5684838" y="2198688"/>
              <a:ext cx="73025" cy="107950"/>
            </a:xfrm>
            <a:custGeom>
              <a:avLst/>
              <a:gdLst>
                <a:gd name="T0" fmla="*/ 27 w 27"/>
                <a:gd name="T1" fmla="*/ 40 h 40"/>
                <a:gd name="T2" fmla="*/ 27 w 27"/>
                <a:gd name="T3" fmla="*/ 39 h 40"/>
                <a:gd name="T4" fmla="*/ 2 w 27"/>
                <a:gd name="T5" fmla="*/ 0 h 40"/>
                <a:gd name="T6" fmla="*/ 0 w 27"/>
                <a:gd name="T7" fmla="*/ 3 h 40"/>
                <a:gd name="T8" fmla="*/ 23 w 27"/>
                <a:gd name="T9" fmla="*/ 39 h 40"/>
                <a:gd name="T10" fmla="*/ 23 w 27"/>
                <a:gd name="T11" fmla="*/ 40 h 40"/>
                <a:gd name="T12" fmla="*/ 27 w 27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40">
                  <a:moveTo>
                    <a:pt x="27" y="40"/>
                  </a:moveTo>
                  <a:cubicBezTo>
                    <a:pt x="27" y="39"/>
                    <a:pt x="27" y="39"/>
                    <a:pt x="27" y="39"/>
                  </a:cubicBezTo>
                  <a:cubicBezTo>
                    <a:pt x="27" y="22"/>
                    <a:pt x="17" y="6"/>
                    <a:pt x="2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4" y="9"/>
                    <a:pt x="23" y="24"/>
                    <a:pt x="23" y="39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7" y="40"/>
                    <a:pt x="27" y="40"/>
                    <a:pt x="27" y="40"/>
                  </a:cubicBezTo>
                  <a:close/>
                </a:path>
              </a:pathLst>
            </a:custGeom>
            <a:solidFill>
              <a:srgbClr val="9125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iṩļîḋè">
              <a:extLst>
                <a:ext uri="{FF2B5EF4-FFF2-40B4-BE49-F238E27FC236}">
                  <a16:creationId xmlns:a16="http://schemas.microsoft.com/office/drawing/2014/main" id="{E55FA7C8-9611-46DA-8FCF-D33EFD697A27}"/>
                </a:ext>
              </a:extLst>
            </p:cNvPr>
            <p:cNvSpPr/>
            <p:nvPr/>
          </p:nvSpPr>
          <p:spPr bwMode="auto">
            <a:xfrm>
              <a:off x="6342063" y="3979863"/>
              <a:ext cx="358775" cy="1362075"/>
            </a:xfrm>
            <a:custGeom>
              <a:avLst/>
              <a:gdLst>
                <a:gd name="T0" fmla="*/ 209 w 226"/>
                <a:gd name="T1" fmla="*/ 858 h 858"/>
                <a:gd name="T2" fmla="*/ 226 w 226"/>
                <a:gd name="T3" fmla="*/ 858 h 858"/>
                <a:gd name="T4" fmla="*/ 37 w 226"/>
                <a:gd name="T5" fmla="*/ 0 h 858"/>
                <a:gd name="T6" fmla="*/ 0 w 226"/>
                <a:gd name="T7" fmla="*/ 0 h 858"/>
                <a:gd name="T8" fmla="*/ 209 w 226"/>
                <a:gd name="T9" fmla="*/ 858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" h="858">
                  <a:moveTo>
                    <a:pt x="209" y="858"/>
                  </a:moveTo>
                  <a:lnTo>
                    <a:pt x="226" y="858"/>
                  </a:lnTo>
                  <a:lnTo>
                    <a:pt x="37" y="0"/>
                  </a:lnTo>
                  <a:lnTo>
                    <a:pt x="0" y="0"/>
                  </a:lnTo>
                  <a:lnTo>
                    <a:pt x="209" y="858"/>
                  </a:lnTo>
                  <a:close/>
                </a:path>
              </a:pathLst>
            </a:custGeom>
            <a:solidFill>
              <a:srgbClr val="D4AD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iṧľídé">
              <a:extLst>
                <a:ext uri="{FF2B5EF4-FFF2-40B4-BE49-F238E27FC236}">
                  <a16:creationId xmlns:a16="http://schemas.microsoft.com/office/drawing/2014/main" id="{B244C763-E007-47D9-B866-0247F8BFBC4F}"/>
                </a:ext>
              </a:extLst>
            </p:cNvPr>
            <p:cNvSpPr/>
            <p:nvPr/>
          </p:nvSpPr>
          <p:spPr bwMode="auto">
            <a:xfrm>
              <a:off x="6342063" y="3979863"/>
              <a:ext cx="358775" cy="1362075"/>
            </a:xfrm>
            <a:custGeom>
              <a:avLst/>
              <a:gdLst>
                <a:gd name="T0" fmla="*/ 209 w 226"/>
                <a:gd name="T1" fmla="*/ 858 h 858"/>
                <a:gd name="T2" fmla="*/ 226 w 226"/>
                <a:gd name="T3" fmla="*/ 858 h 858"/>
                <a:gd name="T4" fmla="*/ 37 w 226"/>
                <a:gd name="T5" fmla="*/ 0 h 858"/>
                <a:gd name="T6" fmla="*/ 0 w 226"/>
                <a:gd name="T7" fmla="*/ 0 h 858"/>
                <a:gd name="T8" fmla="*/ 209 w 226"/>
                <a:gd name="T9" fmla="*/ 858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" h="858">
                  <a:moveTo>
                    <a:pt x="209" y="858"/>
                  </a:moveTo>
                  <a:lnTo>
                    <a:pt x="226" y="858"/>
                  </a:lnTo>
                  <a:lnTo>
                    <a:pt x="37" y="0"/>
                  </a:lnTo>
                  <a:lnTo>
                    <a:pt x="0" y="0"/>
                  </a:lnTo>
                  <a:lnTo>
                    <a:pt x="209" y="85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ïślíḓè">
              <a:extLst>
                <a:ext uri="{FF2B5EF4-FFF2-40B4-BE49-F238E27FC236}">
                  <a16:creationId xmlns:a16="http://schemas.microsoft.com/office/drawing/2014/main" id="{0A278B68-33E8-44B9-B503-92138AB65B71}"/>
                </a:ext>
              </a:extLst>
            </p:cNvPr>
            <p:cNvSpPr/>
            <p:nvPr/>
          </p:nvSpPr>
          <p:spPr bwMode="auto">
            <a:xfrm>
              <a:off x="5834063" y="3979863"/>
              <a:ext cx="225425" cy="1362075"/>
            </a:xfrm>
            <a:custGeom>
              <a:avLst/>
              <a:gdLst>
                <a:gd name="T0" fmla="*/ 0 w 142"/>
                <a:gd name="T1" fmla="*/ 858 h 858"/>
                <a:gd name="T2" fmla="*/ 19 w 142"/>
                <a:gd name="T3" fmla="*/ 858 h 858"/>
                <a:gd name="T4" fmla="*/ 142 w 142"/>
                <a:gd name="T5" fmla="*/ 0 h 858"/>
                <a:gd name="T6" fmla="*/ 103 w 142"/>
                <a:gd name="T7" fmla="*/ 0 h 858"/>
                <a:gd name="T8" fmla="*/ 0 w 142"/>
                <a:gd name="T9" fmla="*/ 858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858">
                  <a:moveTo>
                    <a:pt x="0" y="858"/>
                  </a:moveTo>
                  <a:lnTo>
                    <a:pt x="19" y="858"/>
                  </a:lnTo>
                  <a:lnTo>
                    <a:pt x="142" y="0"/>
                  </a:lnTo>
                  <a:lnTo>
                    <a:pt x="103" y="0"/>
                  </a:lnTo>
                  <a:lnTo>
                    <a:pt x="0" y="858"/>
                  </a:lnTo>
                  <a:close/>
                </a:path>
              </a:pathLst>
            </a:custGeom>
            <a:solidFill>
              <a:srgbClr val="F0C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íṣ1iḓê">
              <a:extLst>
                <a:ext uri="{FF2B5EF4-FFF2-40B4-BE49-F238E27FC236}">
                  <a16:creationId xmlns:a16="http://schemas.microsoft.com/office/drawing/2014/main" id="{965A48CA-8EE4-42B8-B267-8CF3C3E1E726}"/>
                </a:ext>
              </a:extLst>
            </p:cNvPr>
            <p:cNvSpPr/>
            <p:nvPr/>
          </p:nvSpPr>
          <p:spPr bwMode="auto">
            <a:xfrm>
              <a:off x="5834063" y="3979863"/>
              <a:ext cx="225425" cy="1362075"/>
            </a:xfrm>
            <a:custGeom>
              <a:avLst/>
              <a:gdLst>
                <a:gd name="T0" fmla="*/ 0 w 142"/>
                <a:gd name="T1" fmla="*/ 858 h 858"/>
                <a:gd name="T2" fmla="*/ 19 w 142"/>
                <a:gd name="T3" fmla="*/ 858 h 858"/>
                <a:gd name="T4" fmla="*/ 142 w 142"/>
                <a:gd name="T5" fmla="*/ 0 h 858"/>
                <a:gd name="T6" fmla="*/ 103 w 142"/>
                <a:gd name="T7" fmla="*/ 0 h 858"/>
                <a:gd name="T8" fmla="*/ 0 w 142"/>
                <a:gd name="T9" fmla="*/ 858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858">
                  <a:moveTo>
                    <a:pt x="0" y="858"/>
                  </a:moveTo>
                  <a:lnTo>
                    <a:pt x="19" y="858"/>
                  </a:lnTo>
                  <a:lnTo>
                    <a:pt x="142" y="0"/>
                  </a:lnTo>
                  <a:lnTo>
                    <a:pt x="103" y="0"/>
                  </a:lnTo>
                  <a:lnTo>
                    <a:pt x="0" y="85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ïṥľïdê">
              <a:extLst>
                <a:ext uri="{FF2B5EF4-FFF2-40B4-BE49-F238E27FC236}">
                  <a16:creationId xmlns:a16="http://schemas.microsoft.com/office/drawing/2014/main" id="{F2BB40E7-AB24-4789-AA27-596A532D0B91}"/>
                </a:ext>
              </a:extLst>
            </p:cNvPr>
            <p:cNvSpPr/>
            <p:nvPr/>
          </p:nvSpPr>
          <p:spPr bwMode="auto">
            <a:xfrm>
              <a:off x="5129213" y="3979863"/>
              <a:ext cx="285750" cy="1362075"/>
            </a:xfrm>
            <a:custGeom>
              <a:avLst/>
              <a:gdLst>
                <a:gd name="T0" fmla="*/ 162 w 180"/>
                <a:gd name="T1" fmla="*/ 858 h 858"/>
                <a:gd name="T2" fmla="*/ 180 w 180"/>
                <a:gd name="T3" fmla="*/ 858 h 858"/>
                <a:gd name="T4" fmla="*/ 39 w 180"/>
                <a:gd name="T5" fmla="*/ 0 h 858"/>
                <a:gd name="T6" fmla="*/ 0 w 180"/>
                <a:gd name="T7" fmla="*/ 0 h 858"/>
                <a:gd name="T8" fmla="*/ 162 w 180"/>
                <a:gd name="T9" fmla="*/ 858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858">
                  <a:moveTo>
                    <a:pt x="162" y="858"/>
                  </a:moveTo>
                  <a:lnTo>
                    <a:pt x="180" y="858"/>
                  </a:lnTo>
                  <a:lnTo>
                    <a:pt x="39" y="0"/>
                  </a:lnTo>
                  <a:lnTo>
                    <a:pt x="0" y="0"/>
                  </a:lnTo>
                  <a:lnTo>
                    <a:pt x="162" y="858"/>
                  </a:lnTo>
                  <a:close/>
                </a:path>
              </a:pathLst>
            </a:custGeom>
            <a:solidFill>
              <a:srgbClr val="D4AD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îṡľíḑe">
              <a:extLst>
                <a:ext uri="{FF2B5EF4-FFF2-40B4-BE49-F238E27FC236}">
                  <a16:creationId xmlns:a16="http://schemas.microsoft.com/office/drawing/2014/main" id="{C61B2762-7585-4E1C-A5FB-25F2A8B21CD8}"/>
                </a:ext>
              </a:extLst>
            </p:cNvPr>
            <p:cNvSpPr/>
            <p:nvPr/>
          </p:nvSpPr>
          <p:spPr bwMode="auto">
            <a:xfrm>
              <a:off x="5129213" y="3979863"/>
              <a:ext cx="285750" cy="1362075"/>
            </a:xfrm>
            <a:custGeom>
              <a:avLst/>
              <a:gdLst>
                <a:gd name="T0" fmla="*/ 162 w 180"/>
                <a:gd name="T1" fmla="*/ 858 h 858"/>
                <a:gd name="T2" fmla="*/ 180 w 180"/>
                <a:gd name="T3" fmla="*/ 858 h 858"/>
                <a:gd name="T4" fmla="*/ 39 w 180"/>
                <a:gd name="T5" fmla="*/ 0 h 858"/>
                <a:gd name="T6" fmla="*/ 0 w 180"/>
                <a:gd name="T7" fmla="*/ 0 h 858"/>
                <a:gd name="T8" fmla="*/ 162 w 180"/>
                <a:gd name="T9" fmla="*/ 858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858">
                  <a:moveTo>
                    <a:pt x="162" y="858"/>
                  </a:moveTo>
                  <a:lnTo>
                    <a:pt x="180" y="858"/>
                  </a:lnTo>
                  <a:lnTo>
                    <a:pt x="39" y="0"/>
                  </a:lnTo>
                  <a:lnTo>
                    <a:pt x="0" y="0"/>
                  </a:lnTo>
                  <a:lnTo>
                    <a:pt x="162" y="85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îŝḻîḑè">
              <a:extLst>
                <a:ext uri="{FF2B5EF4-FFF2-40B4-BE49-F238E27FC236}">
                  <a16:creationId xmlns:a16="http://schemas.microsoft.com/office/drawing/2014/main" id="{637D63A1-253E-44EE-9FD7-FBF4AB646100}"/>
                </a:ext>
              </a:extLst>
            </p:cNvPr>
            <p:cNvSpPr/>
            <p:nvPr/>
          </p:nvSpPr>
          <p:spPr bwMode="auto">
            <a:xfrm>
              <a:off x="4589463" y="3979863"/>
              <a:ext cx="300037" cy="1362075"/>
            </a:xfrm>
            <a:custGeom>
              <a:avLst/>
              <a:gdLst>
                <a:gd name="T0" fmla="*/ 0 w 189"/>
                <a:gd name="T1" fmla="*/ 858 h 858"/>
                <a:gd name="T2" fmla="*/ 19 w 189"/>
                <a:gd name="T3" fmla="*/ 858 h 858"/>
                <a:gd name="T4" fmla="*/ 189 w 189"/>
                <a:gd name="T5" fmla="*/ 0 h 858"/>
                <a:gd name="T6" fmla="*/ 152 w 189"/>
                <a:gd name="T7" fmla="*/ 0 h 858"/>
                <a:gd name="T8" fmla="*/ 0 w 189"/>
                <a:gd name="T9" fmla="*/ 858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858">
                  <a:moveTo>
                    <a:pt x="0" y="858"/>
                  </a:moveTo>
                  <a:lnTo>
                    <a:pt x="19" y="858"/>
                  </a:lnTo>
                  <a:lnTo>
                    <a:pt x="189" y="0"/>
                  </a:lnTo>
                  <a:lnTo>
                    <a:pt x="152" y="0"/>
                  </a:lnTo>
                  <a:lnTo>
                    <a:pt x="0" y="858"/>
                  </a:lnTo>
                  <a:close/>
                </a:path>
              </a:pathLst>
            </a:custGeom>
            <a:solidFill>
              <a:srgbClr val="F0C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ïṥ1íḍè">
              <a:extLst>
                <a:ext uri="{FF2B5EF4-FFF2-40B4-BE49-F238E27FC236}">
                  <a16:creationId xmlns:a16="http://schemas.microsoft.com/office/drawing/2014/main" id="{811E520D-19F2-4FDF-8B67-F6F32CE446BC}"/>
                </a:ext>
              </a:extLst>
            </p:cNvPr>
            <p:cNvSpPr/>
            <p:nvPr/>
          </p:nvSpPr>
          <p:spPr bwMode="auto">
            <a:xfrm>
              <a:off x="4589463" y="3979863"/>
              <a:ext cx="300037" cy="1362075"/>
            </a:xfrm>
            <a:custGeom>
              <a:avLst/>
              <a:gdLst>
                <a:gd name="T0" fmla="*/ 0 w 189"/>
                <a:gd name="T1" fmla="*/ 858 h 858"/>
                <a:gd name="T2" fmla="*/ 19 w 189"/>
                <a:gd name="T3" fmla="*/ 858 h 858"/>
                <a:gd name="T4" fmla="*/ 189 w 189"/>
                <a:gd name="T5" fmla="*/ 0 h 858"/>
                <a:gd name="T6" fmla="*/ 152 w 189"/>
                <a:gd name="T7" fmla="*/ 0 h 858"/>
                <a:gd name="T8" fmla="*/ 0 w 189"/>
                <a:gd name="T9" fmla="*/ 858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858">
                  <a:moveTo>
                    <a:pt x="0" y="858"/>
                  </a:moveTo>
                  <a:lnTo>
                    <a:pt x="19" y="858"/>
                  </a:lnTo>
                  <a:lnTo>
                    <a:pt x="189" y="0"/>
                  </a:lnTo>
                  <a:lnTo>
                    <a:pt x="152" y="0"/>
                  </a:lnTo>
                  <a:lnTo>
                    <a:pt x="0" y="85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iṥļîďè">
              <a:extLst>
                <a:ext uri="{FF2B5EF4-FFF2-40B4-BE49-F238E27FC236}">
                  <a16:creationId xmlns:a16="http://schemas.microsoft.com/office/drawing/2014/main" id="{320B913A-5599-4C9C-A0D4-E8CC5B50D795}"/>
                </a:ext>
              </a:extLst>
            </p:cNvPr>
            <p:cNvSpPr/>
            <p:nvPr/>
          </p:nvSpPr>
          <p:spPr bwMode="auto">
            <a:xfrm>
              <a:off x="5062538" y="3919538"/>
              <a:ext cx="1511300" cy="60325"/>
            </a:xfrm>
            <a:prstGeom prst="rect">
              <a:avLst/>
            </a:prstGeom>
            <a:solidFill>
              <a:srgbClr val="C182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ïSļïďé">
              <a:extLst>
                <a:ext uri="{FF2B5EF4-FFF2-40B4-BE49-F238E27FC236}">
                  <a16:creationId xmlns:a16="http://schemas.microsoft.com/office/drawing/2014/main" id="{309BA5D0-B928-42AE-A99D-C8ACB01E85AC}"/>
                </a:ext>
              </a:extLst>
            </p:cNvPr>
            <p:cNvSpPr/>
            <p:nvPr/>
          </p:nvSpPr>
          <p:spPr bwMode="auto">
            <a:xfrm>
              <a:off x="4579938" y="3919538"/>
              <a:ext cx="1390650" cy="60325"/>
            </a:xfrm>
            <a:prstGeom prst="rect">
              <a:avLst/>
            </a:prstGeom>
            <a:solidFill>
              <a:srgbClr val="D4AD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ïṡḷîďê">
              <a:extLst>
                <a:ext uri="{FF2B5EF4-FFF2-40B4-BE49-F238E27FC236}">
                  <a16:creationId xmlns:a16="http://schemas.microsoft.com/office/drawing/2014/main" id="{EC43D323-CAD8-4EB9-B7AA-CFEC7396955F}"/>
                </a:ext>
              </a:extLst>
            </p:cNvPr>
            <p:cNvSpPr/>
            <p:nvPr/>
          </p:nvSpPr>
          <p:spPr bwMode="auto">
            <a:xfrm>
              <a:off x="4579938" y="3919538"/>
              <a:ext cx="1390650" cy="60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iŝḷiḑê">
              <a:extLst>
                <a:ext uri="{FF2B5EF4-FFF2-40B4-BE49-F238E27FC236}">
                  <a16:creationId xmlns:a16="http://schemas.microsoft.com/office/drawing/2014/main" id="{9C665ECC-93BA-4647-BD91-11B86E71D289}"/>
                </a:ext>
              </a:extLst>
            </p:cNvPr>
            <p:cNvSpPr/>
            <p:nvPr/>
          </p:nvSpPr>
          <p:spPr bwMode="auto">
            <a:xfrm>
              <a:off x="5097463" y="3865563"/>
              <a:ext cx="1612900" cy="85725"/>
            </a:xfrm>
            <a:prstGeom prst="rect">
              <a:avLst/>
            </a:prstGeom>
            <a:solidFill>
              <a:srgbClr val="B3B3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íš1îdè">
              <a:extLst>
                <a:ext uri="{FF2B5EF4-FFF2-40B4-BE49-F238E27FC236}">
                  <a16:creationId xmlns:a16="http://schemas.microsoft.com/office/drawing/2014/main" id="{F5EE49BF-90E3-476F-8D5A-C00D34090985}"/>
                </a:ext>
              </a:extLst>
            </p:cNvPr>
            <p:cNvSpPr/>
            <p:nvPr/>
          </p:nvSpPr>
          <p:spPr bwMode="auto">
            <a:xfrm>
              <a:off x="4368800" y="3865563"/>
              <a:ext cx="1495425" cy="85725"/>
            </a:xfrm>
            <a:prstGeom prst="rect">
              <a:avLst/>
            </a:pr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ïṩ1iḓé">
              <a:extLst>
                <a:ext uri="{FF2B5EF4-FFF2-40B4-BE49-F238E27FC236}">
                  <a16:creationId xmlns:a16="http://schemas.microsoft.com/office/drawing/2014/main" id="{8D5585F6-52EE-40C3-BAB1-94E66969CC98}"/>
                </a:ext>
              </a:extLst>
            </p:cNvPr>
            <p:cNvSpPr/>
            <p:nvPr/>
          </p:nvSpPr>
          <p:spPr bwMode="auto">
            <a:xfrm>
              <a:off x="4368800" y="3865563"/>
              <a:ext cx="1495425" cy="8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işľiḍé">
              <a:extLst>
                <a:ext uri="{FF2B5EF4-FFF2-40B4-BE49-F238E27FC236}">
                  <a16:creationId xmlns:a16="http://schemas.microsoft.com/office/drawing/2014/main" id="{B46855BB-EEB3-468F-90F9-7127087D3BCD}"/>
                </a:ext>
              </a:extLst>
            </p:cNvPr>
            <p:cNvSpPr/>
            <p:nvPr/>
          </p:nvSpPr>
          <p:spPr bwMode="auto">
            <a:xfrm>
              <a:off x="3465513" y="5318125"/>
              <a:ext cx="4802187" cy="115888"/>
            </a:xfrm>
            <a:custGeom>
              <a:avLst/>
              <a:gdLst>
                <a:gd name="T0" fmla="*/ 3025 w 3025"/>
                <a:gd name="T1" fmla="*/ 0 h 73"/>
                <a:gd name="T2" fmla="*/ 2034 w 3025"/>
                <a:gd name="T3" fmla="*/ 0 h 73"/>
                <a:gd name="T4" fmla="*/ 2038 w 3025"/>
                <a:gd name="T5" fmla="*/ 15 h 73"/>
                <a:gd name="T6" fmla="*/ 2021 w 3025"/>
                <a:gd name="T7" fmla="*/ 15 h 73"/>
                <a:gd name="T8" fmla="*/ 2017 w 3025"/>
                <a:gd name="T9" fmla="*/ 0 h 73"/>
                <a:gd name="T10" fmla="*/ 1513 w 3025"/>
                <a:gd name="T11" fmla="*/ 0 h 73"/>
                <a:gd name="T12" fmla="*/ 1511 w 3025"/>
                <a:gd name="T13" fmla="*/ 15 h 73"/>
                <a:gd name="T14" fmla="*/ 1492 w 3025"/>
                <a:gd name="T15" fmla="*/ 15 h 73"/>
                <a:gd name="T16" fmla="*/ 1494 w 3025"/>
                <a:gd name="T17" fmla="*/ 0 h 73"/>
                <a:gd name="T18" fmla="*/ 1227 w 3025"/>
                <a:gd name="T19" fmla="*/ 0 h 73"/>
                <a:gd name="T20" fmla="*/ 1228 w 3025"/>
                <a:gd name="T21" fmla="*/ 15 h 73"/>
                <a:gd name="T22" fmla="*/ 1210 w 3025"/>
                <a:gd name="T23" fmla="*/ 15 h 73"/>
                <a:gd name="T24" fmla="*/ 1208 w 3025"/>
                <a:gd name="T25" fmla="*/ 0 h 73"/>
                <a:gd name="T26" fmla="*/ 730 w 3025"/>
                <a:gd name="T27" fmla="*/ 0 h 73"/>
                <a:gd name="T28" fmla="*/ 727 w 3025"/>
                <a:gd name="T29" fmla="*/ 15 h 73"/>
                <a:gd name="T30" fmla="*/ 708 w 3025"/>
                <a:gd name="T31" fmla="*/ 15 h 73"/>
                <a:gd name="T32" fmla="*/ 712 w 3025"/>
                <a:gd name="T33" fmla="*/ 0 h 73"/>
                <a:gd name="T34" fmla="*/ 0 w 3025"/>
                <a:gd name="T35" fmla="*/ 0 h 73"/>
                <a:gd name="T36" fmla="*/ 0 w 3025"/>
                <a:gd name="T37" fmla="*/ 73 h 73"/>
                <a:gd name="T38" fmla="*/ 3025 w 3025"/>
                <a:gd name="T39" fmla="*/ 73 h 73"/>
                <a:gd name="T40" fmla="*/ 3025 w 3025"/>
                <a:gd name="T4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25" h="73">
                  <a:moveTo>
                    <a:pt x="3025" y="0"/>
                  </a:moveTo>
                  <a:lnTo>
                    <a:pt x="2034" y="0"/>
                  </a:lnTo>
                  <a:lnTo>
                    <a:pt x="2038" y="15"/>
                  </a:lnTo>
                  <a:lnTo>
                    <a:pt x="2021" y="15"/>
                  </a:lnTo>
                  <a:lnTo>
                    <a:pt x="2017" y="0"/>
                  </a:lnTo>
                  <a:lnTo>
                    <a:pt x="1513" y="0"/>
                  </a:lnTo>
                  <a:lnTo>
                    <a:pt x="1511" y="15"/>
                  </a:lnTo>
                  <a:lnTo>
                    <a:pt x="1492" y="15"/>
                  </a:lnTo>
                  <a:lnTo>
                    <a:pt x="1494" y="0"/>
                  </a:lnTo>
                  <a:lnTo>
                    <a:pt x="1227" y="0"/>
                  </a:lnTo>
                  <a:lnTo>
                    <a:pt x="1228" y="15"/>
                  </a:lnTo>
                  <a:lnTo>
                    <a:pt x="1210" y="15"/>
                  </a:lnTo>
                  <a:lnTo>
                    <a:pt x="1208" y="0"/>
                  </a:lnTo>
                  <a:lnTo>
                    <a:pt x="730" y="0"/>
                  </a:lnTo>
                  <a:lnTo>
                    <a:pt x="727" y="15"/>
                  </a:lnTo>
                  <a:lnTo>
                    <a:pt x="708" y="15"/>
                  </a:lnTo>
                  <a:lnTo>
                    <a:pt x="712" y="0"/>
                  </a:lnTo>
                  <a:lnTo>
                    <a:pt x="0" y="0"/>
                  </a:lnTo>
                  <a:lnTo>
                    <a:pt x="0" y="73"/>
                  </a:lnTo>
                  <a:lnTo>
                    <a:pt x="3025" y="73"/>
                  </a:lnTo>
                  <a:lnTo>
                    <a:pt x="3025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íṧḻíḑe">
              <a:extLst>
                <a:ext uri="{FF2B5EF4-FFF2-40B4-BE49-F238E27FC236}">
                  <a16:creationId xmlns:a16="http://schemas.microsoft.com/office/drawing/2014/main" id="{3460C5D4-771E-4463-BD61-C5C4919E2453}"/>
                </a:ext>
              </a:extLst>
            </p:cNvPr>
            <p:cNvSpPr/>
            <p:nvPr/>
          </p:nvSpPr>
          <p:spPr bwMode="auto">
            <a:xfrm>
              <a:off x="3465513" y="5318125"/>
              <a:ext cx="4802187" cy="115888"/>
            </a:xfrm>
            <a:custGeom>
              <a:avLst/>
              <a:gdLst>
                <a:gd name="T0" fmla="*/ 3025 w 3025"/>
                <a:gd name="T1" fmla="*/ 0 h 73"/>
                <a:gd name="T2" fmla="*/ 2034 w 3025"/>
                <a:gd name="T3" fmla="*/ 0 h 73"/>
                <a:gd name="T4" fmla="*/ 2038 w 3025"/>
                <a:gd name="T5" fmla="*/ 15 h 73"/>
                <a:gd name="T6" fmla="*/ 2021 w 3025"/>
                <a:gd name="T7" fmla="*/ 15 h 73"/>
                <a:gd name="T8" fmla="*/ 2017 w 3025"/>
                <a:gd name="T9" fmla="*/ 0 h 73"/>
                <a:gd name="T10" fmla="*/ 1513 w 3025"/>
                <a:gd name="T11" fmla="*/ 0 h 73"/>
                <a:gd name="T12" fmla="*/ 1511 w 3025"/>
                <a:gd name="T13" fmla="*/ 15 h 73"/>
                <a:gd name="T14" fmla="*/ 1492 w 3025"/>
                <a:gd name="T15" fmla="*/ 15 h 73"/>
                <a:gd name="T16" fmla="*/ 1494 w 3025"/>
                <a:gd name="T17" fmla="*/ 0 h 73"/>
                <a:gd name="T18" fmla="*/ 1227 w 3025"/>
                <a:gd name="T19" fmla="*/ 0 h 73"/>
                <a:gd name="T20" fmla="*/ 1228 w 3025"/>
                <a:gd name="T21" fmla="*/ 15 h 73"/>
                <a:gd name="T22" fmla="*/ 1210 w 3025"/>
                <a:gd name="T23" fmla="*/ 15 h 73"/>
                <a:gd name="T24" fmla="*/ 1208 w 3025"/>
                <a:gd name="T25" fmla="*/ 0 h 73"/>
                <a:gd name="T26" fmla="*/ 730 w 3025"/>
                <a:gd name="T27" fmla="*/ 0 h 73"/>
                <a:gd name="T28" fmla="*/ 727 w 3025"/>
                <a:gd name="T29" fmla="*/ 15 h 73"/>
                <a:gd name="T30" fmla="*/ 708 w 3025"/>
                <a:gd name="T31" fmla="*/ 15 h 73"/>
                <a:gd name="T32" fmla="*/ 712 w 3025"/>
                <a:gd name="T33" fmla="*/ 0 h 73"/>
                <a:gd name="T34" fmla="*/ 0 w 3025"/>
                <a:gd name="T35" fmla="*/ 0 h 73"/>
                <a:gd name="T36" fmla="*/ 0 w 3025"/>
                <a:gd name="T37" fmla="*/ 73 h 73"/>
                <a:gd name="T38" fmla="*/ 3025 w 3025"/>
                <a:gd name="T39" fmla="*/ 73 h 73"/>
                <a:gd name="T40" fmla="*/ 3025 w 3025"/>
                <a:gd name="T4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25" h="73">
                  <a:moveTo>
                    <a:pt x="3025" y="0"/>
                  </a:moveTo>
                  <a:lnTo>
                    <a:pt x="2034" y="0"/>
                  </a:lnTo>
                  <a:lnTo>
                    <a:pt x="2038" y="15"/>
                  </a:lnTo>
                  <a:lnTo>
                    <a:pt x="2021" y="15"/>
                  </a:lnTo>
                  <a:lnTo>
                    <a:pt x="2017" y="0"/>
                  </a:lnTo>
                  <a:lnTo>
                    <a:pt x="1513" y="0"/>
                  </a:lnTo>
                  <a:lnTo>
                    <a:pt x="1511" y="15"/>
                  </a:lnTo>
                  <a:lnTo>
                    <a:pt x="1492" y="15"/>
                  </a:lnTo>
                  <a:lnTo>
                    <a:pt x="1494" y="0"/>
                  </a:lnTo>
                  <a:lnTo>
                    <a:pt x="1227" y="0"/>
                  </a:lnTo>
                  <a:lnTo>
                    <a:pt x="1228" y="15"/>
                  </a:lnTo>
                  <a:lnTo>
                    <a:pt x="1210" y="15"/>
                  </a:lnTo>
                  <a:lnTo>
                    <a:pt x="1208" y="0"/>
                  </a:lnTo>
                  <a:lnTo>
                    <a:pt x="730" y="0"/>
                  </a:lnTo>
                  <a:lnTo>
                    <a:pt x="727" y="15"/>
                  </a:lnTo>
                  <a:lnTo>
                    <a:pt x="708" y="15"/>
                  </a:lnTo>
                  <a:lnTo>
                    <a:pt x="712" y="0"/>
                  </a:lnTo>
                  <a:lnTo>
                    <a:pt x="0" y="0"/>
                  </a:lnTo>
                  <a:lnTo>
                    <a:pt x="0" y="73"/>
                  </a:lnTo>
                  <a:lnTo>
                    <a:pt x="3025" y="73"/>
                  </a:lnTo>
                  <a:lnTo>
                    <a:pt x="30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îṡļíḋé">
              <a:extLst>
                <a:ext uri="{FF2B5EF4-FFF2-40B4-BE49-F238E27FC236}">
                  <a16:creationId xmlns:a16="http://schemas.microsoft.com/office/drawing/2014/main" id="{9BFAE233-4DB3-48D1-98C1-2DB10C97BAAE}"/>
                </a:ext>
              </a:extLst>
            </p:cNvPr>
            <p:cNvSpPr/>
            <p:nvPr/>
          </p:nvSpPr>
          <p:spPr bwMode="auto">
            <a:xfrm>
              <a:off x="6667500" y="5318125"/>
              <a:ext cx="33337" cy="23813"/>
            </a:xfrm>
            <a:custGeom>
              <a:avLst/>
              <a:gdLst>
                <a:gd name="T0" fmla="*/ 17 w 21"/>
                <a:gd name="T1" fmla="*/ 0 h 15"/>
                <a:gd name="T2" fmla="*/ 0 w 21"/>
                <a:gd name="T3" fmla="*/ 0 h 15"/>
                <a:gd name="T4" fmla="*/ 4 w 21"/>
                <a:gd name="T5" fmla="*/ 15 h 15"/>
                <a:gd name="T6" fmla="*/ 21 w 21"/>
                <a:gd name="T7" fmla="*/ 15 h 15"/>
                <a:gd name="T8" fmla="*/ 17 w 2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5">
                  <a:moveTo>
                    <a:pt x="17" y="0"/>
                  </a:moveTo>
                  <a:lnTo>
                    <a:pt x="0" y="0"/>
                  </a:lnTo>
                  <a:lnTo>
                    <a:pt x="4" y="15"/>
                  </a:lnTo>
                  <a:lnTo>
                    <a:pt x="21" y="15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BEB5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îşḻîdê">
              <a:extLst>
                <a:ext uri="{FF2B5EF4-FFF2-40B4-BE49-F238E27FC236}">
                  <a16:creationId xmlns:a16="http://schemas.microsoft.com/office/drawing/2014/main" id="{70B784D6-082B-4DDD-BF79-76FBFBF11C38}"/>
                </a:ext>
              </a:extLst>
            </p:cNvPr>
            <p:cNvSpPr/>
            <p:nvPr/>
          </p:nvSpPr>
          <p:spPr bwMode="auto">
            <a:xfrm>
              <a:off x="6667500" y="5318125"/>
              <a:ext cx="33337" cy="23813"/>
            </a:xfrm>
            <a:custGeom>
              <a:avLst/>
              <a:gdLst>
                <a:gd name="T0" fmla="*/ 17 w 21"/>
                <a:gd name="T1" fmla="*/ 0 h 15"/>
                <a:gd name="T2" fmla="*/ 0 w 21"/>
                <a:gd name="T3" fmla="*/ 0 h 15"/>
                <a:gd name="T4" fmla="*/ 4 w 21"/>
                <a:gd name="T5" fmla="*/ 15 h 15"/>
                <a:gd name="T6" fmla="*/ 21 w 21"/>
                <a:gd name="T7" fmla="*/ 15 h 15"/>
                <a:gd name="T8" fmla="*/ 17 w 2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5">
                  <a:moveTo>
                    <a:pt x="17" y="0"/>
                  </a:moveTo>
                  <a:lnTo>
                    <a:pt x="0" y="0"/>
                  </a:lnTo>
                  <a:lnTo>
                    <a:pt x="4" y="15"/>
                  </a:lnTo>
                  <a:lnTo>
                    <a:pt x="21" y="15"/>
                  </a:lnTo>
                  <a:lnTo>
                    <a:pt x="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isḻíďè">
              <a:extLst>
                <a:ext uri="{FF2B5EF4-FFF2-40B4-BE49-F238E27FC236}">
                  <a16:creationId xmlns:a16="http://schemas.microsoft.com/office/drawing/2014/main" id="{CFA77097-40C8-4EFB-B090-405AD071D3D7}"/>
                </a:ext>
              </a:extLst>
            </p:cNvPr>
            <p:cNvSpPr/>
            <p:nvPr/>
          </p:nvSpPr>
          <p:spPr bwMode="auto">
            <a:xfrm>
              <a:off x="5834063" y="5318125"/>
              <a:ext cx="33337" cy="23813"/>
            </a:xfrm>
            <a:custGeom>
              <a:avLst/>
              <a:gdLst>
                <a:gd name="T0" fmla="*/ 21 w 21"/>
                <a:gd name="T1" fmla="*/ 0 h 15"/>
                <a:gd name="T2" fmla="*/ 2 w 21"/>
                <a:gd name="T3" fmla="*/ 0 h 15"/>
                <a:gd name="T4" fmla="*/ 0 w 21"/>
                <a:gd name="T5" fmla="*/ 15 h 15"/>
                <a:gd name="T6" fmla="*/ 19 w 21"/>
                <a:gd name="T7" fmla="*/ 15 h 15"/>
                <a:gd name="T8" fmla="*/ 21 w 2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5">
                  <a:moveTo>
                    <a:pt x="21" y="0"/>
                  </a:moveTo>
                  <a:lnTo>
                    <a:pt x="2" y="0"/>
                  </a:lnTo>
                  <a:lnTo>
                    <a:pt x="0" y="15"/>
                  </a:lnTo>
                  <a:lnTo>
                    <a:pt x="19" y="15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D4C5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îṧļiḍê">
              <a:extLst>
                <a:ext uri="{FF2B5EF4-FFF2-40B4-BE49-F238E27FC236}">
                  <a16:creationId xmlns:a16="http://schemas.microsoft.com/office/drawing/2014/main" id="{7BC93590-95DD-4613-997E-B6B91D6D60A5}"/>
                </a:ext>
              </a:extLst>
            </p:cNvPr>
            <p:cNvSpPr/>
            <p:nvPr/>
          </p:nvSpPr>
          <p:spPr bwMode="auto">
            <a:xfrm>
              <a:off x="5834063" y="5318125"/>
              <a:ext cx="33337" cy="23813"/>
            </a:xfrm>
            <a:custGeom>
              <a:avLst/>
              <a:gdLst>
                <a:gd name="T0" fmla="*/ 21 w 21"/>
                <a:gd name="T1" fmla="*/ 0 h 15"/>
                <a:gd name="T2" fmla="*/ 2 w 21"/>
                <a:gd name="T3" fmla="*/ 0 h 15"/>
                <a:gd name="T4" fmla="*/ 0 w 21"/>
                <a:gd name="T5" fmla="*/ 15 h 15"/>
                <a:gd name="T6" fmla="*/ 19 w 21"/>
                <a:gd name="T7" fmla="*/ 15 h 15"/>
                <a:gd name="T8" fmla="*/ 21 w 2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5">
                  <a:moveTo>
                    <a:pt x="21" y="0"/>
                  </a:moveTo>
                  <a:lnTo>
                    <a:pt x="2" y="0"/>
                  </a:lnTo>
                  <a:lnTo>
                    <a:pt x="0" y="15"/>
                  </a:lnTo>
                  <a:lnTo>
                    <a:pt x="19" y="15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íšliḓê">
              <a:extLst>
                <a:ext uri="{FF2B5EF4-FFF2-40B4-BE49-F238E27FC236}">
                  <a16:creationId xmlns:a16="http://schemas.microsoft.com/office/drawing/2014/main" id="{11436C5E-0A82-481A-ABEF-11F2AE99C5FB}"/>
                </a:ext>
              </a:extLst>
            </p:cNvPr>
            <p:cNvSpPr/>
            <p:nvPr/>
          </p:nvSpPr>
          <p:spPr bwMode="auto">
            <a:xfrm>
              <a:off x="5383213" y="5318125"/>
              <a:ext cx="31750" cy="23813"/>
            </a:xfrm>
            <a:custGeom>
              <a:avLst/>
              <a:gdLst>
                <a:gd name="T0" fmla="*/ 19 w 20"/>
                <a:gd name="T1" fmla="*/ 0 h 15"/>
                <a:gd name="T2" fmla="*/ 0 w 20"/>
                <a:gd name="T3" fmla="*/ 0 h 15"/>
                <a:gd name="T4" fmla="*/ 2 w 20"/>
                <a:gd name="T5" fmla="*/ 15 h 15"/>
                <a:gd name="T6" fmla="*/ 20 w 20"/>
                <a:gd name="T7" fmla="*/ 15 h 15"/>
                <a:gd name="T8" fmla="*/ 19 w 2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5">
                  <a:moveTo>
                    <a:pt x="19" y="0"/>
                  </a:moveTo>
                  <a:lnTo>
                    <a:pt x="0" y="0"/>
                  </a:lnTo>
                  <a:lnTo>
                    <a:pt x="2" y="15"/>
                  </a:lnTo>
                  <a:lnTo>
                    <a:pt x="20" y="15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BEB5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i$lïdê">
              <a:extLst>
                <a:ext uri="{FF2B5EF4-FFF2-40B4-BE49-F238E27FC236}">
                  <a16:creationId xmlns:a16="http://schemas.microsoft.com/office/drawing/2014/main" id="{FC88D4CD-C8B1-4856-86D8-580223270189}"/>
                </a:ext>
              </a:extLst>
            </p:cNvPr>
            <p:cNvSpPr/>
            <p:nvPr/>
          </p:nvSpPr>
          <p:spPr bwMode="auto">
            <a:xfrm>
              <a:off x="5383213" y="5318125"/>
              <a:ext cx="31750" cy="23813"/>
            </a:xfrm>
            <a:custGeom>
              <a:avLst/>
              <a:gdLst>
                <a:gd name="T0" fmla="*/ 19 w 20"/>
                <a:gd name="T1" fmla="*/ 0 h 15"/>
                <a:gd name="T2" fmla="*/ 0 w 20"/>
                <a:gd name="T3" fmla="*/ 0 h 15"/>
                <a:gd name="T4" fmla="*/ 2 w 20"/>
                <a:gd name="T5" fmla="*/ 15 h 15"/>
                <a:gd name="T6" fmla="*/ 20 w 20"/>
                <a:gd name="T7" fmla="*/ 15 h 15"/>
                <a:gd name="T8" fmla="*/ 19 w 2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5">
                  <a:moveTo>
                    <a:pt x="19" y="0"/>
                  </a:moveTo>
                  <a:lnTo>
                    <a:pt x="0" y="0"/>
                  </a:lnTo>
                  <a:lnTo>
                    <a:pt x="2" y="15"/>
                  </a:lnTo>
                  <a:lnTo>
                    <a:pt x="20" y="15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îṥlíḑê">
              <a:extLst>
                <a:ext uri="{FF2B5EF4-FFF2-40B4-BE49-F238E27FC236}">
                  <a16:creationId xmlns:a16="http://schemas.microsoft.com/office/drawing/2014/main" id="{CFCB6E43-F783-4462-B216-760B7D42BE1E}"/>
                </a:ext>
              </a:extLst>
            </p:cNvPr>
            <p:cNvSpPr/>
            <p:nvPr/>
          </p:nvSpPr>
          <p:spPr bwMode="auto">
            <a:xfrm>
              <a:off x="4589463" y="5318125"/>
              <a:ext cx="34925" cy="23813"/>
            </a:xfrm>
            <a:custGeom>
              <a:avLst/>
              <a:gdLst>
                <a:gd name="T0" fmla="*/ 22 w 22"/>
                <a:gd name="T1" fmla="*/ 0 h 15"/>
                <a:gd name="T2" fmla="*/ 4 w 22"/>
                <a:gd name="T3" fmla="*/ 0 h 15"/>
                <a:gd name="T4" fmla="*/ 0 w 22"/>
                <a:gd name="T5" fmla="*/ 15 h 15"/>
                <a:gd name="T6" fmla="*/ 19 w 22"/>
                <a:gd name="T7" fmla="*/ 15 h 15"/>
                <a:gd name="T8" fmla="*/ 22 w 2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5">
                  <a:moveTo>
                    <a:pt x="22" y="0"/>
                  </a:moveTo>
                  <a:lnTo>
                    <a:pt x="4" y="0"/>
                  </a:lnTo>
                  <a:lnTo>
                    <a:pt x="0" y="15"/>
                  </a:lnTo>
                  <a:lnTo>
                    <a:pt x="19" y="15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D4C5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îṥḻîďe">
              <a:extLst>
                <a:ext uri="{FF2B5EF4-FFF2-40B4-BE49-F238E27FC236}">
                  <a16:creationId xmlns:a16="http://schemas.microsoft.com/office/drawing/2014/main" id="{19619B14-F552-4ABC-80E7-A88D05A9D7E9}"/>
                </a:ext>
              </a:extLst>
            </p:cNvPr>
            <p:cNvSpPr/>
            <p:nvPr/>
          </p:nvSpPr>
          <p:spPr bwMode="auto">
            <a:xfrm>
              <a:off x="4589463" y="5318125"/>
              <a:ext cx="34925" cy="23813"/>
            </a:xfrm>
            <a:custGeom>
              <a:avLst/>
              <a:gdLst>
                <a:gd name="T0" fmla="*/ 22 w 22"/>
                <a:gd name="T1" fmla="*/ 0 h 15"/>
                <a:gd name="T2" fmla="*/ 4 w 22"/>
                <a:gd name="T3" fmla="*/ 0 h 15"/>
                <a:gd name="T4" fmla="*/ 0 w 22"/>
                <a:gd name="T5" fmla="*/ 15 h 15"/>
                <a:gd name="T6" fmla="*/ 19 w 22"/>
                <a:gd name="T7" fmla="*/ 15 h 15"/>
                <a:gd name="T8" fmla="*/ 22 w 2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5">
                  <a:moveTo>
                    <a:pt x="22" y="0"/>
                  </a:moveTo>
                  <a:lnTo>
                    <a:pt x="4" y="0"/>
                  </a:lnTo>
                  <a:lnTo>
                    <a:pt x="0" y="15"/>
                  </a:lnTo>
                  <a:lnTo>
                    <a:pt x="19" y="15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îsḷíḓê">
              <a:extLst>
                <a:ext uri="{FF2B5EF4-FFF2-40B4-BE49-F238E27FC236}">
                  <a16:creationId xmlns:a16="http://schemas.microsoft.com/office/drawing/2014/main" id="{642BBC2D-DC4F-4A3E-9C9E-D18D76940AB2}"/>
                </a:ext>
              </a:extLst>
            </p:cNvPr>
            <p:cNvSpPr/>
            <p:nvPr/>
          </p:nvSpPr>
          <p:spPr bwMode="auto">
            <a:xfrm>
              <a:off x="5610225" y="3681413"/>
              <a:ext cx="269875" cy="168275"/>
            </a:xfrm>
            <a:custGeom>
              <a:avLst/>
              <a:gdLst>
                <a:gd name="T0" fmla="*/ 170 w 170"/>
                <a:gd name="T1" fmla="*/ 106 h 106"/>
                <a:gd name="T2" fmla="*/ 0 w 170"/>
                <a:gd name="T3" fmla="*/ 106 h 106"/>
                <a:gd name="T4" fmla="*/ 0 w 170"/>
                <a:gd name="T5" fmla="*/ 104 h 106"/>
                <a:gd name="T6" fmla="*/ 5 w 170"/>
                <a:gd name="T7" fmla="*/ 83 h 106"/>
                <a:gd name="T8" fmla="*/ 15 w 170"/>
                <a:gd name="T9" fmla="*/ 46 h 106"/>
                <a:gd name="T10" fmla="*/ 24 w 170"/>
                <a:gd name="T11" fmla="*/ 0 h 106"/>
                <a:gd name="T12" fmla="*/ 146 w 170"/>
                <a:gd name="T13" fmla="*/ 0 h 106"/>
                <a:gd name="T14" fmla="*/ 155 w 170"/>
                <a:gd name="T15" fmla="*/ 46 h 106"/>
                <a:gd name="T16" fmla="*/ 165 w 170"/>
                <a:gd name="T17" fmla="*/ 83 h 106"/>
                <a:gd name="T18" fmla="*/ 170 w 170"/>
                <a:gd name="T19" fmla="*/ 104 h 106"/>
                <a:gd name="T20" fmla="*/ 170 w 170"/>
                <a:gd name="T2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0" h="106">
                  <a:moveTo>
                    <a:pt x="170" y="106"/>
                  </a:moveTo>
                  <a:lnTo>
                    <a:pt x="0" y="106"/>
                  </a:lnTo>
                  <a:lnTo>
                    <a:pt x="0" y="104"/>
                  </a:lnTo>
                  <a:lnTo>
                    <a:pt x="5" y="83"/>
                  </a:lnTo>
                  <a:lnTo>
                    <a:pt x="15" y="46"/>
                  </a:lnTo>
                  <a:lnTo>
                    <a:pt x="24" y="0"/>
                  </a:lnTo>
                  <a:lnTo>
                    <a:pt x="146" y="0"/>
                  </a:lnTo>
                  <a:lnTo>
                    <a:pt x="155" y="46"/>
                  </a:lnTo>
                  <a:lnTo>
                    <a:pt x="165" y="83"/>
                  </a:lnTo>
                  <a:lnTo>
                    <a:pt x="170" y="104"/>
                  </a:lnTo>
                  <a:lnTo>
                    <a:pt x="170" y="106"/>
                  </a:lnTo>
                  <a:close/>
                </a:path>
              </a:pathLst>
            </a:custGeom>
            <a:solidFill>
              <a:srgbClr val="A9A8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íṡḻîdè">
              <a:extLst>
                <a:ext uri="{FF2B5EF4-FFF2-40B4-BE49-F238E27FC236}">
                  <a16:creationId xmlns:a16="http://schemas.microsoft.com/office/drawing/2014/main" id="{5EF16718-EAE0-4AC5-84FA-D048348D7E03}"/>
                </a:ext>
              </a:extLst>
            </p:cNvPr>
            <p:cNvSpPr/>
            <p:nvPr/>
          </p:nvSpPr>
          <p:spPr bwMode="auto">
            <a:xfrm>
              <a:off x="5610225" y="3681413"/>
              <a:ext cx="269875" cy="168275"/>
            </a:xfrm>
            <a:custGeom>
              <a:avLst/>
              <a:gdLst>
                <a:gd name="T0" fmla="*/ 170 w 170"/>
                <a:gd name="T1" fmla="*/ 106 h 106"/>
                <a:gd name="T2" fmla="*/ 0 w 170"/>
                <a:gd name="T3" fmla="*/ 106 h 106"/>
                <a:gd name="T4" fmla="*/ 0 w 170"/>
                <a:gd name="T5" fmla="*/ 104 h 106"/>
                <a:gd name="T6" fmla="*/ 5 w 170"/>
                <a:gd name="T7" fmla="*/ 83 h 106"/>
                <a:gd name="T8" fmla="*/ 15 w 170"/>
                <a:gd name="T9" fmla="*/ 46 h 106"/>
                <a:gd name="T10" fmla="*/ 24 w 170"/>
                <a:gd name="T11" fmla="*/ 0 h 106"/>
                <a:gd name="T12" fmla="*/ 146 w 170"/>
                <a:gd name="T13" fmla="*/ 0 h 106"/>
                <a:gd name="T14" fmla="*/ 155 w 170"/>
                <a:gd name="T15" fmla="*/ 46 h 106"/>
                <a:gd name="T16" fmla="*/ 165 w 170"/>
                <a:gd name="T17" fmla="*/ 83 h 106"/>
                <a:gd name="T18" fmla="*/ 170 w 170"/>
                <a:gd name="T19" fmla="*/ 104 h 106"/>
                <a:gd name="T20" fmla="*/ 170 w 170"/>
                <a:gd name="T2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0" h="106">
                  <a:moveTo>
                    <a:pt x="170" y="106"/>
                  </a:moveTo>
                  <a:lnTo>
                    <a:pt x="0" y="106"/>
                  </a:lnTo>
                  <a:lnTo>
                    <a:pt x="0" y="104"/>
                  </a:lnTo>
                  <a:lnTo>
                    <a:pt x="5" y="83"/>
                  </a:lnTo>
                  <a:lnTo>
                    <a:pt x="15" y="46"/>
                  </a:lnTo>
                  <a:lnTo>
                    <a:pt x="24" y="0"/>
                  </a:lnTo>
                  <a:lnTo>
                    <a:pt x="146" y="0"/>
                  </a:lnTo>
                  <a:lnTo>
                    <a:pt x="155" y="46"/>
                  </a:lnTo>
                  <a:lnTo>
                    <a:pt x="165" y="83"/>
                  </a:lnTo>
                  <a:lnTo>
                    <a:pt x="170" y="104"/>
                  </a:lnTo>
                  <a:lnTo>
                    <a:pt x="170" y="10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íṩliḍê">
              <a:extLst>
                <a:ext uri="{FF2B5EF4-FFF2-40B4-BE49-F238E27FC236}">
                  <a16:creationId xmlns:a16="http://schemas.microsoft.com/office/drawing/2014/main" id="{71B90411-4C32-4246-8505-7F42E83590E5}"/>
                </a:ext>
              </a:extLst>
            </p:cNvPr>
            <p:cNvSpPr/>
            <p:nvPr/>
          </p:nvSpPr>
          <p:spPr bwMode="auto">
            <a:xfrm>
              <a:off x="5610225" y="3681413"/>
              <a:ext cx="269875" cy="168275"/>
            </a:xfrm>
            <a:custGeom>
              <a:avLst/>
              <a:gdLst>
                <a:gd name="T0" fmla="*/ 146 w 170"/>
                <a:gd name="T1" fmla="*/ 0 h 106"/>
                <a:gd name="T2" fmla="*/ 123 w 170"/>
                <a:gd name="T3" fmla="*/ 0 h 106"/>
                <a:gd name="T4" fmla="*/ 123 w 170"/>
                <a:gd name="T5" fmla="*/ 0 h 106"/>
                <a:gd name="T6" fmla="*/ 123 w 170"/>
                <a:gd name="T7" fmla="*/ 0 h 106"/>
                <a:gd name="T8" fmla="*/ 131 w 170"/>
                <a:gd name="T9" fmla="*/ 46 h 106"/>
                <a:gd name="T10" fmla="*/ 131 w 170"/>
                <a:gd name="T11" fmla="*/ 46 h 106"/>
                <a:gd name="T12" fmla="*/ 141 w 170"/>
                <a:gd name="T13" fmla="*/ 83 h 106"/>
                <a:gd name="T14" fmla="*/ 146 w 170"/>
                <a:gd name="T15" fmla="*/ 104 h 106"/>
                <a:gd name="T16" fmla="*/ 146 w 170"/>
                <a:gd name="T17" fmla="*/ 106 h 106"/>
                <a:gd name="T18" fmla="*/ 0 w 170"/>
                <a:gd name="T19" fmla="*/ 106 h 106"/>
                <a:gd name="T20" fmla="*/ 170 w 170"/>
                <a:gd name="T21" fmla="*/ 106 h 106"/>
                <a:gd name="T22" fmla="*/ 170 w 170"/>
                <a:gd name="T23" fmla="*/ 104 h 106"/>
                <a:gd name="T24" fmla="*/ 165 w 170"/>
                <a:gd name="T25" fmla="*/ 83 h 106"/>
                <a:gd name="T26" fmla="*/ 155 w 170"/>
                <a:gd name="T27" fmla="*/ 46 h 106"/>
                <a:gd name="T28" fmla="*/ 146 w 170"/>
                <a:gd name="T29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0" h="106">
                  <a:moveTo>
                    <a:pt x="146" y="0"/>
                  </a:moveTo>
                  <a:lnTo>
                    <a:pt x="123" y="0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131" y="46"/>
                  </a:lnTo>
                  <a:lnTo>
                    <a:pt x="131" y="46"/>
                  </a:lnTo>
                  <a:lnTo>
                    <a:pt x="141" y="83"/>
                  </a:lnTo>
                  <a:lnTo>
                    <a:pt x="146" y="104"/>
                  </a:lnTo>
                  <a:lnTo>
                    <a:pt x="146" y="106"/>
                  </a:lnTo>
                  <a:lnTo>
                    <a:pt x="0" y="106"/>
                  </a:lnTo>
                  <a:lnTo>
                    <a:pt x="170" y="106"/>
                  </a:lnTo>
                  <a:lnTo>
                    <a:pt x="170" y="104"/>
                  </a:lnTo>
                  <a:lnTo>
                    <a:pt x="165" y="83"/>
                  </a:lnTo>
                  <a:lnTo>
                    <a:pt x="155" y="46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rgbClr val="8077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ï$ḻiḓè">
              <a:extLst>
                <a:ext uri="{FF2B5EF4-FFF2-40B4-BE49-F238E27FC236}">
                  <a16:creationId xmlns:a16="http://schemas.microsoft.com/office/drawing/2014/main" id="{F1036576-A2BD-482C-B46D-D74B51620DFA}"/>
                </a:ext>
              </a:extLst>
            </p:cNvPr>
            <p:cNvSpPr/>
            <p:nvPr/>
          </p:nvSpPr>
          <p:spPr bwMode="auto">
            <a:xfrm>
              <a:off x="5610225" y="3681413"/>
              <a:ext cx="269875" cy="168275"/>
            </a:xfrm>
            <a:custGeom>
              <a:avLst/>
              <a:gdLst>
                <a:gd name="T0" fmla="*/ 146 w 170"/>
                <a:gd name="T1" fmla="*/ 0 h 106"/>
                <a:gd name="T2" fmla="*/ 123 w 170"/>
                <a:gd name="T3" fmla="*/ 0 h 106"/>
                <a:gd name="T4" fmla="*/ 123 w 170"/>
                <a:gd name="T5" fmla="*/ 0 h 106"/>
                <a:gd name="T6" fmla="*/ 123 w 170"/>
                <a:gd name="T7" fmla="*/ 0 h 106"/>
                <a:gd name="T8" fmla="*/ 131 w 170"/>
                <a:gd name="T9" fmla="*/ 46 h 106"/>
                <a:gd name="T10" fmla="*/ 131 w 170"/>
                <a:gd name="T11" fmla="*/ 46 h 106"/>
                <a:gd name="T12" fmla="*/ 141 w 170"/>
                <a:gd name="T13" fmla="*/ 83 h 106"/>
                <a:gd name="T14" fmla="*/ 146 w 170"/>
                <a:gd name="T15" fmla="*/ 104 h 106"/>
                <a:gd name="T16" fmla="*/ 146 w 170"/>
                <a:gd name="T17" fmla="*/ 106 h 106"/>
                <a:gd name="T18" fmla="*/ 0 w 170"/>
                <a:gd name="T19" fmla="*/ 106 h 106"/>
                <a:gd name="T20" fmla="*/ 170 w 170"/>
                <a:gd name="T21" fmla="*/ 106 h 106"/>
                <a:gd name="T22" fmla="*/ 170 w 170"/>
                <a:gd name="T23" fmla="*/ 104 h 106"/>
                <a:gd name="T24" fmla="*/ 165 w 170"/>
                <a:gd name="T25" fmla="*/ 83 h 106"/>
                <a:gd name="T26" fmla="*/ 155 w 170"/>
                <a:gd name="T27" fmla="*/ 46 h 106"/>
                <a:gd name="T28" fmla="*/ 146 w 170"/>
                <a:gd name="T29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0" h="106">
                  <a:moveTo>
                    <a:pt x="146" y="0"/>
                  </a:moveTo>
                  <a:lnTo>
                    <a:pt x="123" y="0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131" y="46"/>
                  </a:lnTo>
                  <a:lnTo>
                    <a:pt x="131" y="46"/>
                  </a:lnTo>
                  <a:lnTo>
                    <a:pt x="141" y="83"/>
                  </a:lnTo>
                  <a:lnTo>
                    <a:pt x="146" y="104"/>
                  </a:lnTo>
                  <a:lnTo>
                    <a:pt x="146" y="106"/>
                  </a:lnTo>
                  <a:lnTo>
                    <a:pt x="0" y="106"/>
                  </a:lnTo>
                  <a:lnTo>
                    <a:pt x="170" y="106"/>
                  </a:lnTo>
                  <a:lnTo>
                    <a:pt x="170" y="104"/>
                  </a:lnTo>
                  <a:lnTo>
                    <a:pt x="165" y="83"/>
                  </a:lnTo>
                  <a:lnTo>
                    <a:pt x="155" y="46"/>
                  </a:lnTo>
                  <a:lnTo>
                    <a:pt x="14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i$lïḑê">
              <a:extLst>
                <a:ext uri="{FF2B5EF4-FFF2-40B4-BE49-F238E27FC236}">
                  <a16:creationId xmlns:a16="http://schemas.microsoft.com/office/drawing/2014/main" id="{9CB48C21-1B34-4EA1-9EE7-4C2C20B8B6D1}"/>
                </a:ext>
              </a:extLst>
            </p:cNvPr>
            <p:cNvSpPr/>
            <p:nvPr/>
          </p:nvSpPr>
          <p:spPr bwMode="auto">
            <a:xfrm>
              <a:off x="5594350" y="3813175"/>
              <a:ext cx="400050" cy="52388"/>
            </a:xfrm>
            <a:custGeom>
              <a:avLst/>
              <a:gdLst>
                <a:gd name="T0" fmla="*/ 252 w 252"/>
                <a:gd name="T1" fmla="*/ 33 h 33"/>
                <a:gd name="T2" fmla="*/ 0 w 252"/>
                <a:gd name="T3" fmla="*/ 33 h 33"/>
                <a:gd name="T4" fmla="*/ 3 w 252"/>
                <a:gd name="T5" fmla="*/ 0 h 33"/>
                <a:gd name="T6" fmla="*/ 249 w 252"/>
                <a:gd name="T7" fmla="*/ 0 h 33"/>
                <a:gd name="T8" fmla="*/ 252 w 252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2" h="33">
                  <a:moveTo>
                    <a:pt x="252" y="33"/>
                  </a:moveTo>
                  <a:lnTo>
                    <a:pt x="0" y="33"/>
                  </a:lnTo>
                  <a:lnTo>
                    <a:pt x="3" y="0"/>
                  </a:lnTo>
                  <a:lnTo>
                    <a:pt x="249" y="0"/>
                  </a:lnTo>
                  <a:lnTo>
                    <a:pt x="252" y="33"/>
                  </a:lnTo>
                  <a:close/>
                </a:path>
              </a:pathLst>
            </a:custGeom>
            <a:solidFill>
              <a:srgbClr val="6051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iṧḻiḍé">
              <a:extLst>
                <a:ext uri="{FF2B5EF4-FFF2-40B4-BE49-F238E27FC236}">
                  <a16:creationId xmlns:a16="http://schemas.microsoft.com/office/drawing/2014/main" id="{EB3F40A0-FBA1-4BC0-8F24-BEBD135E8107}"/>
                </a:ext>
              </a:extLst>
            </p:cNvPr>
            <p:cNvSpPr/>
            <p:nvPr/>
          </p:nvSpPr>
          <p:spPr bwMode="auto">
            <a:xfrm>
              <a:off x="5573713" y="3681413"/>
              <a:ext cx="268287" cy="168275"/>
            </a:xfrm>
            <a:custGeom>
              <a:avLst/>
              <a:gdLst>
                <a:gd name="T0" fmla="*/ 169 w 169"/>
                <a:gd name="T1" fmla="*/ 106 h 106"/>
                <a:gd name="T2" fmla="*/ 0 w 169"/>
                <a:gd name="T3" fmla="*/ 106 h 106"/>
                <a:gd name="T4" fmla="*/ 0 w 169"/>
                <a:gd name="T5" fmla="*/ 104 h 106"/>
                <a:gd name="T6" fmla="*/ 5 w 169"/>
                <a:gd name="T7" fmla="*/ 83 h 106"/>
                <a:gd name="T8" fmla="*/ 15 w 169"/>
                <a:gd name="T9" fmla="*/ 46 h 106"/>
                <a:gd name="T10" fmla="*/ 23 w 169"/>
                <a:gd name="T11" fmla="*/ 0 h 106"/>
                <a:gd name="T12" fmla="*/ 146 w 169"/>
                <a:gd name="T13" fmla="*/ 0 h 106"/>
                <a:gd name="T14" fmla="*/ 154 w 169"/>
                <a:gd name="T15" fmla="*/ 46 h 106"/>
                <a:gd name="T16" fmla="*/ 164 w 169"/>
                <a:gd name="T17" fmla="*/ 83 h 106"/>
                <a:gd name="T18" fmla="*/ 169 w 169"/>
                <a:gd name="T19" fmla="*/ 104 h 106"/>
                <a:gd name="T20" fmla="*/ 169 w 169"/>
                <a:gd name="T2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" h="106">
                  <a:moveTo>
                    <a:pt x="169" y="106"/>
                  </a:moveTo>
                  <a:lnTo>
                    <a:pt x="0" y="106"/>
                  </a:lnTo>
                  <a:lnTo>
                    <a:pt x="0" y="104"/>
                  </a:lnTo>
                  <a:lnTo>
                    <a:pt x="5" y="83"/>
                  </a:lnTo>
                  <a:lnTo>
                    <a:pt x="15" y="46"/>
                  </a:lnTo>
                  <a:lnTo>
                    <a:pt x="23" y="0"/>
                  </a:lnTo>
                  <a:lnTo>
                    <a:pt x="146" y="0"/>
                  </a:lnTo>
                  <a:lnTo>
                    <a:pt x="154" y="46"/>
                  </a:lnTo>
                  <a:lnTo>
                    <a:pt x="164" y="83"/>
                  </a:lnTo>
                  <a:lnTo>
                    <a:pt x="169" y="104"/>
                  </a:lnTo>
                  <a:lnTo>
                    <a:pt x="169" y="106"/>
                  </a:lnTo>
                  <a:close/>
                </a:path>
              </a:pathLst>
            </a:cu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iṣļíḍê">
              <a:extLst>
                <a:ext uri="{FF2B5EF4-FFF2-40B4-BE49-F238E27FC236}">
                  <a16:creationId xmlns:a16="http://schemas.microsoft.com/office/drawing/2014/main" id="{E4015517-B57C-4A61-B24C-88149241EEA7}"/>
                </a:ext>
              </a:extLst>
            </p:cNvPr>
            <p:cNvSpPr/>
            <p:nvPr/>
          </p:nvSpPr>
          <p:spPr bwMode="auto">
            <a:xfrm>
              <a:off x="5573713" y="3681413"/>
              <a:ext cx="268287" cy="168275"/>
            </a:xfrm>
            <a:custGeom>
              <a:avLst/>
              <a:gdLst>
                <a:gd name="T0" fmla="*/ 169 w 169"/>
                <a:gd name="T1" fmla="*/ 106 h 106"/>
                <a:gd name="T2" fmla="*/ 0 w 169"/>
                <a:gd name="T3" fmla="*/ 106 h 106"/>
                <a:gd name="T4" fmla="*/ 0 w 169"/>
                <a:gd name="T5" fmla="*/ 104 h 106"/>
                <a:gd name="T6" fmla="*/ 5 w 169"/>
                <a:gd name="T7" fmla="*/ 83 h 106"/>
                <a:gd name="T8" fmla="*/ 15 w 169"/>
                <a:gd name="T9" fmla="*/ 46 h 106"/>
                <a:gd name="T10" fmla="*/ 23 w 169"/>
                <a:gd name="T11" fmla="*/ 0 h 106"/>
                <a:gd name="T12" fmla="*/ 146 w 169"/>
                <a:gd name="T13" fmla="*/ 0 h 106"/>
                <a:gd name="T14" fmla="*/ 154 w 169"/>
                <a:gd name="T15" fmla="*/ 46 h 106"/>
                <a:gd name="T16" fmla="*/ 164 w 169"/>
                <a:gd name="T17" fmla="*/ 83 h 106"/>
                <a:gd name="T18" fmla="*/ 169 w 169"/>
                <a:gd name="T19" fmla="*/ 104 h 106"/>
                <a:gd name="T20" fmla="*/ 169 w 169"/>
                <a:gd name="T2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" h="106">
                  <a:moveTo>
                    <a:pt x="169" y="106"/>
                  </a:moveTo>
                  <a:lnTo>
                    <a:pt x="0" y="106"/>
                  </a:lnTo>
                  <a:lnTo>
                    <a:pt x="0" y="104"/>
                  </a:lnTo>
                  <a:lnTo>
                    <a:pt x="5" y="83"/>
                  </a:lnTo>
                  <a:lnTo>
                    <a:pt x="15" y="46"/>
                  </a:lnTo>
                  <a:lnTo>
                    <a:pt x="23" y="0"/>
                  </a:lnTo>
                  <a:lnTo>
                    <a:pt x="146" y="0"/>
                  </a:lnTo>
                  <a:lnTo>
                    <a:pt x="154" y="46"/>
                  </a:lnTo>
                  <a:lnTo>
                    <a:pt x="164" y="83"/>
                  </a:lnTo>
                  <a:lnTo>
                    <a:pt x="169" y="104"/>
                  </a:lnTo>
                  <a:lnTo>
                    <a:pt x="169" y="10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ïšļïďe">
              <a:extLst>
                <a:ext uri="{FF2B5EF4-FFF2-40B4-BE49-F238E27FC236}">
                  <a16:creationId xmlns:a16="http://schemas.microsoft.com/office/drawing/2014/main" id="{EE429CA7-94B8-4E45-9C1E-9183396EB825}"/>
                </a:ext>
              </a:extLst>
            </p:cNvPr>
            <p:cNvSpPr/>
            <p:nvPr/>
          </p:nvSpPr>
          <p:spPr bwMode="auto">
            <a:xfrm>
              <a:off x="5805488" y="3681413"/>
              <a:ext cx="12700" cy="73025"/>
            </a:xfrm>
            <a:custGeom>
              <a:avLst/>
              <a:gdLst>
                <a:gd name="T0" fmla="*/ 0 w 8"/>
                <a:gd name="T1" fmla="*/ 0 h 46"/>
                <a:gd name="T2" fmla="*/ 0 w 8"/>
                <a:gd name="T3" fmla="*/ 0 h 46"/>
                <a:gd name="T4" fmla="*/ 8 w 8"/>
                <a:gd name="T5" fmla="*/ 46 h 46"/>
                <a:gd name="T6" fmla="*/ 8 w 8"/>
                <a:gd name="T7" fmla="*/ 46 h 46"/>
                <a:gd name="T8" fmla="*/ 8 w 8"/>
                <a:gd name="T9" fmla="*/ 46 h 46"/>
                <a:gd name="T10" fmla="*/ 0 w 8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6">
                  <a:moveTo>
                    <a:pt x="0" y="0"/>
                  </a:moveTo>
                  <a:lnTo>
                    <a:pt x="0" y="0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54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îṣ1ïḓé">
              <a:extLst>
                <a:ext uri="{FF2B5EF4-FFF2-40B4-BE49-F238E27FC236}">
                  <a16:creationId xmlns:a16="http://schemas.microsoft.com/office/drawing/2014/main" id="{0A67A3D4-ADFC-4EA8-8F79-91B703EEC5BE}"/>
                </a:ext>
              </a:extLst>
            </p:cNvPr>
            <p:cNvSpPr/>
            <p:nvPr/>
          </p:nvSpPr>
          <p:spPr bwMode="auto">
            <a:xfrm>
              <a:off x="5805488" y="3681413"/>
              <a:ext cx="12700" cy="73025"/>
            </a:xfrm>
            <a:custGeom>
              <a:avLst/>
              <a:gdLst>
                <a:gd name="T0" fmla="*/ 0 w 8"/>
                <a:gd name="T1" fmla="*/ 0 h 46"/>
                <a:gd name="T2" fmla="*/ 0 w 8"/>
                <a:gd name="T3" fmla="*/ 0 h 46"/>
                <a:gd name="T4" fmla="*/ 8 w 8"/>
                <a:gd name="T5" fmla="*/ 46 h 46"/>
                <a:gd name="T6" fmla="*/ 8 w 8"/>
                <a:gd name="T7" fmla="*/ 46 h 46"/>
                <a:gd name="T8" fmla="*/ 8 w 8"/>
                <a:gd name="T9" fmla="*/ 46 h 46"/>
                <a:gd name="T10" fmla="*/ 0 w 8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6">
                  <a:moveTo>
                    <a:pt x="0" y="0"/>
                  </a:moveTo>
                  <a:lnTo>
                    <a:pt x="0" y="0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íṣľíḍé">
              <a:extLst>
                <a:ext uri="{FF2B5EF4-FFF2-40B4-BE49-F238E27FC236}">
                  <a16:creationId xmlns:a16="http://schemas.microsoft.com/office/drawing/2014/main" id="{C604057A-4FD5-480A-8D82-55709A6C800A}"/>
                </a:ext>
              </a:extLst>
            </p:cNvPr>
            <p:cNvSpPr/>
            <p:nvPr/>
          </p:nvSpPr>
          <p:spPr bwMode="auto">
            <a:xfrm>
              <a:off x="5597525" y="3681413"/>
              <a:ext cx="220662" cy="73025"/>
            </a:xfrm>
            <a:custGeom>
              <a:avLst/>
              <a:gdLst>
                <a:gd name="T0" fmla="*/ 131 w 139"/>
                <a:gd name="T1" fmla="*/ 0 h 46"/>
                <a:gd name="T2" fmla="*/ 8 w 139"/>
                <a:gd name="T3" fmla="*/ 0 h 46"/>
                <a:gd name="T4" fmla="*/ 0 w 139"/>
                <a:gd name="T5" fmla="*/ 46 h 46"/>
                <a:gd name="T6" fmla="*/ 139 w 139"/>
                <a:gd name="T7" fmla="*/ 46 h 46"/>
                <a:gd name="T8" fmla="*/ 139 w 139"/>
                <a:gd name="T9" fmla="*/ 46 h 46"/>
                <a:gd name="T10" fmla="*/ 131 w 139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46">
                  <a:moveTo>
                    <a:pt x="131" y="0"/>
                  </a:moveTo>
                  <a:lnTo>
                    <a:pt x="8" y="0"/>
                  </a:lnTo>
                  <a:lnTo>
                    <a:pt x="0" y="46"/>
                  </a:lnTo>
                  <a:lnTo>
                    <a:pt x="139" y="46"/>
                  </a:lnTo>
                  <a:lnTo>
                    <a:pt x="139" y="46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rgbClr val="AEA3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îṣḻiḓe">
              <a:extLst>
                <a:ext uri="{FF2B5EF4-FFF2-40B4-BE49-F238E27FC236}">
                  <a16:creationId xmlns:a16="http://schemas.microsoft.com/office/drawing/2014/main" id="{D1B64B25-4912-464A-B270-0E056AC0AA79}"/>
                </a:ext>
              </a:extLst>
            </p:cNvPr>
            <p:cNvSpPr/>
            <p:nvPr/>
          </p:nvSpPr>
          <p:spPr bwMode="auto">
            <a:xfrm>
              <a:off x="5597525" y="3681413"/>
              <a:ext cx="220662" cy="73025"/>
            </a:xfrm>
            <a:custGeom>
              <a:avLst/>
              <a:gdLst>
                <a:gd name="T0" fmla="*/ 131 w 139"/>
                <a:gd name="T1" fmla="*/ 0 h 46"/>
                <a:gd name="T2" fmla="*/ 8 w 139"/>
                <a:gd name="T3" fmla="*/ 0 h 46"/>
                <a:gd name="T4" fmla="*/ 0 w 139"/>
                <a:gd name="T5" fmla="*/ 46 h 46"/>
                <a:gd name="T6" fmla="*/ 139 w 139"/>
                <a:gd name="T7" fmla="*/ 46 h 46"/>
                <a:gd name="T8" fmla="*/ 139 w 139"/>
                <a:gd name="T9" fmla="*/ 46 h 46"/>
                <a:gd name="T10" fmla="*/ 131 w 139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46">
                  <a:moveTo>
                    <a:pt x="131" y="0"/>
                  </a:moveTo>
                  <a:lnTo>
                    <a:pt x="8" y="0"/>
                  </a:lnTo>
                  <a:lnTo>
                    <a:pt x="0" y="46"/>
                  </a:lnTo>
                  <a:lnTo>
                    <a:pt x="139" y="46"/>
                  </a:lnTo>
                  <a:lnTo>
                    <a:pt x="139" y="46"/>
                  </a:lnTo>
                  <a:lnTo>
                    <a:pt x="1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íṡ1îďê">
              <a:extLst>
                <a:ext uri="{FF2B5EF4-FFF2-40B4-BE49-F238E27FC236}">
                  <a16:creationId xmlns:a16="http://schemas.microsoft.com/office/drawing/2014/main" id="{B16702FB-76B6-464A-B7A0-B56AD195EA77}"/>
                </a:ext>
              </a:extLst>
            </p:cNvPr>
            <p:cNvSpPr/>
            <p:nvPr/>
          </p:nvSpPr>
          <p:spPr bwMode="auto">
            <a:xfrm>
              <a:off x="5402263" y="3063875"/>
              <a:ext cx="666750" cy="538163"/>
            </a:xfrm>
            <a:custGeom>
              <a:avLst/>
              <a:gdLst>
                <a:gd name="T0" fmla="*/ 250 w 250"/>
                <a:gd name="T1" fmla="*/ 202 h 202"/>
                <a:gd name="T2" fmla="*/ 0 w 250"/>
                <a:gd name="T3" fmla="*/ 202 h 202"/>
                <a:gd name="T4" fmla="*/ 0 w 250"/>
                <a:gd name="T5" fmla="*/ 9 h 202"/>
                <a:gd name="T6" fmla="*/ 9 w 250"/>
                <a:gd name="T7" fmla="*/ 0 h 202"/>
                <a:gd name="T8" fmla="*/ 240 w 250"/>
                <a:gd name="T9" fmla="*/ 0 h 202"/>
                <a:gd name="T10" fmla="*/ 250 w 250"/>
                <a:gd name="T11" fmla="*/ 9 h 202"/>
                <a:gd name="T12" fmla="*/ 250 w 250"/>
                <a:gd name="T13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202">
                  <a:moveTo>
                    <a:pt x="250" y="202"/>
                  </a:moveTo>
                  <a:cubicBezTo>
                    <a:pt x="0" y="202"/>
                    <a:pt x="0" y="202"/>
                    <a:pt x="0" y="20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202"/>
                  </a:lnTo>
                  <a:close/>
                </a:path>
              </a:pathLst>
            </a:custGeom>
            <a:solidFill>
              <a:srgbClr val="6051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íṡḷiḋê">
              <a:extLst>
                <a:ext uri="{FF2B5EF4-FFF2-40B4-BE49-F238E27FC236}">
                  <a16:creationId xmlns:a16="http://schemas.microsoft.com/office/drawing/2014/main" id="{B46A0EE6-9228-4BDD-8FEB-CAF070EE67F8}"/>
                </a:ext>
              </a:extLst>
            </p:cNvPr>
            <p:cNvSpPr/>
            <p:nvPr/>
          </p:nvSpPr>
          <p:spPr bwMode="auto">
            <a:xfrm>
              <a:off x="5402263" y="3602038"/>
              <a:ext cx="666750" cy="109538"/>
            </a:xfrm>
            <a:custGeom>
              <a:avLst/>
              <a:gdLst>
                <a:gd name="T0" fmla="*/ 250 w 250"/>
                <a:gd name="T1" fmla="*/ 0 h 41"/>
                <a:gd name="T2" fmla="*/ 0 w 250"/>
                <a:gd name="T3" fmla="*/ 0 h 41"/>
                <a:gd name="T4" fmla="*/ 0 w 250"/>
                <a:gd name="T5" fmla="*/ 24 h 41"/>
                <a:gd name="T6" fmla="*/ 49 w 250"/>
                <a:gd name="T7" fmla="*/ 41 h 41"/>
                <a:gd name="T8" fmla="*/ 240 w 250"/>
                <a:gd name="T9" fmla="*/ 41 h 41"/>
                <a:gd name="T10" fmla="*/ 250 w 250"/>
                <a:gd name="T11" fmla="*/ 32 h 41"/>
                <a:gd name="T12" fmla="*/ 250 w 250"/>
                <a:gd name="T1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1">
                  <a:moveTo>
                    <a:pt x="25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4"/>
                    <a:pt x="40" y="41"/>
                    <a:pt x="49" y="41"/>
                  </a:cubicBezTo>
                  <a:cubicBezTo>
                    <a:pt x="240" y="41"/>
                    <a:pt x="240" y="41"/>
                    <a:pt x="240" y="41"/>
                  </a:cubicBezTo>
                  <a:cubicBezTo>
                    <a:pt x="246" y="41"/>
                    <a:pt x="250" y="37"/>
                    <a:pt x="250" y="32"/>
                  </a:cubicBezTo>
                  <a:lnTo>
                    <a:pt x="250" y="0"/>
                  </a:lnTo>
                  <a:close/>
                </a:path>
              </a:pathLst>
            </a:custGeom>
            <a:solidFill>
              <a:srgbClr val="A9A8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ï$liḍê">
              <a:extLst>
                <a:ext uri="{FF2B5EF4-FFF2-40B4-BE49-F238E27FC236}">
                  <a16:creationId xmlns:a16="http://schemas.microsoft.com/office/drawing/2014/main" id="{D7FBE523-3BE6-4150-81EE-CD32765D9482}"/>
                </a:ext>
              </a:extLst>
            </p:cNvPr>
            <p:cNvSpPr/>
            <p:nvPr/>
          </p:nvSpPr>
          <p:spPr bwMode="auto">
            <a:xfrm>
              <a:off x="5367338" y="3063875"/>
              <a:ext cx="668337" cy="538163"/>
            </a:xfrm>
            <a:custGeom>
              <a:avLst/>
              <a:gdLst>
                <a:gd name="T0" fmla="*/ 250 w 250"/>
                <a:gd name="T1" fmla="*/ 202 h 202"/>
                <a:gd name="T2" fmla="*/ 0 w 250"/>
                <a:gd name="T3" fmla="*/ 202 h 202"/>
                <a:gd name="T4" fmla="*/ 0 w 250"/>
                <a:gd name="T5" fmla="*/ 9 h 202"/>
                <a:gd name="T6" fmla="*/ 9 w 250"/>
                <a:gd name="T7" fmla="*/ 0 h 202"/>
                <a:gd name="T8" fmla="*/ 240 w 250"/>
                <a:gd name="T9" fmla="*/ 0 h 202"/>
                <a:gd name="T10" fmla="*/ 250 w 250"/>
                <a:gd name="T11" fmla="*/ 9 h 202"/>
                <a:gd name="T12" fmla="*/ 250 w 250"/>
                <a:gd name="T13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202">
                  <a:moveTo>
                    <a:pt x="250" y="202"/>
                  </a:moveTo>
                  <a:cubicBezTo>
                    <a:pt x="0" y="202"/>
                    <a:pt x="0" y="202"/>
                    <a:pt x="0" y="20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202"/>
                  </a:ln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ïS1iḓê">
              <a:extLst>
                <a:ext uri="{FF2B5EF4-FFF2-40B4-BE49-F238E27FC236}">
                  <a16:creationId xmlns:a16="http://schemas.microsoft.com/office/drawing/2014/main" id="{52218EA3-E683-441A-AAAE-3EE1631C8255}"/>
                </a:ext>
              </a:extLst>
            </p:cNvPr>
            <p:cNvSpPr/>
            <p:nvPr/>
          </p:nvSpPr>
          <p:spPr bwMode="auto">
            <a:xfrm>
              <a:off x="5397500" y="3089275"/>
              <a:ext cx="608012" cy="482600"/>
            </a:xfrm>
            <a:custGeom>
              <a:avLst/>
              <a:gdLst>
                <a:gd name="T0" fmla="*/ 227 w 228"/>
                <a:gd name="T1" fmla="*/ 181 h 181"/>
                <a:gd name="T2" fmla="*/ 1 w 228"/>
                <a:gd name="T3" fmla="*/ 181 h 181"/>
                <a:gd name="T4" fmla="*/ 0 w 228"/>
                <a:gd name="T5" fmla="*/ 180 h 181"/>
                <a:gd name="T6" fmla="*/ 0 w 228"/>
                <a:gd name="T7" fmla="*/ 1 h 181"/>
                <a:gd name="T8" fmla="*/ 1 w 228"/>
                <a:gd name="T9" fmla="*/ 0 h 181"/>
                <a:gd name="T10" fmla="*/ 227 w 228"/>
                <a:gd name="T11" fmla="*/ 0 h 181"/>
                <a:gd name="T12" fmla="*/ 228 w 228"/>
                <a:gd name="T13" fmla="*/ 1 h 181"/>
                <a:gd name="T14" fmla="*/ 228 w 228"/>
                <a:gd name="T15" fmla="*/ 180 h 181"/>
                <a:gd name="T16" fmla="*/ 227 w 228"/>
                <a:gd name="T17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181">
                  <a:moveTo>
                    <a:pt x="227" y="181"/>
                  </a:moveTo>
                  <a:cubicBezTo>
                    <a:pt x="1" y="181"/>
                    <a:pt x="1" y="181"/>
                    <a:pt x="1" y="181"/>
                  </a:cubicBezTo>
                  <a:cubicBezTo>
                    <a:pt x="0" y="181"/>
                    <a:pt x="0" y="181"/>
                    <a:pt x="0" y="18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28" y="0"/>
                    <a:pt x="228" y="1"/>
                    <a:pt x="228" y="1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8" y="181"/>
                    <a:pt x="228" y="181"/>
                    <a:pt x="227" y="181"/>
                  </a:cubicBezTo>
                  <a:close/>
                </a:path>
              </a:pathLst>
            </a:custGeom>
            <a:solidFill>
              <a:srgbClr val="C6EA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iŝlïḓê">
              <a:extLst>
                <a:ext uri="{FF2B5EF4-FFF2-40B4-BE49-F238E27FC236}">
                  <a16:creationId xmlns:a16="http://schemas.microsoft.com/office/drawing/2014/main" id="{FD32B17B-C85E-4B49-8DC5-E0EA1831F4F7}"/>
                </a:ext>
              </a:extLst>
            </p:cNvPr>
            <p:cNvSpPr/>
            <p:nvPr/>
          </p:nvSpPr>
          <p:spPr bwMode="auto">
            <a:xfrm>
              <a:off x="5476875" y="3481389"/>
              <a:ext cx="194251" cy="231775"/>
            </a:xfrm>
            <a:custGeom>
              <a:avLst/>
              <a:gdLst>
                <a:gd name="connsiteX0" fmla="*/ 109888 w 194251"/>
                <a:gd name="connsiteY0" fmla="*/ 0 h 231775"/>
                <a:gd name="connsiteX1" fmla="*/ 192974 w 194251"/>
                <a:gd name="connsiteY1" fmla="*/ 122654 h 231775"/>
                <a:gd name="connsiteX2" fmla="*/ 135350 w 194251"/>
                <a:gd name="connsiteY2" fmla="*/ 219644 h 231775"/>
                <a:gd name="connsiteX3" fmla="*/ 124701 w 194251"/>
                <a:gd name="connsiteY3" fmla="*/ 231775 h 231775"/>
                <a:gd name="connsiteX4" fmla="*/ 56086 w 194251"/>
                <a:gd name="connsiteY4" fmla="*/ 231775 h 231775"/>
                <a:gd name="connsiteX5" fmla="*/ 34885 w 194251"/>
                <a:gd name="connsiteY5" fmla="*/ 208270 h 231775"/>
                <a:gd name="connsiteX6" fmla="*/ 0 w 194251"/>
                <a:gd name="connsiteY6" fmla="*/ 183981 h 231775"/>
                <a:gd name="connsiteX7" fmla="*/ 64325 w 194251"/>
                <a:gd name="connsiteY7" fmla="*/ 55994 h 231775"/>
                <a:gd name="connsiteX8" fmla="*/ 109888 w 194251"/>
                <a:gd name="connsiteY8" fmla="*/ 0 h 231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251" h="231775">
                  <a:moveTo>
                    <a:pt x="109888" y="0"/>
                  </a:moveTo>
                  <a:cubicBezTo>
                    <a:pt x="109888" y="0"/>
                    <a:pt x="206375" y="31997"/>
                    <a:pt x="192974" y="122654"/>
                  </a:cubicBezTo>
                  <a:cubicBezTo>
                    <a:pt x="187614" y="150651"/>
                    <a:pt x="160812" y="188647"/>
                    <a:pt x="135350" y="219644"/>
                  </a:cubicBezTo>
                  <a:lnTo>
                    <a:pt x="124701" y="231775"/>
                  </a:lnTo>
                  <a:lnTo>
                    <a:pt x="56086" y="231775"/>
                  </a:lnTo>
                  <a:lnTo>
                    <a:pt x="34885" y="208270"/>
                  </a:lnTo>
                  <a:cubicBezTo>
                    <a:pt x="24457" y="198646"/>
                    <a:pt x="12731" y="189980"/>
                    <a:pt x="0" y="183981"/>
                  </a:cubicBezTo>
                  <a:cubicBezTo>
                    <a:pt x="0" y="183981"/>
                    <a:pt x="50924" y="85325"/>
                    <a:pt x="64325" y="55994"/>
                  </a:cubicBezTo>
                  <a:cubicBezTo>
                    <a:pt x="85766" y="18665"/>
                    <a:pt x="109888" y="0"/>
                    <a:pt x="109888" y="0"/>
                  </a:cubicBezTo>
                  <a:close/>
                </a:path>
              </a:pathLst>
            </a:custGeom>
            <a:solidFill>
              <a:srgbClr val="A099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ïṧ1íḑé">
              <a:extLst>
                <a:ext uri="{FF2B5EF4-FFF2-40B4-BE49-F238E27FC236}">
                  <a16:creationId xmlns:a16="http://schemas.microsoft.com/office/drawing/2014/main" id="{263376E6-8068-4551-AFA9-05C3103CBBDB}"/>
                </a:ext>
              </a:extLst>
            </p:cNvPr>
            <p:cNvSpPr/>
            <p:nvPr/>
          </p:nvSpPr>
          <p:spPr bwMode="auto">
            <a:xfrm>
              <a:off x="5675313" y="3343275"/>
              <a:ext cx="117475" cy="130175"/>
            </a:xfrm>
            <a:custGeom>
              <a:avLst/>
              <a:gdLst>
                <a:gd name="T0" fmla="*/ 44 w 44"/>
                <a:gd name="T1" fmla="*/ 43 h 49"/>
                <a:gd name="T2" fmla="*/ 39 w 44"/>
                <a:gd name="T3" fmla="*/ 5 h 49"/>
                <a:gd name="T4" fmla="*/ 40 w 44"/>
                <a:gd name="T5" fmla="*/ 0 h 49"/>
                <a:gd name="T6" fmla="*/ 15 w 44"/>
                <a:gd name="T7" fmla="*/ 9 h 49"/>
                <a:gd name="T8" fmla="*/ 0 w 44"/>
                <a:gd name="T9" fmla="*/ 7 h 49"/>
                <a:gd name="T10" fmla="*/ 1 w 44"/>
                <a:gd name="T11" fmla="*/ 41 h 49"/>
                <a:gd name="T12" fmla="*/ 44 w 44"/>
                <a:gd name="T13" fmla="*/ 4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9">
                  <a:moveTo>
                    <a:pt x="44" y="43"/>
                  </a:moveTo>
                  <a:cubicBezTo>
                    <a:pt x="44" y="32"/>
                    <a:pt x="37" y="16"/>
                    <a:pt x="39" y="5"/>
                  </a:cubicBezTo>
                  <a:cubicBezTo>
                    <a:pt x="39" y="3"/>
                    <a:pt x="39" y="2"/>
                    <a:pt x="40" y="0"/>
                  </a:cubicBezTo>
                  <a:cubicBezTo>
                    <a:pt x="31" y="3"/>
                    <a:pt x="23" y="6"/>
                    <a:pt x="15" y="9"/>
                  </a:cubicBezTo>
                  <a:cubicBezTo>
                    <a:pt x="12" y="10"/>
                    <a:pt x="0" y="4"/>
                    <a:pt x="0" y="7"/>
                  </a:cubicBezTo>
                  <a:cubicBezTo>
                    <a:pt x="0" y="9"/>
                    <a:pt x="1" y="39"/>
                    <a:pt x="1" y="41"/>
                  </a:cubicBezTo>
                  <a:cubicBezTo>
                    <a:pt x="1" y="43"/>
                    <a:pt x="28" y="49"/>
                    <a:pt x="44" y="43"/>
                  </a:cubicBezTo>
                  <a:close/>
                </a:path>
              </a:pathLst>
            </a:custGeom>
            <a:solidFill>
              <a:srgbClr val="FFB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işļíḑè">
              <a:extLst>
                <a:ext uri="{FF2B5EF4-FFF2-40B4-BE49-F238E27FC236}">
                  <a16:creationId xmlns:a16="http://schemas.microsoft.com/office/drawing/2014/main" id="{22AD90D6-2A28-4EB0-9938-E96BED0EE199}"/>
                </a:ext>
              </a:extLst>
            </p:cNvPr>
            <p:cNvSpPr/>
            <p:nvPr/>
          </p:nvSpPr>
          <p:spPr bwMode="auto">
            <a:xfrm>
              <a:off x="5573713" y="3170238"/>
              <a:ext cx="201612" cy="274638"/>
            </a:xfrm>
            <a:custGeom>
              <a:avLst/>
              <a:gdLst>
                <a:gd name="T0" fmla="*/ 5 w 76"/>
                <a:gd name="T1" fmla="*/ 77 h 103"/>
                <a:gd name="T2" fmla="*/ 19 w 76"/>
                <a:gd name="T3" fmla="*/ 100 h 103"/>
                <a:gd name="T4" fmla="*/ 43 w 76"/>
                <a:gd name="T5" fmla="*/ 95 h 103"/>
                <a:gd name="T6" fmla="*/ 66 w 76"/>
                <a:gd name="T7" fmla="*/ 78 h 103"/>
                <a:gd name="T8" fmla="*/ 76 w 76"/>
                <a:gd name="T9" fmla="*/ 35 h 103"/>
                <a:gd name="T10" fmla="*/ 73 w 76"/>
                <a:gd name="T11" fmla="*/ 20 h 103"/>
                <a:gd name="T12" fmla="*/ 64 w 76"/>
                <a:gd name="T13" fmla="*/ 13 h 103"/>
                <a:gd name="T14" fmla="*/ 40 w 76"/>
                <a:gd name="T15" fmla="*/ 4 h 103"/>
                <a:gd name="T16" fmla="*/ 5 w 76"/>
                <a:gd name="T17" fmla="*/ 18 h 103"/>
                <a:gd name="T18" fmla="*/ 5 w 76"/>
                <a:gd name="T19" fmla="*/ 7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103">
                  <a:moveTo>
                    <a:pt x="5" y="77"/>
                  </a:moveTo>
                  <a:cubicBezTo>
                    <a:pt x="7" y="86"/>
                    <a:pt x="10" y="96"/>
                    <a:pt x="19" y="100"/>
                  </a:cubicBezTo>
                  <a:cubicBezTo>
                    <a:pt x="27" y="103"/>
                    <a:pt x="35" y="99"/>
                    <a:pt x="43" y="95"/>
                  </a:cubicBezTo>
                  <a:cubicBezTo>
                    <a:pt x="51" y="91"/>
                    <a:pt x="60" y="86"/>
                    <a:pt x="66" y="78"/>
                  </a:cubicBezTo>
                  <a:cubicBezTo>
                    <a:pt x="75" y="66"/>
                    <a:pt x="75" y="50"/>
                    <a:pt x="76" y="35"/>
                  </a:cubicBezTo>
                  <a:cubicBezTo>
                    <a:pt x="76" y="30"/>
                    <a:pt x="75" y="25"/>
                    <a:pt x="73" y="20"/>
                  </a:cubicBezTo>
                  <a:cubicBezTo>
                    <a:pt x="71" y="17"/>
                    <a:pt x="67" y="15"/>
                    <a:pt x="64" y="13"/>
                  </a:cubicBezTo>
                  <a:cubicBezTo>
                    <a:pt x="56" y="9"/>
                    <a:pt x="48" y="6"/>
                    <a:pt x="40" y="4"/>
                  </a:cubicBezTo>
                  <a:cubicBezTo>
                    <a:pt x="25" y="0"/>
                    <a:pt x="9" y="3"/>
                    <a:pt x="5" y="18"/>
                  </a:cubicBezTo>
                  <a:cubicBezTo>
                    <a:pt x="0" y="37"/>
                    <a:pt x="2" y="59"/>
                    <a:pt x="5" y="77"/>
                  </a:cubicBezTo>
                  <a:close/>
                </a:path>
              </a:pathLst>
            </a:custGeom>
            <a:solidFill>
              <a:srgbClr val="FFB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iSlíḍe">
              <a:extLst>
                <a:ext uri="{FF2B5EF4-FFF2-40B4-BE49-F238E27FC236}">
                  <a16:creationId xmlns:a16="http://schemas.microsoft.com/office/drawing/2014/main" id="{DB98FECD-7344-45C4-84DE-68F59E0972ED}"/>
                </a:ext>
              </a:extLst>
            </p:cNvPr>
            <p:cNvSpPr/>
            <p:nvPr/>
          </p:nvSpPr>
          <p:spPr bwMode="auto">
            <a:xfrm>
              <a:off x="5586413" y="3132138"/>
              <a:ext cx="242887" cy="239713"/>
            </a:xfrm>
            <a:custGeom>
              <a:avLst/>
              <a:gdLst>
                <a:gd name="T0" fmla="*/ 6 w 91"/>
                <a:gd name="T1" fmla="*/ 34 h 90"/>
                <a:gd name="T2" fmla="*/ 33 w 91"/>
                <a:gd name="T3" fmla="*/ 23 h 90"/>
                <a:gd name="T4" fmla="*/ 54 w 91"/>
                <a:gd name="T5" fmla="*/ 29 h 90"/>
                <a:gd name="T6" fmla="*/ 52 w 91"/>
                <a:gd name="T7" fmla="*/ 51 h 90"/>
                <a:gd name="T8" fmla="*/ 49 w 91"/>
                <a:gd name="T9" fmla="*/ 56 h 90"/>
                <a:gd name="T10" fmla="*/ 51 w 91"/>
                <a:gd name="T11" fmla="*/ 60 h 90"/>
                <a:gd name="T12" fmla="*/ 62 w 91"/>
                <a:gd name="T13" fmla="*/ 56 h 90"/>
                <a:gd name="T14" fmla="*/ 66 w 91"/>
                <a:gd name="T15" fmla="*/ 67 h 90"/>
                <a:gd name="T16" fmla="*/ 57 w 91"/>
                <a:gd name="T17" fmla="*/ 76 h 90"/>
                <a:gd name="T18" fmla="*/ 69 w 91"/>
                <a:gd name="T19" fmla="*/ 90 h 90"/>
                <a:gd name="T20" fmla="*/ 76 w 91"/>
                <a:gd name="T21" fmla="*/ 79 h 90"/>
                <a:gd name="T22" fmla="*/ 80 w 91"/>
                <a:gd name="T23" fmla="*/ 20 h 90"/>
                <a:gd name="T24" fmla="*/ 40 w 91"/>
                <a:gd name="T25" fmla="*/ 1 h 90"/>
                <a:gd name="T26" fmla="*/ 10 w 91"/>
                <a:gd name="T27" fmla="*/ 13 h 90"/>
                <a:gd name="T28" fmla="*/ 1 w 91"/>
                <a:gd name="T29" fmla="*/ 28 h 90"/>
                <a:gd name="T30" fmla="*/ 6 w 91"/>
                <a:gd name="T31" fmla="*/ 3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1" h="90">
                  <a:moveTo>
                    <a:pt x="6" y="34"/>
                  </a:moveTo>
                  <a:cubicBezTo>
                    <a:pt x="14" y="35"/>
                    <a:pt x="26" y="27"/>
                    <a:pt x="33" y="23"/>
                  </a:cubicBezTo>
                  <a:cubicBezTo>
                    <a:pt x="40" y="20"/>
                    <a:pt x="49" y="23"/>
                    <a:pt x="54" y="29"/>
                  </a:cubicBezTo>
                  <a:cubicBezTo>
                    <a:pt x="58" y="35"/>
                    <a:pt x="57" y="45"/>
                    <a:pt x="52" y="51"/>
                  </a:cubicBezTo>
                  <a:cubicBezTo>
                    <a:pt x="51" y="52"/>
                    <a:pt x="49" y="54"/>
                    <a:pt x="49" y="56"/>
                  </a:cubicBezTo>
                  <a:cubicBezTo>
                    <a:pt x="48" y="58"/>
                    <a:pt x="49" y="60"/>
                    <a:pt x="51" y="60"/>
                  </a:cubicBezTo>
                  <a:cubicBezTo>
                    <a:pt x="52" y="56"/>
                    <a:pt x="58" y="54"/>
                    <a:pt x="62" y="56"/>
                  </a:cubicBezTo>
                  <a:cubicBezTo>
                    <a:pt x="66" y="58"/>
                    <a:pt x="68" y="63"/>
                    <a:pt x="66" y="67"/>
                  </a:cubicBezTo>
                  <a:cubicBezTo>
                    <a:pt x="65" y="71"/>
                    <a:pt x="61" y="75"/>
                    <a:pt x="57" y="76"/>
                  </a:cubicBezTo>
                  <a:cubicBezTo>
                    <a:pt x="61" y="81"/>
                    <a:pt x="65" y="85"/>
                    <a:pt x="69" y="90"/>
                  </a:cubicBezTo>
                  <a:cubicBezTo>
                    <a:pt x="71" y="86"/>
                    <a:pt x="74" y="83"/>
                    <a:pt x="76" y="79"/>
                  </a:cubicBezTo>
                  <a:cubicBezTo>
                    <a:pt x="87" y="61"/>
                    <a:pt x="91" y="37"/>
                    <a:pt x="80" y="20"/>
                  </a:cubicBezTo>
                  <a:cubicBezTo>
                    <a:pt x="71" y="7"/>
                    <a:pt x="56" y="0"/>
                    <a:pt x="40" y="1"/>
                  </a:cubicBezTo>
                  <a:cubicBezTo>
                    <a:pt x="29" y="1"/>
                    <a:pt x="18" y="6"/>
                    <a:pt x="10" y="13"/>
                  </a:cubicBezTo>
                  <a:cubicBezTo>
                    <a:pt x="5" y="16"/>
                    <a:pt x="0" y="23"/>
                    <a:pt x="1" y="28"/>
                  </a:cubicBezTo>
                  <a:cubicBezTo>
                    <a:pt x="2" y="33"/>
                    <a:pt x="0" y="34"/>
                    <a:pt x="6" y="34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íṥlïḋé">
              <a:extLst>
                <a:ext uri="{FF2B5EF4-FFF2-40B4-BE49-F238E27FC236}">
                  <a16:creationId xmlns:a16="http://schemas.microsoft.com/office/drawing/2014/main" id="{0B82783E-48C5-4AD9-A8F9-402840D24A47}"/>
                </a:ext>
              </a:extLst>
            </p:cNvPr>
            <p:cNvSpPr/>
            <p:nvPr/>
          </p:nvSpPr>
          <p:spPr bwMode="auto">
            <a:xfrm>
              <a:off x="5657850" y="3273425"/>
              <a:ext cx="25400" cy="22225"/>
            </a:xfrm>
            <a:custGeom>
              <a:avLst/>
              <a:gdLst>
                <a:gd name="T0" fmla="*/ 1 w 9"/>
                <a:gd name="T1" fmla="*/ 4 h 8"/>
                <a:gd name="T2" fmla="*/ 4 w 9"/>
                <a:gd name="T3" fmla="*/ 8 h 8"/>
                <a:gd name="T4" fmla="*/ 8 w 9"/>
                <a:gd name="T5" fmla="*/ 5 h 8"/>
                <a:gd name="T6" fmla="*/ 5 w 9"/>
                <a:gd name="T7" fmla="*/ 0 h 8"/>
                <a:gd name="T8" fmla="*/ 1 w 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1" y="4"/>
                  </a:moveTo>
                  <a:cubicBezTo>
                    <a:pt x="0" y="6"/>
                    <a:pt x="2" y="8"/>
                    <a:pt x="4" y="8"/>
                  </a:cubicBezTo>
                  <a:cubicBezTo>
                    <a:pt x="6" y="8"/>
                    <a:pt x="8" y="7"/>
                    <a:pt x="8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3" y="0"/>
                    <a:pt x="1" y="2"/>
                    <a:pt x="1" y="4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isļiḍè">
              <a:extLst>
                <a:ext uri="{FF2B5EF4-FFF2-40B4-BE49-F238E27FC236}">
                  <a16:creationId xmlns:a16="http://schemas.microsoft.com/office/drawing/2014/main" id="{77237FCC-187D-46A6-A440-AEADFF547729}"/>
                </a:ext>
              </a:extLst>
            </p:cNvPr>
            <p:cNvSpPr/>
            <p:nvPr/>
          </p:nvSpPr>
          <p:spPr bwMode="auto">
            <a:xfrm>
              <a:off x="5591175" y="3271838"/>
              <a:ext cx="22225" cy="20638"/>
            </a:xfrm>
            <a:custGeom>
              <a:avLst/>
              <a:gdLst>
                <a:gd name="T0" fmla="*/ 0 w 8"/>
                <a:gd name="T1" fmla="*/ 4 h 8"/>
                <a:gd name="T2" fmla="*/ 3 w 8"/>
                <a:gd name="T3" fmla="*/ 8 h 8"/>
                <a:gd name="T4" fmla="*/ 8 w 8"/>
                <a:gd name="T5" fmla="*/ 4 h 8"/>
                <a:gd name="T6" fmla="*/ 4 w 8"/>
                <a:gd name="T7" fmla="*/ 0 h 8"/>
                <a:gd name="T8" fmla="*/ 0 w 8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0" y="4"/>
                  </a:moveTo>
                  <a:cubicBezTo>
                    <a:pt x="0" y="6"/>
                    <a:pt x="1" y="8"/>
                    <a:pt x="3" y="8"/>
                  </a:cubicBezTo>
                  <a:cubicBezTo>
                    <a:pt x="6" y="8"/>
                    <a:pt x="8" y="7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îṡļïḋè">
              <a:extLst>
                <a:ext uri="{FF2B5EF4-FFF2-40B4-BE49-F238E27FC236}">
                  <a16:creationId xmlns:a16="http://schemas.microsoft.com/office/drawing/2014/main" id="{DBE0491F-4AE8-4423-947D-137807DDAADF}"/>
                </a:ext>
              </a:extLst>
            </p:cNvPr>
            <p:cNvSpPr/>
            <p:nvPr/>
          </p:nvSpPr>
          <p:spPr bwMode="auto">
            <a:xfrm>
              <a:off x="5610225" y="3297238"/>
              <a:ext cx="26987" cy="58738"/>
            </a:xfrm>
            <a:custGeom>
              <a:avLst/>
              <a:gdLst>
                <a:gd name="T0" fmla="*/ 8 w 10"/>
                <a:gd name="T1" fmla="*/ 0 h 22"/>
                <a:gd name="T2" fmla="*/ 1 w 10"/>
                <a:gd name="T3" fmla="*/ 12 h 22"/>
                <a:gd name="T4" fmla="*/ 0 w 10"/>
                <a:gd name="T5" fmla="*/ 16 h 22"/>
                <a:gd name="T6" fmla="*/ 0 w 10"/>
                <a:gd name="T7" fmla="*/ 16 h 22"/>
                <a:gd name="T8" fmla="*/ 1 w 10"/>
                <a:gd name="T9" fmla="*/ 18 h 22"/>
                <a:gd name="T10" fmla="*/ 9 w 10"/>
                <a:gd name="T11" fmla="*/ 22 h 22"/>
                <a:gd name="T12" fmla="*/ 9 w 10"/>
                <a:gd name="T13" fmla="*/ 20 h 22"/>
                <a:gd name="T14" fmla="*/ 4 w 10"/>
                <a:gd name="T15" fmla="*/ 18 h 22"/>
                <a:gd name="T16" fmla="*/ 3 w 10"/>
                <a:gd name="T17" fmla="*/ 17 h 22"/>
                <a:gd name="T18" fmla="*/ 2 w 10"/>
                <a:gd name="T19" fmla="*/ 16 h 22"/>
                <a:gd name="T20" fmla="*/ 2 w 10"/>
                <a:gd name="T21" fmla="*/ 16 h 22"/>
                <a:gd name="T22" fmla="*/ 3 w 10"/>
                <a:gd name="T23" fmla="*/ 13 h 22"/>
                <a:gd name="T24" fmla="*/ 10 w 10"/>
                <a:gd name="T25" fmla="*/ 1 h 22"/>
                <a:gd name="T26" fmla="*/ 8 w 10"/>
                <a:gd name="T2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22">
                  <a:moveTo>
                    <a:pt x="8" y="0"/>
                  </a:moveTo>
                  <a:cubicBezTo>
                    <a:pt x="6" y="4"/>
                    <a:pt x="4" y="8"/>
                    <a:pt x="1" y="12"/>
                  </a:cubicBezTo>
                  <a:cubicBezTo>
                    <a:pt x="1" y="13"/>
                    <a:pt x="0" y="14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" y="20"/>
                    <a:pt x="6" y="21"/>
                    <a:pt x="9" y="22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8" y="19"/>
                    <a:pt x="6" y="19"/>
                    <a:pt x="4" y="18"/>
                  </a:cubicBezTo>
                  <a:cubicBezTo>
                    <a:pt x="4" y="18"/>
                    <a:pt x="3" y="17"/>
                    <a:pt x="3" y="17"/>
                  </a:cubicBezTo>
                  <a:cubicBezTo>
                    <a:pt x="2" y="17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5"/>
                    <a:pt x="2" y="14"/>
                    <a:pt x="3" y="13"/>
                  </a:cubicBezTo>
                  <a:cubicBezTo>
                    <a:pt x="5" y="9"/>
                    <a:pt x="8" y="5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îŝḷîďè">
              <a:extLst>
                <a:ext uri="{FF2B5EF4-FFF2-40B4-BE49-F238E27FC236}">
                  <a16:creationId xmlns:a16="http://schemas.microsoft.com/office/drawing/2014/main" id="{AE879160-A981-4BC3-8DBD-5C324FABED0D}"/>
                </a:ext>
              </a:extLst>
            </p:cNvPr>
            <p:cNvSpPr/>
            <p:nvPr/>
          </p:nvSpPr>
          <p:spPr bwMode="auto">
            <a:xfrm>
              <a:off x="5618163" y="3367088"/>
              <a:ext cx="46037" cy="15875"/>
            </a:xfrm>
            <a:custGeom>
              <a:avLst/>
              <a:gdLst>
                <a:gd name="T0" fmla="*/ 15 w 17"/>
                <a:gd name="T1" fmla="*/ 0 h 6"/>
                <a:gd name="T2" fmla="*/ 8 w 17"/>
                <a:gd name="T3" fmla="*/ 4 h 6"/>
                <a:gd name="T4" fmla="*/ 1 w 17"/>
                <a:gd name="T5" fmla="*/ 0 h 6"/>
                <a:gd name="T6" fmla="*/ 0 w 17"/>
                <a:gd name="T7" fmla="*/ 1 h 6"/>
                <a:gd name="T8" fmla="*/ 8 w 17"/>
                <a:gd name="T9" fmla="*/ 6 h 6"/>
                <a:gd name="T10" fmla="*/ 17 w 17"/>
                <a:gd name="T11" fmla="*/ 1 h 6"/>
                <a:gd name="T12" fmla="*/ 15 w 17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6">
                  <a:moveTo>
                    <a:pt x="15" y="0"/>
                  </a:moveTo>
                  <a:cubicBezTo>
                    <a:pt x="13" y="3"/>
                    <a:pt x="10" y="4"/>
                    <a:pt x="8" y="4"/>
                  </a:cubicBezTo>
                  <a:cubicBezTo>
                    <a:pt x="6" y="4"/>
                    <a:pt x="3" y="2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4"/>
                    <a:pt x="5" y="6"/>
                    <a:pt x="8" y="6"/>
                  </a:cubicBezTo>
                  <a:cubicBezTo>
                    <a:pt x="11" y="6"/>
                    <a:pt x="14" y="5"/>
                    <a:pt x="17" y="1"/>
                  </a:cubicBezTo>
                  <a:cubicBezTo>
                    <a:pt x="15" y="0"/>
                    <a:pt x="15" y="0"/>
                    <a:pt x="15" y="0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íṥľîḋê">
              <a:extLst>
                <a:ext uri="{FF2B5EF4-FFF2-40B4-BE49-F238E27FC236}">
                  <a16:creationId xmlns:a16="http://schemas.microsoft.com/office/drawing/2014/main" id="{AF9783AF-3DA9-4997-9AC0-6CA426FEB639}"/>
                </a:ext>
              </a:extLst>
            </p:cNvPr>
            <p:cNvSpPr/>
            <p:nvPr/>
          </p:nvSpPr>
          <p:spPr bwMode="auto">
            <a:xfrm>
              <a:off x="5583238" y="3429000"/>
              <a:ext cx="257175" cy="209550"/>
            </a:xfrm>
            <a:custGeom>
              <a:avLst/>
              <a:gdLst>
                <a:gd name="T0" fmla="*/ 65 w 96"/>
                <a:gd name="T1" fmla="*/ 1 h 79"/>
                <a:gd name="T2" fmla="*/ 86 w 96"/>
                <a:gd name="T3" fmla="*/ 4 h 79"/>
                <a:gd name="T4" fmla="*/ 96 w 96"/>
                <a:gd name="T5" fmla="*/ 6 h 79"/>
                <a:gd name="T6" fmla="*/ 74 w 96"/>
                <a:gd name="T7" fmla="*/ 69 h 79"/>
                <a:gd name="T8" fmla="*/ 24 w 96"/>
                <a:gd name="T9" fmla="*/ 79 h 79"/>
                <a:gd name="T10" fmla="*/ 0 w 96"/>
                <a:gd name="T11" fmla="*/ 60 h 79"/>
                <a:gd name="T12" fmla="*/ 13 w 96"/>
                <a:gd name="T13" fmla="*/ 23 h 79"/>
                <a:gd name="T14" fmla="*/ 35 w 96"/>
                <a:gd name="T15" fmla="*/ 9 h 79"/>
                <a:gd name="T16" fmla="*/ 65 w 96"/>
                <a:gd name="T17" fmla="*/ 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79">
                  <a:moveTo>
                    <a:pt x="65" y="1"/>
                  </a:moveTo>
                  <a:cubicBezTo>
                    <a:pt x="65" y="1"/>
                    <a:pt x="76" y="0"/>
                    <a:pt x="86" y="4"/>
                  </a:cubicBezTo>
                  <a:cubicBezTo>
                    <a:pt x="95" y="8"/>
                    <a:pt x="96" y="6"/>
                    <a:pt x="96" y="6"/>
                  </a:cubicBezTo>
                  <a:cubicBezTo>
                    <a:pt x="96" y="6"/>
                    <a:pt x="95" y="62"/>
                    <a:pt x="74" y="69"/>
                  </a:cubicBezTo>
                  <a:cubicBezTo>
                    <a:pt x="54" y="77"/>
                    <a:pt x="24" y="79"/>
                    <a:pt x="24" y="79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27" y="12"/>
                    <a:pt x="35" y="9"/>
                  </a:cubicBezTo>
                  <a:cubicBezTo>
                    <a:pt x="42" y="6"/>
                    <a:pt x="65" y="1"/>
                    <a:pt x="65" y="1"/>
                  </a:cubicBezTo>
                  <a:close/>
                </a:path>
              </a:pathLst>
            </a:custGeom>
            <a:solidFill>
              <a:srgbClr val="FFB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íṧľiḓe">
              <a:extLst>
                <a:ext uri="{FF2B5EF4-FFF2-40B4-BE49-F238E27FC236}">
                  <a16:creationId xmlns:a16="http://schemas.microsoft.com/office/drawing/2014/main" id="{62EEEB96-A577-469B-B353-F442B799E989}"/>
                </a:ext>
              </a:extLst>
            </p:cNvPr>
            <p:cNvSpPr/>
            <p:nvPr/>
          </p:nvSpPr>
          <p:spPr bwMode="auto">
            <a:xfrm>
              <a:off x="5562910" y="3438526"/>
              <a:ext cx="343376" cy="269875"/>
            </a:xfrm>
            <a:custGeom>
              <a:avLst/>
              <a:gdLst>
                <a:gd name="connsiteX0" fmla="*/ 237622 w 343376"/>
                <a:gd name="connsiteY0" fmla="*/ 0 h 269875"/>
                <a:gd name="connsiteX1" fmla="*/ 315124 w 343376"/>
                <a:gd name="connsiteY1" fmla="*/ 21324 h 269875"/>
                <a:gd name="connsiteX2" fmla="*/ 341848 w 343376"/>
                <a:gd name="connsiteY2" fmla="*/ 247885 h 269875"/>
                <a:gd name="connsiteX3" fmla="*/ 343376 w 343376"/>
                <a:gd name="connsiteY3" fmla="*/ 269875 h 269875"/>
                <a:gd name="connsiteX4" fmla="*/ 0 w 343376"/>
                <a:gd name="connsiteY4" fmla="*/ 269875 h 269875"/>
                <a:gd name="connsiteX5" fmla="*/ 147 w 343376"/>
                <a:gd name="connsiteY5" fmla="*/ 236057 h 269875"/>
                <a:gd name="connsiteX6" fmla="*/ 23823 w 343376"/>
                <a:gd name="connsiteY6" fmla="*/ 42647 h 269875"/>
                <a:gd name="connsiteX7" fmla="*/ 101325 w 343376"/>
                <a:gd name="connsiteY7" fmla="*/ 13327 h 269875"/>
                <a:gd name="connsiteX8" fmla="*/ 144085 w 343376"/>
                <a:gd name="connsiteY8" fmla="*/ 50643 h 269875"/>
                <a:gd name="connsiteX9" fmla="*/ 237622 w 343376"/>
                <a:gd name="connsiteY9" fmla="*/ 0 h 269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3376" h="269875">
                  <a:moveTo>
                    <a:pt x="237622" y="0"/>
                  </a:moveTo>
                  <a:cubicBezTo>
                    <a:pt x="272364" y="7996"/>
                    <a:pt x="315124" y="21324"/>
                    <a:pt x="315124" y="21324"/>
                  </a:cubicBezTo>
                  <a:cubicBezTo>
                    <a:pt x="315124" y="21324"/>
                    <a:pt x="336503" y="181250"/>
                    <a:pt x="341848" y="247885"/>
                  </a:cubicBezTo>
                  <a:lnTo>
                    <a:pt x="343376" y="269875"/>
                  </a:lnTo>
                  <a:lnTo>
                    <a:pt x="0" y="269875"/>
                  </a:lnTo>
                  <a:lnTo>
                    <a:pt x="147" y="236057"/>
                  </a:lnTo>
                  <a:cubicBezTo>
                    <a:pt x="5784" y="143100"/>
                    <a:pt x="23823" y="42647"/>
                    <a:pt x="23823" y="42647"/>
                  </a:cubicBezTo>
                  <a:cubicBezTo>
                    <a:pt x="23823" y="42647"/>
                    <a:pt x="23823" y="42647"/>
                    <a:pt x="101325" y="13327"/>
                  </a:cubicBezTo>
                  <a:cubicBezTo>
                    <a:pt x="101325" y="13327"/>
                    <a:pt x="101325" y="13327"/>
                    <a:pt x="144085" y="50643"/>
                  </a:cubicBezTo>
                  <a:cubicBezTo>
                    <a:pt x="197534" y="37316"/>
                    <a:pt x="237622" y="0"/>
                    <a:pt x="237622" y="0"/>
                  </a:cubicBezTo>
                  <a:close/>
                </a:path>
              </a:pathLst>
            </a:custGeom>
            <a:solidFill>
              <a:srgbClr val="725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îSļídè">
              <a:extLst>
                <a:ext uri="{FF2B5EF4-FFF2-40B4-BE49-F238E27FC236}">
                  <a16:creationId xmlns:a16="http://schemas.microsoft.com/office/drawing/2014/main" id="{5A0098E9-D403-4867-8905-7AB79AC4717E}"/>
                </a:ext>
              </a:extLst>
            </p:cNvPr>
            <p:cNvSpPr/>
            <p:nvPr/>
          </p:nvSpPr>
          <p:spPr bwMode="auto">
            <a:xfrm>
              <a:off x="5773738" y="3460751"/>
              <a:ext cx="192694" cy="247651"/>
            </a:xfrm>
            <a:custGeom>
              <a:avLst/>
              <a:gdLst>
                <a:gd name="connsiteX0" fmla="*/ 103724 w 192694"/>
                <a:gd name="connsiteY0" fmla="*/ 0 h 247651"/>
                <a:gd name="connsiteX1" fmla="*/ 191489 w 192694"/>
                <a:gd name="connsiteY1" fmla="*/ 143896 h 247651"/>
                <a:gd name="connsiteX2" fmla="*/ 134309 w 192694"/>
                <a:gd name="connsiteY2" fmla="*/ 243157 h 247651"/>
                <a:gd name="connsiteX3" fmla="*/ 130421 w 192694"/>
                <a:gd name="connsiteY3" fmla="*/ 247651 h 247651"/>
                <a:gd name="connsiteX4" fmla="*/ 49147 w 192694"/>
                <a:gd name="connsiteY4" fmla="*/ 247651 h 247651"/>
                <a:gd name="connsiteX5" fmla="*/ 34616 w 192694"/>
                <a:gd name="connsiteY5" fmla="*/ 230999 h 247651"/>
                <a:gd name="connsiteX6" fmla="*/ 0 w 192694"/>
                <a:gd name="connsiteY6" fmla="*/ 205185 h 247651"/>
                <a:gd name="connsiteX7" fmla="*/ 61170 w 192694"/>
                <a:gd name="connsiteY7" fmla="*/ 74613 h 247651"/>
                <a:gd name="connsiteX8" fmla="*/ 103724 w 192694"/>
                <a:gd name="connsiteY8" fmla="*/ 0 h 24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2694" h="247651">
                  <a:moveTo>
                    <a:pt x="103724" y="0"/>
                  </a:moveTo>
                  <a:cubicBezTo>
                    <a:pt x="103724" y="0"/>
                    <a:pt x="204787" y="55960"/>
                    <a:pt x="191489" y="143896"/>
                  </a:cubicBezTo>
                  <a:cubicBezTo>
                    <a:pt x="186170" y="173208"/>
                    <a:pt x="159575" y="211846"/>
                    <a:pt x="134309" y="243157"/>
                  </a:cubicBezTo>
                  <a:lnTo>
                    <a:pt x="130421" y="247651"/>
                  </a:lnTo>
                  <a:lnTo>
                    <a:pt x="49147" y="247651"/>
                  </a:lnTo>
                  <a:lnTo>
                    <a:pt x="34616" y="230999"/>
                  </a:lnTo>
                  <a:cubicBezTo>
                    <a:pt x="24269" y="221006"/>
                    <a:pt x="12633" y="211846"/>
                    <a:pt x="0" y="205185"/>
                  </a:cubicBezTo>
                  <a:cubicBezTo>
                    <a:pt x="0" y="205185"/>
                    <a:pt x="53192" y="109254"/>
                    <a:pt x="61170" y="74613"/>
                  </a:cubicBezTo>
                  <a:cubicBezTo>
                    <a:pt x="71809" y="42636"/>
                    <a:pt x="103724" y="0"/>
                    <a:pt x="103724" y="0"/>
                  </a:cubicBezTo>
                  <a:close/>
                </a:path>
              </a:pathLst>
            </a:custGeom>
            <a:solidFill>
              <a:srgbClr val="A099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işļíḓe">
              <a:extLst>
                <a:ext uri="{FF2B5EF4-FFF2-40B4-BE49-F238E27FC236}">
                  <a16:creationId xmlns:a16="http://schemas.microsoft.com/office/drawing/2014/main" id="{29D4C89E-7267-48F6-A23D-5DBA23E26455}"/>
                </a:ext>
              </a:extLst>
            </p:cNvPr>
            <p:cNvSpPr/>
            <p:nvPr/>
          </p:nvSpPr>
          <p:spPr bwMode="auto">
            <a:xfrm>
              <a:off x="5707063" y="3422650"/>
              <a:ext cx="101600" cy="98425"/>
            </a:xfrm>
            <a:custGeom>
              <a:avLst/>
              <a:gdLst>
                <a:gd name="T0" fmla="*/ 52 w 64"/>
                <a:gd name="T1" fmla="*/ 0 h 62"/>
                <a:gd name="T2" fmla="*/ 0 w 64"/>
                <a:gd name="T3" fmla="*/ 42 h 62"/>
                <a:gd name="T4" fmla="*/ 23 w 64"/>
                <a:gd name="T5" fmla="*/ 62 h 62"/>
                <a:gd name="T6" fmla="*/ 64 w 64"/>
                <a:gd name="T7" fmla="*/ 9 h 62"/>
                <a:gd name="T8" fmla="*/ 52 w 64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2">
                  <a:moveTo>
                    <a:pt x="52" y="0"/>
                  </a:moveTo>
                  <a:lnTo>
                    <a:pt x="0" y="42"/>
                  </a:lnTo>
                  <a:lnTo>
                    <a:pt x="23" y="62"/>
                  </a:lnTo>
                  <a:lnTo>
                    <a:pt x="64" y="9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A099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î$ḷïḓé">
              <a:extLst>
                <a:ext uri="{FF2B5EF4-FFF2-40B4-BE49-F238E27FC236}">
                  <a16:creationId xmlns:a16="http://schemas.microsoft.com/office/drawing/2014/main" id="{361AA3AF-4C48-489B-A99C-B171FEA5F7BD}"/>
                </a:ext>
              </a:extLst>
            </p:cNvPr>
            <p:cNvSpPr/>
            <p:nvPr/>
          </p:nvSpPr>
          <p:spPr bwMode="auto">
            <a:xfrm>
              <a:off x="5664200" y="3436938"/>
              <a:ext cx="47625" cy="87313"/>
            </a:xfrm>
            <a:custGeom>
              <a:avLst/>
              <a:gdLst>
                <a:gd name="T0" fmla="*/ 7 w 30"/>
                <a:gd name="T1" fmla="*/ 0 h 55"/>
                <a:gd name="T2" fmla="*/ 30 w 30"/>
                <a:gd name="T3" fmla="*/ 33 h 55"/>
                <a:gd name="T4" fmla="*/ 15 w 30"/>
                <a:gd name="T5" fmla="*/ 55 h 55"/>
                <a:gd name="T6" fmla="*/ 0 w 30"/>
                <a:gd name="T7" fmla="*/ 10 h 55"/>
                <a:gd name="T8" fmla="*/ 7 w 30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5">
                  <a:moveTo>
                    <a:pt x="7" y="0"/>
                  </a:moveTo>
                  <a:lnTo>
                    <a:pt x="30" y="33"/>
                  </a:lnTo>
                  <a:lnTo>
                    <a:pt x="15" y="55"/>
                  </a:lnTo>
                  <a:lnTo>
                    <a:pt x="0" y="1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099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íṣļïḑé">
              <a:extLst>
                <a:ext uri="{FF2B5EF4-FFF2-40B4-BE49-F238E27FC236}">
                  <a16:creationId xmlns:a16="http://schemas.microsoft.com/office/drawing/2014/main" id="{1E68636F-5F56-4884-9418-12173AEF6232}"/>
                </a:ext>
              </a:extLst>
            </p:cNvPr>
            <p:cNvSpPr/>
            <p:nvPr/>
          </p:nvSpPr>
          <p:spPr bwMode="auto">
            <a:xfrm>
              <a:off x="5367338" y="3602038"/>
              <a:ext cx="668337" cy="109538"/>
            </a:xfrm>
            <a:custGeom>
              <a:avLst/>
              <a:gdLst>
                <a:gd name="T0" fmla="*/ 250 w 250"/>
                <a:gd name="T1" fmla="*/ 0 h 41"/>
                <a:gd name="T2" fmla="*/ 0 w 250"/>
                <a:gd name="T3" fmla="*/ 0 h 41"/>
                <a:gd name="T4" fmla="*/ 0 w 250"/>
                <a:gd name="T5" fmla="*/ 24 h 41"/>
                <a:gd name="T6" fmla="*/ 17 w 250"/>
                <a:gd name="T7" fmla="*/ 41 h 41"/>
                <a:gd name="T8" fmla="*/ 240 w 250"/>
                <a:gd name="T9" fmla="*/ 41 h 41"/>
                <a:gd name="T10" fmla="*/ 250 w 250"/>
                <a:gd name="T11" fmla="*/ 32 h 41"/>
                <a:gd name="T12" fmla="*/ 250 w 250"/>
                <a:gd name="T1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1">
                  <a:moveTo>
                    <a:pt x="25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4"/>
                    <a:pt x="8" y="41"/>
                    <a:pt x="17" y="41"/>
                  </a:cubicBezTo>
                  <a:cubicBezTo>
                    <a:pt x="240" y="41"/>
                    <a:pt x="240" y="41"/>
                    <a:pt x="240" y="41"/>
                  </a:cubicBezTo>
                  <a:cubicBezTo>
                    <a:pt x="246" y="41"/>
                    <a:pt x="250" y="37"/>
                    <a:pt x="250" y="32"/>
                  </a:cubicBezTo>
                  <a:lnTo>
                    <a:pt x="250" y="0"/>
                  </a:lnTo>
                  <a:close/>
                </a:path>
              </a:pathLst>
            </a:cu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íṩḻïḓé">
              <a:extLst>
                <a:ext uri="{FF2B5EF4-FFF2-40B4-BE49-F238E27FC236}">
                  <a16:creationId xmlns:a16="http://schemas.microsoft.com/office/drawing/2014/main" id="{C5814DD1-3F38-4641-B4A9-DEA36C05F86D}"/>
                </a:ext>
              </a:extLst>
            </p:cNvPr>
            <p:cNvSpPr/>
            <p:nvPr/>
          </p:nvSpPr>
          <p:spPr bwMode="auto">
            <a:xfrm>
              <a:off x="5664200" y="3660775"/>
              <a:ext cx="87312" cy="19050"/>
            </a:xfrm>
            <a:custGeom>
              <a:avLst/>
              <a:gdLst>
                <a:gd name="T0" fmla="*/ 30 w 33"/>
                <a:gd name="T1" fmla="*/ 7 h 7"/>
                <a:gd name="T2" fmla="*/ 3 w 33"/>
                <a:gd name="T3" fmla="*/ 7 h 7"/>
                <a:gd name="T4" fmla="*/ 0 w 33"/>
                <a:gd name="T5" fmla="*/ 4 h 7"/>
                <a:gd name="T6" fmla="*/ 0 w 33"/>
                <a:gd name="T7" fmla="*/ 3 h 7"/>
                <a:gd name="T8" fmla="*/ 3 w 33"/>
                <a:gd name="T9" fmla="*/ 0 h 7"/>
                <a:gd name="T10" fmla="*/ 30 w 33"/>
                <a:gd name="T11" fmla="*/ 0 h 7"/>
                <a:gd name="T12" fmla="*/ 33 w 33"/>
                <a:gd name="T13" fmla="*/ 3 h 7"/>
                <a:gd name="T14" fmla="*/ 33 w 33"/>
                <a:gd name="T15" fmla="*/ 4 h 7"/>
                <a:gd name="T16" fmla="*/ 30 w 3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7">
                  <a:moveTo>
                    <a:pt x="3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3" y="1"/>
                    <a:pt x="33" y="3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5"/>
                    <a:pt x="32" y="7"/>
                    <a:pt x="30" y="7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ïṩḷídè">
              <a:extLst>
                <a:ext uri="{FF2B5EF4-FFF2-40B4-BE49-F238E27FC236}">
                  <a16:creationId xmlns:a16="http://schemas.microsoft.com/office/drawing/2014/main" id="{EA95ED35-6E91-429C-A345-B705873C7624}"/>
                </a:ext>
              </a:extLst>
            </p:cNvPr>
            <p:cNvSpPr/>
            <p:nvPr/>
          </p:nvSpPr>
          <p:spPr bwMode="auto">
            <a:xfrm>
              <a:off x="5464175" y="3813175"/>
              <a:ext cx="400050" cy="52388"/>
            </a:xfrm>
            <a:custGeom>
              <a:avLst/>
              <a:gdLst>
                <a:gd name="T0" fmla="*/ 252 w 252"/>
                <a:gd name="T1" fmla="*/ 33 h 33"/>
                <a:gd name="T2" fmla="*/ 0 w 252"/>
                <a:gd name="T3" fmla="*/ 33 h 33"/>
                <a:gd name="T4" fmla="*/ 3 w 252"/>
                <a:gd name="T5" fmla="*/ 0 h 33"/>
                <a:gd name="T6" fmla="*/ 249 w 252"/>
                <a:gd name="T7" fmla="*/ 0 h 33"/>
                <a:gd name="T8" fmla="*/ 252 w 252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2" h="33">
                  <a:moveTo>
                    <a:pt x="252" y="33"/>
                  </a:moveTo>
                  <a:lnTo>
                    <a:pt x="0" y="33"/>
                  </a:lnTo>
                  <a:lnTo>
                    <a:pt x="3" y="0"/>
                  </a:lnTo>
                  <a:lnTo>
                    <a:pt x="249" y="0"/>
                  </a:lnTo>
                  <a:lnTo>
                    <a:pt x="252" y="33"/>
                  </a:ln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ï$ļiḑe">
              <a:extLst>
                <a:ext uri="{FF2B5EF4-FFF2-40B4-BE49-F238E27FC236}">
                  <a16:creationId xmlns:a16="http://schemas.microsoft.com/office/drawing/2014/main" id="{E181B335-F2B9-42A2-9D20-C597E7376F39}"/>
                </a:ext>
              </a:extLst>
            </p:cNvPr>
            <p:cNvSpPr/>
            <p:nvPr/>
          </p:nvSpPr>
          <p:spPr bwMode="auto">
            <a:xfrm>
              <a:off x="5214938" y="3838575"/>
              <a:ext cx="358775" cy="26988"/>
            </a:xfrm>
            <a:prstGeom prst="rect">
              <a:avLst/>
            </a:prstGeom>
            <a:solidFill>
              <a:srgbClr val="B3B3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ïSḻidê">
              <a:extLst>
                <a:ext uri="{FF2B5EF4-FFF2-40B4-BE49-F238E27FC236}">
                  <a16:creationId xmlns:a16="http://schemas.microsoft.com/office/drawing/2014/main" id="{ED72DAC2-8A55-476D-8471-2AC55BC6660B}"/>
                </a:ext>
              </a:extLst>
            </p:cNvPr>
            <p:cNvSpPr/>
            <p:nvPr/>
          </p:nvSpPr>
          <p:spPr bwMode="auto">
            <a:xfrm>
              <a:off x="5175250" y="3838575"/>
              <a:ext cx="215900" cy="26988"/>
            </a:xfrm>
            <a:prstGeom prst="rect">
              <a:avLst/>
            </a:prstGeom>
            <a:solidFill>
              <a:srgbClr val="C0BE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iṣḻîḑe">
              <a:extLst>
                <a:ext uri="{FF2B5EF4-FFF2-40B4-BE49-F238E27FC236}">
                  <a16:creationId xmlns:a16="http://schemas.microsoft.com/office/drawing/2014/main" id="{E2402376-E0AA-4C42-8BA7-E6223D4C6EDD}"/>
                </a:ext>
              </a:extLst>
            </p:cNvPr>
            <p:cNvSpPr/>
            <p:nvPr/>
          </p:nvSpPr>
          <p:spPr bwMode="auto">
            <a:xfrm>
              <a:off x="4330700" y="4019550"/>
              <a:ext cx="876300" cy="1014413"/>
            </a:xfrm>
            <a:custGeom>
              <a:avLst/>
              <a:gdLst>
                <a:gd name="T0" fmla="*/ 14 w 328"/>
                <a:gd name="T1" fmla="*/ 0 h 380"/>
                <a:gd name="T2" fmla="*/ 9 w 328"/>
                <a:gd name="T3" fmla="*/ 31 h 380"/>
                <a:gd name="T4" fmla="*/ 84 w 328"/>
                <a:gd name="T5" fmla="*/ 141 h 380"/>
                <a:gd name="T6" fmla="*/ 198 w 328"/>
                <a:gd name="T7" fmla="*/ 162 h 380"/>
                <a:gd name="T8" fmla="*/ 73 w 328"/>
                <a:gd name="T9" fmla="*/ 333 h 380"/>
                <a:gd name="T10" fmla="*/ 141 w 328"/>
                <a:gd name="T11" fmla="*/ 380 h 380"/>
                <a:gd name="T12" fmla="*/ 303 w 328"/>
                <a:gd name="T13" fmla="*/ 181 h 380"/>
                <a:gd name="T14" fmla="*/ 317 w 328"/>
                <a:gd name="T15" fmla="*/ 139 h 380"/>
                <a:gd name="T16" fmla="*/ 135 w 328"/>
                <a:gd name="T17" fmla="*/ 43 h 380"/>
                <a:gd name="T18" fmla="*/ 14 w 328"/>
                <a:gd name="T19" fmla="*/ 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8" h="380">
                  <a:moveTo>
                    <a:pt x="14" y="0"/>
                  </a:moveTo>
                  <a:cubicBezTo>
                    <a:pt x="9" y="31"/>
                    <a:pt x="9" y="31"/>
                    <a:pt x="9" y="31"/>
                  </a:cubicBezTo>
                  <a:cubicBezTo>
                    <a:pt x="0" y="82"/>
                    <a:pt x="33" y="130"/>
                    <a:pt x="84" y="141"/>
                  </a:cubicBezTo>
                  <a:cubicBezTo>
                    <a:pt x="198" y="162"/>
                    <a:pt x="198" y="162"/>
                    <a:pt x="198" y="162"/>
                  </a:cubicBezTo>
                  <a:cubicBezTo>
                    <a:pt x="73" y="333"/>
                    <a:pt x="73" y="333"/>
                    <a:pt x="73" y="333"/>
                  </a:cubicBezTo>
                  <a:cubicBezTo>
                    <a:pt x="141" y="380"/>
                    <a:pt x="141" y="380"/>
                    <a:pt x="141" y="380"/>
                  </a:cubicBezTo>
                  <a:cubicBezTo>
                    <a:pt x="141" y="380"/>
                    <a:pt x="265" y="222"/>
                    <a:pt x="303" y="181"/>
                  </a:cubicBezTo>
                  <a:cubicBezTo>
                    <a:pt x="310" y="174"/>
                    <a:pt x="328" y="148"/>
                    <a:pt x="317" y="139"/>
                  </a:cubicBezTo>
                  <a:cubicBezTo>
                    <a:pt x="254" y="85"/>
                    <a:pt x="135" y="43"/>
                    <a:pt x="135" y="43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243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îšļiḋé">
              <a:extLst>
                <a:ext uri="{FF2B5EF4-FFF2-40B4-BE49-F238E27FC236}">
                  <a16:creationId xmlns:a16="http://schemas.microsoft.com/office/drawing/2014/main" id="{A4E08883-927F-488F-9B05-5B85200B5459}"/>
                </a:ext>
              </a:extLst>
            </p:cNvPr>
            <p:cNvSpPr/>
            <p:nvPr/>
          </p:nvSpPr>
          <p:spPr bwMode="auto">
            <a:xfrm>
              <a:off x="4421188" y="4905375"/>
              <a:ext cx="387350" cy="325438"/>
            </a:xfrm>
            <a:custGeom>
              <a:avLst/>
              <a:gdLst>
                <a:gd name="T0" fmla="*/ 38 w 145"/>
                <a:gd name="T1" fmla="*/ 0 h 122"/>
                <a:gd name="T2" fmla="*/ 0 w 145"/>
                <a:gd name="T3" fmla="*/ 43 h 122"/>
                <a:gd name="T4" fmla="*/ 69 w 145"/>
                <a:gd name="T5" fmla="*/ 89 h 122"/>
                <a:gd name="T6" fmla="*/ 143 w 145"/>
                <a:gd name="T7" fmla="*/ 122 h 122"/>
                <a:gd name="T8" fmla="*/ 143 w 145"/>
                <a:gd name="T9" fmla="*/ 103 h 122"/>
                <a:gd name="T10" fmla="*/ 134 w 145"/>
                <a:gd name="T11" fmla="*/ 75 h 122"/>
                <a:gd name="T12" fmla="*/ 99 w 145"/>
                <a:gd name="T13" fmla="*/ 34 h 122"/>
                <a:gd name="T14" fmla="*/ 38 w 145"/>
                <a:gd name="T1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22">
                  <a:moveTo>
                    <a:pt x="38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69" y="89"/>
                    <a:pt x="69" y="89"/>
                    <a:pt x="69" y="89"/>
                  </a:cubicBezTo>
                  <a:cubicBezTo>
                    <a:pt x="143" y="122"/>
                    <a:pt x="143" y="122"/>
                    <a:pt x="143" y="122"/>
                  </a:cubicBezTo>
                  <a:cubicBezTo>
                    <a:pt x="143" y="122"/>
                    <a:pt x="145" y="114"/>
                    <a:pt x="143" y="103"/>
                  </a:cubicBezTo>
                  <a:cubicBezTo>
                    <a:pt x="143" y="97"/>
                    <a:pt x="144" y="85"/>
                    <a:pt x="134" y="75"/>
                  </a:cubicBezTo>
                  <a:cubicBezTo>
                    <a:pt x="122" y="61"/>
                    <a:pt x="99" y="34"/>
                    <a:pt x="99" y="34"/>
                  </a:cubicBezTo>
                  <a:lnTo>
                    <a:pt x="38" y="0"/>
                  </a:lnTo>
                  <a:close/>
                </a:path>
              </a:pathLst>
            </a:custGeom>
            <a:solidFill>
              <a:srgbClr val="243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î$lïḍè">
              <a:extLst>
                <a:ext uri="{FF2B5EF4-FFF2-40B4-BE49-F238E27FC236}">
                  <a16:creationId xmlns:a16="http://schemas.microsoft.com/office/drawing/2014/main" id="{9EFB2571-3E10-4D61-84F0-F4584F66CE8F}"/>
                </a:ext>
              </a:extLst>
            </p:cNvPr>
            <p:cNvSpPr/>
            <p:nvPr/>
          </p:nvSpPr>
          <p:spPr bwMode="auto">
            <a:xfrm>
              <a:off x="4522788" y="3154363"/>
              <a:ext cx="268287" cy="276225"/>
            </a:xfrm>
            <a:custGeom>
              <a:avLst/>
              <a:gdLst>
                <a:gd name="T0" fmla="*/ 30 w 100"/>
                <a:gd name="T1" fmla="*/ 0 h 104"/>
                <a:gd name="T2" fmla="*/ 0 w 100"/>
                <a:gd name="T3" fmla="*/ 40 h 104"/>
                <a:gd name="T4" fmla="*/ 50 w 100"/>
                <a:gd name="T5" fmla="*/ 104 h 104"/>
                <a:gd name="T6" fmla="*/ 100 w 100"/>
                <a:gd name="T7" fmla="*/ 27 h 104"/>
                <a:gd name="T8" fmla="*/ 30 w 100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4">
                  <a:moveTo>
                    <a:pt x="30" y="0"/>
                  </a:moveTo>
                  <a:cubicBezTo>
                    <a:pt x="30" y="0"/>
                    <a:pt x="18" y="21"/>
                    <a:pt x="0" y="40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70" y="40"/>
                    <a:pt x="100" y="27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îś1ídé">
              <a:extLst>
                <a:ext uri="{FF2B5EF4-FFF2-40B4-BE49-F238E27FC236}">
                  <a16:creationId xmlns:a16="http://schemas.microsoft.com/office/drawing/2014/main" id="{F4CEB4D0-835C-4A70-B78E-A064FD95E89E}"/>
                </a:ext>
              </a:extLst>
            </p:cNvPr>
            <p:cNvSpPr/>
            <p:nvPr/>
          </p:nvSpPr>
          <p:spPr bwMode="auto">
            <a:xfrm>
              <a:off x="4565650" y="2916238"/>
              <a:ext cx="363537" cy="347663"/>
            </a:xfrm>
            <a:custGeom>
              <a:avLst/>
              <a:gdLst>
                <a:gd name="T0" fmla="*/ 119 w 136"/>
                <a:gd name="T1" fmla="*/ 48 h 130"/>
                <a:gd name="T2" fmla="*/ 128 w 136"/>
                <a:gd name="T3" fmla="*/ 54 h 130"/>
                <a:gd name="T4" fmla="*/ 135 w 136"/>
                <a:gd name="T5" fmla="*/ 59 h 130"/>
                <a:gd name="T6" fmla="*/ 125 w 136"/>
                <a:gd name="T7" fmla="*/ 72 h 130"/>
                <a:gd name="T8" fmla="*/ 123 w 136"/>
                <a:gd name="T9" fmla="*/ 95 h 130"/>
                <a:gd name="T10" fmla="*/ 88 w 136"/>
                <a:gd name="T11" fmla="*/ 129 h 130"/>
                <a:gd name="T12" fmla="*/ 3 w 136"/>
                <a:gd name="T13" fmla="*/ 62 h 130"/>
                <a:gd name="T14" fmla="*/ 11 w 136"/>
                <a:gd name="T15" fmla="*/ 21 h 130"/>
                <a:gd name="T16" fmla="*/ 54 w 136"/>
                <a:gd name="T17" fmla="*/ 0 h 130"/>
                <a:gd name="T18" fmla="*/ 81 w 136"/>
                <a:gd name="T19" fmla="*/ 8 h 130"/>
                <a:gd name="T20" fmla="*/ 110 w 136"/>
                <a:gd name="T21" fmla="*/ 12 h 130"/>
                <a:gd name="T22" fmla="*/ 119 w 136"/>
                <a:gd name="T23" fmla="*/ 4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6" h="130">
                  <a:moveTo>
                    <a:pt x="119" y="48"/>
                  </a:moveTo>
                  <a:cubicBezTo>
                    <a:pt x="121" y="52"/>
                    <a:pt x="124" y="53"/>
                    <a:pt x="128" y="54"/>
                  </a:cubicBezTo>
                  <a:cubicBezTo>
                    <a:pt x="131" y="55"/>
                    <a:pt x="135" y="56"/>
                    <a:pt x="135" y="59"/>
                  </a:cubicBezTo>
                  <a:cubicBezTo>
                    <a:pt x="136" y="64"/>
                    <a:pt x="127" y="68"/>
                    <a:pt x="125" y="72"/>
                  </a:cubicBezTo>
                  <a:cubicBezTo>
                    <a:pt x="123" y="79"/>
                    <a:pt x="123" y="88"/>
                    <a:pt x="123" y="95"/>
                  </a:cubicBezTo>
                  <a:cubicBezTo>
                    <a:pt x="123" y="118"/>
                    <a:pt x="112" y="129"/>
                    <a:pt x="88" y="129"/>
                  </a:cubicBezTo>
                  <a:cubicBezTo>
                    <a:pt x="41" y="130"/>
                    <a:pt x="11" y="99"/>
                    <a:pt x="3" y="62"/>
                  </a:cubicBezTo>
                  <a:cubicBezTo>
                    <a:pt x="0" y="49"/>
                    <a:pt x="4" y="33"/>
                    <a:pt x="11" y="21"/>
                  </a:cubicBezTo>
                  <a:cubicBezTo>
                    <a:pt x="18" y="7"/>
                    <a:pt x="39" y="1"/>
                    <a:pt x="54" y="0"/>
                  </a:cubicBezTo>
                  <a:cubicBezTo>
                    <a:pt x="63" y="0"/>
                    <a:pt x="73" y="4"/>
                    <a:pt x="81" y="8"/>
                  </a:cubicBezTo>
                  <a:cubicBezTo>
                    <a:pt x="88" y="12"/>
                    <a:pt x="105" y="5"/>
                    <a:pt x="110" y="12"/>
                  </a:cubicBezTo>
                  <a:cubicBezTo>
                    <a:pt x="110" y="12"/>
                    <a:pt x="116" y="38"/>
                    <a:pt x="119" y="48"/>
                  </a:cubicBez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ïśḻíďè">
              <a:extLst>
                <a:ext uri="{FF2B5EF4-FFF2-40B4-BE49-F238E27FC236}">
                  <a16:creationId xmlns:a16="http://schemas.microsoft.com/office/drawing/2014/main" id="{89E7A8A0-AC1B-4089-8976-F5D6C077E4DE}"/>
                </a:ext>
              </a:extLst>
            </p:cNvPr>
            <p:cNvSpPr/>
            <p:nvPr/>
          </p:nvSpPr>
          <p:spPr bwMode="auto">
            <a:xfrm>
              <a:off x="4833938" y="3017838"/>
              <a:ext cx="28575" cy="30163"/>
            </a:xfrm>
            <a:custGeom>
              <a:avLst/>
              <a:gdLst>
                <a:gd name="T0" fmla="*/ 10 w 11"/>
                <a:gd name="T1" fmla="*/ 4 h 11"/>
                <a:gd name="T2" fmla="*/ 6 w 11"/>
                <a:gd name="T3" fmla="*/ 10 h 11"/>
                <a:gd name="T4" fmla="*/ 0 w 11"/>
                <a:gd name="T5" fmla="*/ 7 h 11"/>
                <a:gd name="T6" fmla="*/ 4 w 11"/>
                <a:gd name="T7" fmla="*/ 1 h 11"/>
                <a:gd name="T8" fmla="*/ 10 w 11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10" y="4"/>
                  </a:moveTo>
                  <a:cubicBezTo>
                    <a:pt x="11" y="7"/>
                    <a:pt x="9" y="10"/>
                    <a:pt x="6" y="10"/>
                  </a:cubicBezTo>
                  <a:cubicBezTo>
                    <a:pt x="4" y="11"/>
                    <a:pt x="1" y="9"/>
                    <a:pt x="0" y="7"/>
                  </a:cubicBezTo>
                  <a:cubicBezTo>
                    <a:pt x="0" y="4"/>
                    <a:pt x="1" y="1"/>
                    <a:pt x="4" y="1"/>
                  </a:cubicBezTo>
                  <a:cubicBezTo>
                    <a:pt x="7" y="0"/>
                    <a:pt x="9" y="2"/>
                    <a:pt x="10" y="4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îSľïḓe">
              <a:extLst>
                <a:ext uri="{FF2B5EF4-FFF2-40B4-BE49-F238E27FC236}">
                  <a16:creationId xmlns:a16="http://schemas.microsoft.com/office/drawing/2014/main" id="{07F66EEF-9EBD-4601-9525-AD0E669B9CCC}"/>
                </a:ext>
              </a:extLst>
            </p:cNvPr>
            <p:cNvSpPr/>
            <p:nvPr/>
          </p:nvSpPr>
          <p:spPr bwMode="auto">
            <a:xfrm>
              <a:off x="4497388" y="2754313"/>
              <a:ext cx="428625" cy="428625"/>
            </a:xfrm>
            <a:custGeom>
              <a:avLst/>
              <a:gdLst>
                <a:gd name="T0" fmla="*/ 64 w 161"/>
                <a:gd name="T1" fmla="*/ 35 h 161"/>
                <a:gd name="T2" fmla="*/ 133 w 161"/>
                <a:gd name="T3" fmla="*/ 34 h 161"/>
                <a:gd name="T4" fmla="*/ 161 w 161"/>
                <a:gd name="T5" fmla="*/ 43 h 161"/>
                <a:gd name="T6" fmla="*/ 95 w 161"/>
                <a:gd name="T7" fmla="*/ 86 h 161"/>
                <a:gd name="T8" fmla="*/ 80 w 161"/>
                <a:gd name="T9" fmla="*/ 125 h 161"/>
                <a:gd name="T10" fmla="*/ 64 w 161"/>
                <a:gd name="T11" fmla="*/ 105 h 161"/>
                <a:gd name="T12" fmla="*/ 51 w 161"/>
                <a:gd name="T13" fmla="*/ 119 h 161"/>
                <a:gd name="T14" fmla="*/ 66 w 161"/>
                <a:gd name="T15" fmla="*/ 133 h 161"/>
                <a:gd name="T16" fmla="*/ 57 w 161"/>
                <a:gd name="T17" fmla="*/ 161 h 161"/>
                <a:gd name="T18" fmla="*/ 36 w 161"/>
                <a:gd name="T19" fmla="*/ 154 h 161"/>
                <a:gd name="T20" fmla="*/ 10 w 161"/>
                <a:gd name="T21" fmla="*/ 113 h 161"/>
                <a:gd name="T22" fmla="*/ 35 w 161"/>
                <a:gd name="T23" fmla="*/ 60 h 161"/>
                <a:gd name="T24" fmla="*/ 64 w 161"/>
                <a:gd name="T25" fmla="*/ 3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1" h="161">
                  <a:moveTo>
                    <a:pt x="64" y="35"/>
                  </a:moveTo>
                  <a:cubicBezTo>
                    <a:pt x="74" y="29"/>
                    <a:pt x="99" y="0"/>
                    <a:pt x="133" y="34"/>
                  </a:cubicBezTo>
                  <a:cubicBezTo>
                    <a:pt x="147" y="48"/>
                    <a:pt x="142" y="46"/>
                    <a:pt x="161" y="43"/>
                  </a:cubicBezTo>
                  <a:cubicBezTo>
                    <a:pt x="161" y="68"/>
                    <a:pt x="125" y="86"/>
                    <a:pt x="95" y="86"/>
                  </a:cubicBezTo>
                  <a:cubicBezTo>
                    <a:pt x="89" y="86"/>
                    <a:pt x="81" y="121"/>
                    <a:pt x="80" y="125"/>
                  </a:cubicBezTo>
                  <a:cubicBezTo>
                    <a:pt x="68" y="122"/>
                    <a:pt x="73" y="112"/>
                    <a:pt x="64" y="105"/>
                  </a:cubicBezTo>
                  <a:cubicBezTo>
                    <a:pt x="55" y="99"/>
                    <a:pt x="48" y="110"/>
                    <a:pt x="51" y="119"/>
                  </a:cubicBezTo>
                  <a:cubicBezTo>
                    <a:pt x="55" y="132"/>
                    <a:pt x="66" y="133"/>
                    <a:pt x="66" y="133"/>
                  </a:cubicBezTo>
                  <a:cubicBezTo>
                    <a:pt x="66" y="140"/>
                    <a:pt x="60" y="154"/>
                    <a:pt x="57" y="161"/>
                  </a:cubicBezTo>
                  <a:cubicBezTo>
                    <a:pt x="51" y="157"/>
                    <a:pt x="40" y="158"/>
                    <a:pt x="36" y="154"/>
                  </a:cubicBezTo>
                  <a:cubicBezTo>
                    <a:pt x="32" y="151"/>
                    <a:pt x="15" y="121"/>
                    <a:pt x="10" y="113"/>
                  </a:cubicBezTo>
                  <a:cubicBezTo>
                    <a:pt x="0" y="95"/>
                    <a:pt x="4" y="49"/>
                    <a:pt x="35" y="60"/>
                  </a:cubicBezTo>
                  <a:cubicBezTo>
                    <a:pt x="44" y="50"/>
                    <a:pt x="54" y="41"/>
                    <a:pt x="64" y="35"/>
                  </a:cubicBezTo>
                  <a:close/>
                </a:path>
              </a:pathLst>
            </a:custGeom>
            <a:solidFill>
              <a:srgbClr val="940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îsḷîḓè">
              <a:extLst>
                <a:ext uri="{FF2B5EF4-FFF2-40B4-BE49-F238E27FC236}">
                  <a16:creationId xmlns:a16="http://schemas.microsoft.com/office/drawing/2014/main" id="{90709E43-1359-4313-AA4D-9F5D2FA9E0A6}"/>
                </a:ext>
              </a:extLst>
            </p:cNvPr>
            <p:cNvSpPr/>
            <p:nvPr/>
          </p:nvSpPr>
          <p:spPr bwMode="auto">
            <a:xfrm>
              <a:off x="4576763" y="2790825"/>
              <a:ext cx="117475" cy="165100"/>
            </a:xfrm>
            <a:custGeom>
              <a:avLst/>
              <a:gdLst>
                <a:gd name="T0" fmla="*/ 10 w 44"/>
                <a:gd name="T1" fmla="*/ 35 h 62"/>
                <a:gd name="T2" fmla="*/ 27 w 44"/>
                <a:gd name="T3" fmla="*/ 19 h 62"/>
                <a:gd name="T4" fmla="*/ 40 w 44"/>
                <a:gd name="T5" fmla="*/ 0 h 62"/>
                <a:gd name="T6" fmla="*/ 43 w 44"/>
                <a:gd name="T7" fmla="*/ 15 h 62"/>
                <a:gd name="T8" fmla="*/ 33 w 44"/>
                <a:gd name="T9" fmla="*/ 27 h 62"/>
                <a:gd name="T10" fmla="*/ 23 w 44"/>
                <a:gd name="T11" fmla="*/ 40 h 62"/>
                <a:gd name="T12" fmla="*/ 10 w 44"/>
                <a:gd name="T13" fmla="*/ 58 h 62"/>
                <a:gd name="T14" fmla="*/ 10 w 44"/>
                <a:gd name="T15" fmla="*/ 3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62">
                  <a:moveTo>
                    <a:pt x="10" y="35"/>
                  </a:moveTo>
                  <a:cubicBezTo>
                    <a:pt x="15" y="29"/>
                    <a:pt x="21" y="24"/>
                    <a:pt x="27" y="19"/>
                  </a:cubicBezTo>
                  <a:cubicBezTo>
                    <a:pt x="33" y="14"/>
                    <a:pt x="38" y="8"/>
                    <a:pt x="40" y="0"/>
                  </a:cubicBezTo>
                  <a:cubicBezTo>
                    <a:pt x="44" y="4"/>
                    <a:pt x="44" y="10"/>
                    <a:pt x="43" y="15"/>
                  </a:cubicBezTo>
                  <a:cubicBezTo>
                    <a:pt x="41" y="19"/>
                    <a:pt x="37" y="23"/>
                    <a:pt x="33" y="27"/>
                  </a:cubicBezTo>
                  <a:cubicBezTo>
                    <a:pt x="29" y="31"/>
                    <a:pt x="24" y="35"/>
                    <a:pt x="23" y="40"/>
                  </a:cubicBezTo>
                  <a:cubicBezTo>
                    <a:pt x="22" y="47"/>
                    <a:pt x="23" y="62"/>
                    <a:pt x="10" y="58"/>
                  </a:cubicBezTo>
                  <a:cubicBezTo>
                    <a:pt x="0" y="55"/>
                    <a:pt x="6" y="40"/>
                    <a:pt x="10" y="35"/>
                  </a:cubicBezTo>
                  <a:close/>
                </a:path>
              </a:pathLst>
            </a:custGeom>
            <a:solidFill>
              <a:srgbClr val="940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îṧḻiḓè">
              <a:extLst>
                <a:ext uri="{FF2B5EF4-FFF2-40B4-BE49-F238E27FC236}">
                  <a16:creationId xmlns:a16="http://schemas.microsoft.com/office/drawing/2014/main" id="{516D5364-79CD-4387-9863-048B00DC7134}"/>
                </a:ext>
              </a:extLst>
            </p:cNvPr>
            <p:cNvSpPr/>
            <p:nvPr/>
          </p:nvSpPr>
          <p:spPr bwMode="auto">
            <a:xfrm>
              <a:off x="4498975" y="2828925"/>
              <a:ext cx="136525" cy="109538"/>
            </a:xfrm>
            <a:custGeom>
              <a:avLst/>
              <a:gdLst>
                <a:gd name="T0" fmla="*/ 2 w 51"/>
                <a:gd name="T1" fmla="*/ 41 h 41"/>
                <a:gd name="T2" fmla="*/ 23 w 51"/>
                <a:gd name="T3" fmla="*/ 33 h 41"/>
                <a:gd name="T4" fmla="*/ 35 w 51"/>
                <a:gd name="T5" fmla="*/ 35 h 41"/>
                <a:gd name="T6" fmla="*/ 36 w 51"/>
                <a:gd name="T7" fmla="*/ 36 h 41"/>
                <a:gd name="T8" fmla="*/ 36 w 51"/>
                <a:gd name="T9" fmla="*/ 36 h 41"/>
                <a:gd name="T10" fmla="*/ 37 w 51"/>
                <a:gd name="T11" fmla="*/ 36 h 41"/>
                <a:gd name="T12" fmla="*/ 36 w 51"/>
                <a:gd name="T13" fmla="*/ 36 h 41"/>
                <a:gd name="T14" fmla="*/ 36 w 51"/>
                <a:gd name="T15" fmla="*/ 36 h 41"/>
                <a:gd name="T16" fmla="*/ 37 w 51"/>
                <a:gd name="T17" fmla="*/ 36 h 41"/>
                <a:gd name="T18" fmla="*/ 36 w 51"/>
                <a:gd name="T19" fmla="*/ 36 h 41"/>
                <a:gd name="T20" fmla="*/ 36 w 51"/>
                <a:gd name="T21" fmla="*/ 36 h 41"/>
                <a:gd name="T22" fmla="*/ 36 w 51"/>
                <a:gd name="T23" fmla="*/ 36 h 41"/>
                <a:gd name="T24" fmla="*/ 36 w 51"/>
                <a:gd name="T25" fmla="*/ 36 h 41"/>
                <a:gd name="T26" fmla="*/ 36 w 51"/>
                <a:gd name="T27" fmla="*/ 36 h 41"/>
                <a:gd name="T28" fmla="*/ 36 w 51"/>
                <a:gd name="T29" fmla="*/ 36 h 41"/>
                <a:gd name="T30" fmla="*/ 36 w 51"/>
                <a:gd name="T31" fmla="*/ 36 h 41"/>
                <a:gd name="T32" fmla="*/ 36 w 51"/>
                <a:gd name="T33" fmla="*/ 36 h 41"/>
                <a:gd name="T34" fmla="*/ 37 w 51"/>
                <a:gd name="T35" fmla="*/ 36 h 41"/>
                <a:gd name="T36" fmla="*/ 37 w 51"/>
                <a:gd name="T37" fmla="*/ 36 h 41"/>
                <a:gd name="T38" fmla="*/ 36 w 51"/>
                <a:gd name="T39" fmla="*/ 36 h 41"/>
                <a:gd name="T40" fmla="*/ 37 w 51"/>
                <a:gd name="T41" fmla="*/ 36 h 41"/>
                <a:gd name="T42" fmla="*/ 37 w 51"/>
                <a:gd name="T43" fmla="*/ 36 h 41"/>
                <a:gd name="T44" fmla="*/ 37 w 51"/>
                <a:gd name="T45" fmla="*/ 36 h 41"/>
                <a:gd name="T46" fmla="*/ 37 w 51"/>
                <a:gd name="T47" fmla="*/ 36 h 41"/>
                <a:gd name="T48" fmla="*/ 37 w 51"/>
                <a:gd name="T49" fmla="*/ 36 h 41"/>
                <a:gd name="T50" fmla="*/ 37 w 51"/>
                <a:gd name="T51" fmla="*/ 36 h 41"/>
                <a:gd name="T52" fmla="*/ 37 w 51"/>
                <a:gd name="T53" fmla="*/ 36 h 41"/>
                <a:gd name="T54" fmla="*/ 36 w 51"/>
                <a:gd name="T55" fmla="*/ 37 h 41"/>
                <a:gd name="T56" fmla="*/ 37 w 51"/>
                <a:gd name="T57" fmla="*/ 37 h 41"/>
                <a:gd name="T58" fmla="*/ 37 w 51"/>
                <a:gd name="T59" fmla="*/ 32 h 41"/>
                <a:gd name="T60" fmla="*/ 37 w 51"/>
                <a:gd name="T61" fmla="*/ 24 h 41"/>
                <a:gd name="T62" fmla="*/ 37 w 51"/>
                <a:gd name="T63" fmla="*/ 22 h 41"/>
                <a:gd name="T64" fmla="*/ 37 w 51"/>
                <a:gd name="T65" fmla="*/ 22 h 41"/>
                <a:gd name="T66" fmla="*/ 41 w 51"/>
                <a:gd name="T67" fmla="*/ 11 h 41"/>
                <a:gd name="T68" fmla="*/ 51 w 51"/>
                <a:gd name="T69" fmla="*/ 3 h 41"/>
                <a:gd name="T70" fmla="*/ 49 w 51"/>
                <a:gd name="T71" fmla="*/ 0 h 41"/>
                <a:gd name="T72" fmla="*/ 39 w 51"/>
                <a:gd name="T73" fmla="*/ 10 h 41"/>
                <a:gd name="T74" fmla="*/ 35 w 51"/>
                <a:gd name="T75" fmla="*/ 22 h 41"/>
                <a:gd name="T76" fmla="*/ 35 w 51"/>
                <a:gd name="T77" fmla="*/ 23 h 41"/>
                <a:gd name="T78" fmla="*/ 35 w 51"/>
                <a:gd name="T79" fmla="*/ 24 h 41"/>
                <a:gd name="T80" fmla="*/ 34 w 51"/>
                <a:gd name="T81" fmla="*/ 32 h 41"/>
                <a:gd name="T82" fmla="*/ 35 w 51"/>
                <a:gd name="T83" fmla="*/ 37 h 41"/>
                <a:gd name="T84" fmla="*/ 35 w 51"/>
                <a:gd name="T85" fmla="*/ 38 h 41"/>
                <a:gd name="T86" fmla="*/ 36 w 51"/>
                <a:gd name="T87" fmla="*/ 38 h 41"/>
                <a:gd name="T88" fmla="*/ 37 w 51"/>
                <a:gd name="T89" fmla="*/ 38 h 41"/>
                <a:gd name="T90" fmla="*/ 38 w 51"/>
                <a:gd name="T91" fmla="*/ 38 h 41"/>
                <a:gd name="T92" fmla="*/ 39 w 51"/>
                <a:gd name="T93" fmla="*/ 36 h 41"/>
                <a:gd name="T94" fmla="*/ 39 w 51"/>
                <a:gd name="T95" fmla="*/ 35 h 41"/>
                <a:gd name="T96" fmla="*/ 38 w 51"/>
                <a:gd name="T97" fmla="*/ 34 h 41"/>
                <a:gd name="T98" fmla="*/ 36 w 51"/>
                <a:gd name="T99" fmla="*/ 33 h 41"/>
                <a:gd name="T100" fmla="*/ 23 w 51"/>
                <a:gd name="T101" fmla="*/ 30 h 41"/>
                <a:gd name="T102" fmla="*/ 0 w 51"/>
                <a:gd name="T103" fmla="*/ 39 h 41"/>
                <a:gd name="T104" fmla="*/ 2 w 51"/>
                <a:gd name="T10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1">
                  <a:moveTo>
                    <a:pt x="2" y="41"/>
                  </a:moveTo>
                  <a:cubicBezTo>
                    <a:pt x="7" y="36"/>
                    <a:pt x="15" y="33"/>
                    <a:pt x="23" y="33"/>
                  </a:cubicBezTo>
                  <a:cubicBezTo>
                    <a:pt x="27" y="33"/>
                    <a:pt x="31" y="34"/>
                    <a:pt x="35" y="35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35"/>
                    <a:pt x="37" y="33"/>
                    <a:pt x="37" y="32"/>
                  </a:cubicBezTo>
                  <a:cubicBezTo>
                    <a:pt x="37" y="29"/>
                    <a:pt x="37" y="27"/>
                    <a:pt x="37" y="24"/>
                  </a:cubicBezTo>
                  <a:cubicBezTo>
                    <a:pt x="37" y="23"/>
                    <a:pt x="37" y="23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18"/>
                    <a:pt x="39" y="14"/>
                    <a:pt x="41" y="11"/>
                  </a:cubicBezTo>
                  <a:cubicBezTo>
                    <a:pt x="44" y="8"/>
                    <a:pt x="47" y="5"/>
                    <a:pt x="51" y="3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6" y="3"/>
                    <a:pt x="42" y="6"/>
                    <a:pt x="39" y="10"/>
                  </a:cubicBezTo>
                  <a:cubicBezTo>
                    <a:pt x="37" y="13"/>
                    <a:pt x="35" y="17"/>
                    <a:pt x="35" y="22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4"/>
                  </a:cubicBezTo>
                  <a:cubicBezTo>
                    <a:pt x="35" y="27"/>
                    <a:pt x="34" y="29"/>
                    <a:pt x="34" y="32"/>
                  </a:cubicBezTo>
                  <a:cubicBezTo>
                    <a:pt x="34" y="33"/>
                    <a:pt x="34" y="35"/>
                    <a:pt x="35" y="37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8" y="38"/>
                    <a:pt x="38" y="38"/>
                  </a:cubicBezTo>
                  <a:cubicBezTo>
                    <a:pt x="39" y="37"/>
                    <a:pt x="39" y="37"/>
                    <a:pt x="39" y="36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39" y="35"/>
                    <a:pt x="38" y="34"/>
                    <a:pt x="38" y="34"/>
                  </a:cubicBezTo>
                  <a:cubicBezTo>
                    <a:pt x="37" y="33"/>
                    <a:pt x="37" y="33"/>
                    <a:pt x="36" y="33"/>
                  </a:cubicBezTo>
                  <a:cubicBezTo>
                    <a:pt x="32" y="31"/>
                    <a:pt x="28" y="30"/>
                    <a:pt x="23" y="30"/>
                  </a:cubicBezTo>
                  <a:cubicBezTo>
                    <a:pt x="15" y="30"/>
                    <a:pt x="6" y="33"/>
                    <a:pt x="0" y="39"/>
                  </a:cubicBezTo>
                  <a:cubicBezTo>
                    <a:pt x="2" y="41"/>
                    <a:pt x="2" y="41"/>
                    <a:pt x="2" y="41"/>
                  </a:cubicBezTo>
                  <a:close/>
                </a:path>
              </a:pathLst>
            </a:custGeom>
            <a:solidFill>
              <a:srgbClr val="940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ïšļîḑê">
              <a:extLst>
                <a:ext uri="{FF2B5EF4-FFF2-40B4-BE49-F238E27FC236}">
                  <a16:creationId xmlns:a16="http://schemas.microsoft.com/office/drawing/2014/main" id="{08F21EBB-C06F-4590-B1F7-9A7347D4A836}"/>
                </a:ext>
              </a:extLst>
            </p:cNvPr>
            <p:cNvSpPr/>
            <p:nvPr/>
          </p:nvSpPr>
          <p:spPr bwMode="auto">
            <a:xfrm>
              <a:off x="4830763" y="3135313"/>
              <a:ext cx="66675" cy="15875"/>
            </a:xfrm>
            <a:custGeom>
              <a:avLst/>
              <a:gdLst>
                <a:gd name="T0" fmla="*/ 0 w 25"/>
                <a:gd name="T1" fmla="*/ 2 h 6"/>
                <a:gd name="T2" fmla="*/ 12 w 25"/>
                <a:gd name="T3" fmla="*/ 6 h 6"/>
                <a:gd name="T4" fmla="*/ 25 w 25"/>
                <a:gd name="T5" fmla="*/ 3 h 6"/>
                <a:gd name="T6" fmla="*/ 24 w 25"/>
                <a:gd name="T7" fmla="*/ 1 h 6"/>
                <a:gd name="T8" fmla="*/ 12 w 25"/>
                <a:gd name="T9" fmla="*/ 4 h 6"/>
                <a:gd name="T10" fmla="*/ 2 w 25"/>
                <a:gd name="T11" fmla="*/ 0 h 6"/>
                <a:gd name="T12" fmla="*/ 0 w 25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0" y="2"/>
                  </a:moveTo>
                  <a:cubicBezTo>
                    <a:pt x="4" y="5"/>
                    <a:pt x="8" y="6"/>
                    <a:pt x="12" y="6"/>
                  </a:cubicBezTo>
                  <a:cubicBezTo>
                    <a:pt x="17" y="6"/>
                    <a:pt x="21" y="5"/>
                    <a:pt x="25" y="3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0" y="2"/>
                    <a:pt x="16" y="4"/>
                    <a:pt x="12" y="4"/>
                  </a:cubicBezTo>
                  <a:cubicBezTo>
                    <a:pt x="8" y="4"/>
                    <a:pt x="5" y="3"/>
                    <a:pt x="2" y="0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ïṣļíḓè">
              <a:extLst>
                <a:ext uri="{FF2B5EF4-FFF2-40B4-BE49-F238E27FC236}">
                  <a16:creationId xmlns:a16="http://schemas.microsoft.com/office/drawing/2014/main" id="{76A5D0B8-46B7-48AD-84CF-96FD8DD455DD}"/>
                </a:ext>
              </a:extLst>
            </p:cNvPr>
            <p:cNvSpPr/>
            <p:nvPr/>
          </p:nvSpPr>
          <p:spPr bwMode="auto">
            <a:xfrm>
              <a:off x="4368800" y="4022725"/>
              <a:ext cx="960437" cy="1012825"/>
            </a:xfrm>
            <a:custGeom>
              <a:avLst/>
              <a:gdLst>
                <a:gd name="T0" fmla="*/ 14 w 360"/>
                <a:gd name="T1" fmla="*/ 0 h 380"/>
                <a:gd name="T2" fmla="*/ 9 w 360"/>
                <a:gd name="T3" fmla="*/ 31 h 380"/>
                <a:gd name="T4" fmla="*/ 84 w 360"/>
                <a:gd name="T5" fmla="*/ 141 h 380"/>
                <a:gd name="T6" fmla="*/ 244 w 360"/>
                <a:gd name="T7" fmla="*/ 162 h 380"/>
                <a:gd name="T8" fmla="*/ 119 w 360"/>
                <a:gd name="T9" fmla="*/ 333 h 380"/>
                <a:gd name="T10" fmla="*/ 187 w 360"/>
                <a:gd name="T11" fmla="*/ 380 h 380"/>
                <a:gd name="T12" fmla="*/ 339 w 360"/>
                <a:gd name="T13" fmla="*/ 186 h 380"/>
                <a:gd name="T14" fmla="*/ 349 w 360"/>
                <a:gd name="T15" fmla="*/ 134 h 380"/>
                <a:gd name="T16" fmla="*/ 182 w 360"/>
                <a:gd name="T17" fmla="*/ 43 h 380"/>
                <a:gd name="T18" fmla="*/ 14 w 360"/>
                <a:gd name="T19" fmla="*/ 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0" h="380">
                  <a:moveTo>
                    <a:pt x="14" y="0"/>
                  </a:moveTo>
                  <a:cubicBezTo>
                    <a:pt x="9" y="31"/>
                    <a:pt x="9" y="31"/>
                    <a:pt x="9" y="31"/>
                  </a:cubicBezTo>
                  <a:cubicBezTo>
                    <a:pt x="0" y="82"/>
                    <a:pt x="33" y="131"/>
                    <a:pt x="84" y="141"/>
                  </a:cubicBezTo>
                  <a:cubicBezTo>
                    <a:pt x="244" y="162"/>
                    <a:pt x="244" y="162"/>
                    <a:pt x="244" y="162"/>
                  </a:cubicBezTo>
                  <a:cubicBezTo>
                    <a:pt x="119" y="333"/>
                    <a:pt x="119" y="333"/>
                    <a:pt x="119" y="333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301" y="227"/>
                    <a:pt x="339" y="186"/>
                  </a:cubicBezTo>
                  <a:cubicBezTo>
                    <a:pt x="346" y="179"/>
                    <a:pt x="360" y="143"/>
                    <a:pt x="349" y="134"/>
                  </a:cubicBezTo>
                  <a:cubicBezTo>
                    <a:pt x="286" y="80"/>
                    <a:pt x="182" y="43"/>
                    <a:pt x="182" y="43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313B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iśḻiḋe">
              <a:extLst>
                <a:ext uri="{FF2B5EF4-FFF2-40B4-BE49-F238E27FC236}">
                  <a16:creationId xmlns:a16="http://schemas.microsoft.com/office/drawing/2014/main" id="{E4DA10B7-F3B1-4444-ACDB-EA80031D34A1}"/>
                </a:ext>
              </a:extLst>
            </p:cNvPr>
            <p:cNvSpPr/>
            <p:nvPr/>
          </p:nvSpPr>
          <p:spPr bwMode="auto">
            <a:xfrm>
              <a:off x="4581525" y="4910138"/>
              <a:ext cx="387350" cy="323850"/>
            </a:xfrm>
            <a:custGeom>
              <a:avLst/>
              <a:gdLst>
                <a:gd name="T0" fmla="*/ 39 w 145"/>
                <a:gd name="T1" fmla="*/ 0 h 121"/>
                <a:gd name="T2" fmla="*/ 0 w 145"/>
                <a:gd name="T3" fmla="*/ 42 h 121"/>
                <a:gd name="T4" fmla="*/ 69 w 145"/>
                <a:gd name="T5" fmla="*/ 88 h 121"/>
                <a:gd name="T6" fmla="*/ 144 w 145"/>
                <a:gd name="T7" fmla="*/ 121 h 121"/>
                <a:gd name="T8" fmla="*/ 144 w 145"/>
                <a:gd name="T9" fmla="*/ 102 h 121"/>
                <a:gd name="T10" fmla="*/ 134 w 145"/>
                <a:gd name="T11" fmla="*/ 74 h 121"/>
                <a:gd name="T12" fmla="*/ 100 w 145"/>
                <a:gd name="T13" fmla="*/ 33 h 121"/>
                <a:gd name="T14" fmla="*/ 39 w 145"/>
                <a:gd name="T1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21">
                  <a:moveTo>
                    <a:pt x="39" y="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69" y="88"/>
                    <a:pt x="69" y="88"/>
                    <a:pt x="69" y="88"/>
                  </a:cubicBezTo>
                  <a:cubicBezTo>
                    <a:pt x="144" y="121"/>
                    <a:pt x="144" y="121"/>
                    <a:pt x="144" y="121"/>
                  </a:cubicBezTo>
                  <a:cubicBezTo>
                    <a:pt x="144" y="121"/>
                    <a:pt x="145" y="113"/>
                    <a:pt x="144" y="102"/>
                  </a:cubicBezTo>
                  <a:cubicBezTo>
                    <a:pt x="143" y="96"/>
                    <a:pt x="144" y="84"/>
                    <a:pt x="134" y="74"/>
                  </a:cubicBezTo>
                  <a:cubicBezTo>
                    <a:pt x="123" y="60"/>
                    <a:pt x="100" y="33"/>
                    <a:pt x="100" y="33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2430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iṣļiḋè">
              <a:extLst>
                <a:ext uri="{FF2B5EF4-FFF2-40B4-BE49-F238E27FC236}">
                  <a16:creationId xmlns:a16="http://schemas.microsoft.com/office/drawing/2014/main" id="{243CC8DB-9518-4A5E-B250-27D598965284}"/>
                </a:ext>
              </a:extLst>
            </p:cNvPr>
            <p:cNvSpPr/>
            <p:nvPr/>
          </p:nvSpPr>
          <p:spPr bwMode="auto">
            <a:xfrm>
              <a:off x="4245292" y="3150394"/>
              <a:ext cx="517525" cy="1074738"/>
            </a:xfrm>
            <a:custGeom>
              <a:avLst/>
              <a:gdLst>
                <a:gd name="T0" fmla="*/ 70 w 194"/>
                <a:gd name="T1" fmla="*/ 4 h 403"/>
                <a:gd name="T2" fmla="*/ 25 w 194"/>
                <a:gd name="T3" fmla="*/ 78 h 403"/>
                <a:gd name="T4" fmla="*/ 17 w 194"/>
                <a:gd name="T5" fmla="*/ 337 h 403"/>
                <a:gd name="T6" fmla="*/ 194 w 194"/>
                <a:gd name="T7" fmla="*/ 333 h 403"/>
                <a:gd name="T8" fmla="*/ 170 w 194"/>
                <a:gd name="T9" fmla="*/ 176 h 403"/>
                <a:gd name="T10" fmla="*/ 146 w 194"/>
                <a:gd name="T11" fmla="*/ 55 h 403"/>
                <a:gd name="T12" fmla="*/ 70 w 194"/>
                <a:gd name="T13" fmla="*/ 4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" h="403">
                  <a:moveTo>
                    <a:pt x="70" y="4"/>
                  </a:moveTo>
                  <a:cubicBezTo>
                    <a:pt x="70" y="4"/>
                    <a:pt x="33" y="17"/>
                    <a:pt x="25" y="78"/>
                  </a:cubicBezTo>
                  <a:cubicBezTo>
                    <a:pt x="0" y="268"/>
                    <a:pt x="17" y="337"/>
                    <a:pt x="17" y="337"/>
                  </a:cubicBezTo>
                  <a:cubicBezTo>
                    <a:pt x="17" y="337"/>
                    <a:pt x="93" y="403"/>
                    <a:pt x="194" y="333"/>
                  </a:cubicBezTo>
                  <a:cubicBezTo>
                    <a:pt x="194" y="333"/>
                    <a:pt x="182" y="257"/>
                    <a:pt x="170" y="176"/>
                  </a:cubicBezTo>
                  <a:cubicBezTo>
                    <a:pt x="163" y="132"/>
                    <a:pt x="162" y="74"/>
                    <a:pt x="146" y="55"/>
                  </a:cubicBezTo>
                  <a:cubicBezTo>
                    <a:pt x="100" y="0"/>
                    <a:pt x="70" y="4"/>
                    <a:pt x="70" y="4"/>
                  </a:cubicBezTo>
                </a:path>
              </a:pathLst>
            </a:custGeom>
            <a:solidFill>
              <a:srgbClr val="F655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íšļïḓè">
              <a:extLst>
                <a:ext uri="{FF2B5EF4-FFF2-40B4-BE49-F238E27FC236}">
                  <a16:creationId xmlns:a16="http://schemas.microsoft.com/office/drawing/2014/main" id="{022C4089-ACB7-499E-862B-6E3356491D72}"/>
                </a:ext>
              </a:extLst>
            </p:cNvPr>
            <p:cNvSpPr/>
            <p:nvPr/>
          </p:nvSpPr>
          <p:spPr bwMode="auto">
            <a:xfrm>
              <a:off x="4787900" y="3711575"/>
              <a:ext cx="23812" cy="153988"/>
            </a:xfrm>
            <a:custGeom>
              <a:avLst/>
              <a:gdLst>
                <a:gd name="T0" fmla="*/ 1 w 9"/>
                <a:gd name="T1" fmla="*/ 3 h 58"/>
                <a:gd name="T2" fmla="*/ 1 w 9"/>
                <a:gd name="T3" fmla="*/ 3 h 58"/>
                <a:gd name="T4" fmla="*/ 9 w 9"/>
                <a:gd name="T5" fmla="*/ 58 h 58"/>
                <a:gd name="T6" fmla="*/ 9 w 9"/>
                <a:gd name="T7" fmla="*/ 58 h 58"/>
                <a:gd name="T8" fmla="*/ 1 w 9"/>
                <a:gd name="T9" fmla="*/ 3 h 58"/>
                <a:gd name="T10" fmla="*/ 1 w 9"/>
                <a:gd name="T11" fmla="*/ 3 h 58"/>
                <a:gd name="T12" fmla="*/ 1 w 9"/>
                <a:gd name="T13" fmla="*/ 3 h 58"/>
                <a:gd name="T14" fmla="*/ 1 w 9"/>
                <a:gd name="T15" fmla="*/ 3 h 58"/>
                <a:gd name="T16" fmla="*/ 1 w 9"/>
                <a:gd name="T17" fmla="*/ 3 h 58"/>
                <a:gd name="T18" fmla="*/ 0 w 9"/>
                <a:gd name="T19" fmla="*/ 2 h 58"/>
                <a:gd name="T20" fmla="*/ 1 w 9"/>
                <a:gd name="T21" fmla="*/ 3 h 58"/>
                <a:gd name="T22" fmla="*/ 0 w 9"/>
                <a:gd name="T23" fmla="*/ 2 h 58"/>
                <a:gd name="T24" fmla="*/ 0 w 9"/>
                <a:gd name="T25" fmla="*/ 1 h 58"/>
                <a:gd name="T26" fmla="*/ 0 w 9"/>
                <a:gd name="T27" fmla="*/ 2 h 58"/>
                <a:gd name="T28" fmla="*/ 0 w 9"/>
                <a:gd name="T29" fmla="*/ 1 h 58"/>
                <a:gd name="T30" fmla="*/ 0 w 9"/>
                <a:gd name="T31" fmla="*/ 1 h 58"/>
                <a:gd name="T32" fmla="*/ 0 w 9"/>
                <a:gd name="T33" fmla="*/ 1 h 58"/>
                <a:gd name="T34" fmla="*/ 0 w 9"/>
                <a:gd name="T35" fmla="*/ 1 h 58"/>
                <a:gd name="T36" fmla="*/ 0 w 9"/>
                <a:gd name="T37" fmla="*/ 0 h 58"/>
                <a:gd name="T38" fmla="*/ 0 w 9"/>
                <a:gd name="T39" fmla="*/ 0 h 58"/>
                <a:gd name="T40" fmla="*/ 0 w 9"/>
                <a:gd name="T4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58"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4" y="22"/>
                    <a:pt x="7" y="41"/>
                    <a:pt x="9" y="58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7" y="41"/>
                    <a:pt x="4" y="2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moveTo>
                    <a:pt x="0" y="2"/>
                  </a:moveTo>
                  <a:cubicBezTo>
                    <a:pt x="1" y="2"/>
                    <a:pt x="1" y="2"/>
                    <a:pt x="1" y="3"/>
                  </a:cubicBezTo>
                  <a:cubicBezTo>
                    <a:pt x="1" y="2"/>
                    <a:pt x="1" y="2"/>
                    <a:pt x="0" y="2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CBE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îşļîḓe">
              <a:extLst>
                <a:ext uri="{FF2B5EF4-FFF2-40B4-BE49-F238E27FC236}">
                  <a16:creationId xmlns:a16="http://schemas.microsoft.com/office/drawing/2014/main" id="{6DECF7B3-41EA-478D-8160-9FD66AAABB11}"/>
                </a:ext>
              </a:extLst>
            </p:cNvPr>
            <p:cNvSpPr/>
            <p:nvPr/>
          </p:nvSpPr>
          <p:spPr bwMode="auto">
            <a:xfrm>
              <a:off x="4851400" y="41370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12C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ï$ľîde">
              <a:extLst>
                <a:ext uri="{FF2B5EF4-FFF2-40B4-BE49-F238E27FC236}">
                  <a16:creationId xmlns:a16="http://schemas.microsoft.com/office/drawing/2014/main" id="{89E8A86E-AD30-4763-8195-AEED0352A1C3}"/>
                </a:ext>
              </a:extLst>
            </p:cNvPr>
            <p:cNvSpPr/>
            <p:nvPr/>
          </p:nvSpPr>
          <p:spPr bwMode="auto">
            <a:xfrm>
              <a:off x="4486275" y="3421063"/>
              <a:ext cx="368300" cy="798513"/>
            </a:xfrm>
            <a:custGeom>
              <a:avLst/>
              <a:gdLst>
                <a:gd name="T0" fmla="*/ 15 w 138"/>
                <a:gd name="T1" fmla="*/ 0 h 300"/>
                <a:gd name="T2" fmla="*/ 7 w 138"/>
                <a:gd name="T3" fmla="*/ 34 h 300"/>
                <a:gd name="T4" fmla="*/ 7 w 138"/>
                <a:gd name="T5" fmla="*/ 43 h 300"/>
                <a:gd name="T6" fmla="*/ 41 w 138"/>
                <a:gd name="T7" fmla="*/ 255 h 300"/>
                <a:gd name="T8" fmla="*/ 58 w 138"/>
                <a:gd name="T9" fmla="*/ 300 h 300"/>
                <a:gd name="T10" fmla="*/ 137 w 138"/>
                <a:gd name="T11" fmla="*/ 269 h 300"/>
                <a:gd name="T12" fmla="*/ 137 w 138"/>
                <a:gd name="T13" fmla="*/ 269 h 300"/>
                <a:gd name="T14" fmla="*/ 137 w 138"/>
                <a:gd name="T15" fmla="*/ 269 h 300"/>
                <a:gd name="T16" fmla="*/ 137 w 138"/>
                <a:gd name="T17" fmla="*/ 269 h 300"/>
                <a:gd name="T18" fmla="*/ 138 w 138"/>
                <a:gd name="T19" fmla="*/ 269 h 300"/>
                <a:gd name="T20" fmla="*/ 129 w 138"/>
                <a:gd name="T21" fmla="*/ 210 h 300"/>
                <a:gd name="T22" fmla="*/ 127 w 138"/>
                <a:gd name="T23" fmla="*/ 199 h 300"/>
                <a:gd name="T24" fmla="*/ 122 w 138"/>
                <a:gd name="T25" fmla="*/ 167 h 300"/>
                <a:gd name="T26" fmla="*/ 114 w 138"/>
                <a:gd name="T27" fmla="*/ 112 h 300"/>
                <a:gd name="T28" fmla="*/ 114 w 138"/>
                <a:gd name="T29" fmla="*/ 112 h 300"/>
                <a:gd name="T30" fmla="*/ 114 w 138"/>
                <a:gd name="T31" fmla="*/ 112 h 300"/>
                <a:gd name="T32" fmla="*/ 114 w 138"/>
                <a:gd name="T33" fmla="*/ 112 h 300"/>
                <a:gd name="T34" fmla="*/ 114 w 138"/>
                <a:gd name="T35" fmla="*/ 112 h 300"/>
                <a:gd name="T36" fmla="*/ 113 w 138"/>
                <a:gd name="T37" fmla="*/ 111 h 300"/>
                <a:gd name="T38" fmla="*/ 113 w 138"/>
                <a:gd name="T39" fmla="*/ 111 h 300"/>
                <a:gd name="T40" fmla="*/ 113 w 138"/>
                <a:gd name="T41" fmla="*/ 110 h 300"/>
                <a:gd name="T42" fmla="*/ 113 w 138"/>
                <a:gd name="T43" fmla="*/ 110 h 300"/>
                <a:gd name="T44" fmla="*/ 113 w 138"/>
                <a:gd name="T45" fmla="*/ 110 h 300"/>
                <a:gd name="T46" fmla="*/ 113 w 138"/>
                <a:gd name="T47" fmla="*/ 109 h 300"/>
                <a:gd name="T48" fmla="*/ 113 w 138"/>
                <a:gd name="T49" fmla="*/ 109 h 300"/>
                <a:gd name="T50" fmla="*/ 102 w 138"/>
                <a:gd name="T51" fmla="*/ 21 h 300"/>
                <a:gd name="T52" fmla="*/ 15 w 138"/>
                <a:gd name="T53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8" h="300">
                  <a:moveTo>
                    <a:pt x="15" y="0"/>
                  </a:moveTo>
                  <a:cubicBezTo>
                    <a:pt x="12" y="11"/>
                    <a:pt x="10" y="23"/>
                    <a:pt x="7" y="34"/>
                  </a:cubicBezTo>
                  <a:cubicBezTo>
                    <a:pt x="8" y="37"/>
                    <a:pt x="8" y="39"/>
                    <a:pt x="7" y="43"/>
                  </a:cubicBezTo>
                  <a:cubicBezTo>
                    <a:pt x="0" y="114"/>
                    <a:pt x="18" y="188"/>
                    <a:pt x="41" y="255"/>
                  </a:cubicBezTo>
                  <a:cubicBezTo>
                    <a:pt x="46" y="269"/>
                    <a:pt x="52" y="285"/>
                    <a:pt x="58" y="300"/>
                  </a:cubicBezTo>
                  <a:cubicBezTo>
                    <a:pt x="82" y="298"/>
                    <a:pt x="108" y="289"/>
                    <a:pt x="137" y="269"/>
                  </a:cubicBezTo>
                  <a:cubicBezTo>
                    <a:pt x="137" y="269"/>
                    <a:pt x="137" y="269"/>
                    <a:pt x="137" y="269"/>
                  </a:cubicBezTo>
                  <a:cubicBezTo>
                    <a:pt x="137" y="269"/>
                    <a:pt x="137" y="269"/>
                    <a:pt x="137" y="269"/>
                  </a:cubicBezTo>
                  <a:cubicBezTo>
                    <a:pt x="137" y="269"/>
                    <a:pt x="137" y="269"/>
                    <a:pt x="137" y="269"/>
                  </a:cubicBezTo>
                  <a:cubicBezTo>
                    <a:pt x="137" y="269"/>
                    <a:pt x="137" y="269"/>
                    <a:pt x="138" y="269"/>
                  </a:cubicBezTo>
                  <a:cubicBezTo>
                    <a:pt x="138" y="269"/>
                    <a:pt x="134" y="245"/>
                    <a:pt x="129" y="210"/>
                  </a:cubicBezTo>
                  <a:cubicBezTo>
                    <a:pt x="128" y="206"/>
                    <a:pt x="128" y="203"/>
                    <a:pt x="127" y="199"/>
                  </a:cubicBezTo>
                  <a:cubicBezTo>
                    <a:pt x="126" y="189"/>
                    <a:pt x="124" y="178"/>
                    <a:pt x="122" y="167"/>
                  </a:cubicBezTo>
                  <a:cubicBezTo>
                    <a:pt x="120" y="150"/>
                    <a:pt x="117" y="131"/>
                    <a:pt x="114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4" y="111"/>
                    <a:pt x="114" y="111"/>
                    <a:pt x="113" y="111"/>
                  </a:cubicBezTo>
                  <a:cubicBezTo>
                    <a:pt x="113" y="111"/>
                    <a:pt x="113" y="111"/>
                    <a:pt x="113" y="111"/>
                  </a:cubicBezTo>
                  <a:cubicBezTo>
                    <a:pt x="113" y="110"/>
                    <a:pt x="113" y="110"/>
                    <a:pt x="113" y="110"/>
                  </a:cubicBezTo>
                  <a:cubicBezTo>
                    <a:pt x="113" y="110"/>
                    <a:pt x="113" y="110"/>
                    <a:pt x="113" y="110"/>
                  </a:cubicBezTo>
                  <a:cubicBezTo>
                    <a:pt x="113" y="110"/>
                    <a:pt x="113" y="110"/>
                    <a:pt x="113" y="110"/>
                  </a:cubicBezTo>
                  <a:cubicBezTo>
                    <a:pt x="113" y="110"/>
                    <a:pt x="113" y="110"/>
                    <a:pt x="113" y="109"/>
                  </a:cubicBezTo>
                  <a:cubicBezTo>
                    <a:pt x="113" y="109"/>
                    <a:pt x="113" y="109"/>
                    <a:pt x="113" y="109"/>
                  </a:cubicBezTo>
                  <a:cubicBezTo>
                    <a:pt x="109" y="80"/>
                    <a:pt x="107" y="46"/>
                    <a:pt x="102" y="21"/>
                  </a:cubicBezTo>
                  <a:cubicBezTo>
                    <a:pt x="73" y="10"/>
                    <a:pt x="44" y="1"/>
                    <a:pt x="15" y="0"/>
                  </a:cubicBezTo>
                </a:path>
              </a:pathLst>
            </a:custGeom>
            <a:solidFill>
              <a:srgbClr val="A6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í$ľíḑè">
              <a:extLst>
                <a:ext uri="{FF2B5EF4-FFF2-40B4-BE49-F238E27FC236}">
                  <a16:creationId xmlns:a16="http://schemas.microsoft.com/office/drawing/2014/main" id="{EDD7D2B9-BEB2-4729-9127-9F9247186DCA}"/>
                </a:ext>
              </a:extLst>
            </p:cNvPr>
            <p:cNvSpPr/>
            <p:nvPr/>
          </p:nvSpPr>
          <p:spPr bwMode="auto">
            <a:xfrm>
              <a:off x="5153025" y="3763963"/>
              <a:ext cx="249237" cy="90488"/>
            </a:xfrm>
            <a:custGeom>
              <a:avLst/>
              <a:gdLst>
                <a:gd name="T0" fmla="*/ 4 w 93"/>
                <a:gd name="T1" fmla="*/ 34 h 34"/>
                <a:gd name="T2" fmla="*/ 43 w 93"/>
                <a:gd name="T3" fmla="*/ 29 h 34"/>
                <a:gd name="T4" fmla="*/ 72 w 93"/>
                <a:gd name="T5" fmla="*/ 25 h 34"/>
                <a:gd name="T6" fmla="*/ 90 w 93"/>
                <a:gd name="T7" fmla="*/ 25 h 34"/>
                <a:gd name="T8" fmla="*/ 93 w 93"/>
                <a:gd name="T9" fmla="*/ 18 h 34"/>
                <a:gd name="T10" fmla="*/ 82 w 93"/>
                <a:gd name="T11" fmla="*/ 14 h 34"/>
                <a:gd name="T12" fmla="*/ 72 w 93"/>
                <a:gd name="T13" fmla="*/ 12 h 34"/>
                <a:gd name="T14" fmla="*/ 64 w 93"/>
                <a:gd name="T15" fmla="*/ 0 h 34"/>
                <a:gd name="T16" fmla="*/ 29 w 93"/>
                <a:gd name="T17" fmla="*/ 9 h 34"/>
                <a:gd name="T18" fmla="*/ 0 w 93"/>
                <a:gd name="T19" fmla="*/ 23 h 34"/>
                <a:gd name="T20" fmla="*/ 4 w 93"/>
                <a:gd name="T2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3" h="34">
                  <a:moveTo>
                    <a:pt x="4" y="34"/>
                  </a:moveTo>
                  <a:cubicBezTo>
                    <a:pt x="4" y="34"/>
                    <a:pt x="37" y="29"/>
                    <a:pt x="43" y="29"/>
                  </a:cubicBezTo>
                  <a:cubicBezTo>
                    <a:pt x="49" y="28"/>
                    <a:pt x="72" y="25"/>
                    <a:pt x="72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4" y="34"/>
                  </a:lnTo>
                  <a:close/>
                </a:path>
              </a:pathLst>
            </a:custGeom>
            <a:solidFill>
              <a:srgbClr val="EAB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íŝľïďe">
              <a:extLst>
                <a:ext uri="{FF2B5EF4-FFF2-40B4-BE49-F238E27FC236}">
                  <a16:creationId xmlns:a16="http://schemas.microsoft.com/office/drawing/2014/main" id="{3F9433BE-438E-4F64-A411-19ACC13EE666}"/>
                </a:ext>
              </a:extLst>
            </p:cNvPr>
            <p:cNvSpPr/>
            <p:nvPr/>
          </p:nvSpPr>
          <p:spPr bwMode="auto">
            <a:xfrm>
              <a:off x="5159375" y="3729038"/>
              <a:ext cx="341312" cy="115888"/>
            </a:xfrm>
            <a:custGeom>
              <a:avLst/>
              <a:gdLst>
                <a:gd name="T0" fmla="*/ 1 w 128"/>
                <a:gd name="T1" fmla="*/ 23 h 43"/>
                <a:gd name="T2" fmla="*/ 54 w 128"/>
                <a:gd name="T3" fmla="*/ 0 h 43"/>
                <a:gd name="T4" fmla="*/ 105 w 128"/>
                <a:gd name="T5" fmla="*/ 3 h 43"/>
                <a:gd name="T6" fmla="*/ 128 w 128"/>
                <a:gd name="T7" fmla="*/ 23 h 43"/>
                <a:gd name="T8" fmla="*/ 117 w 128"/>
                <a:gd name="T9" fmla="*/ 28 h 43"/>
                <a:gd name="T10" fmla="*/ 97 w 128"/>
                <a:gd name="T11" fmla="*/ 15 h 43"/>
                <a:gd name="T12" fmla="*/ 69 w 128"/>
                <a:gd name="T13" fmla="*/ 23 h 43"/>
                <a:gd name="T14" fmla="*/ 39 w 128"/>
                <a:gd name="T15" fmla="*/ 34 h 43"/>
                <a:gd name="T16" fmla="*/ 0 w 128"/>
                <a:gd name="T17" fmla="*/ 43 h 43"/>
                <a:gd name="T18" fmla="*/ 1 w 128"/>
                <a:gd name="T19" fmla="*/ 2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43">
                  <a:moveTo>
                    <a:pt x="1" y="23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28" y="23"/>
                    <a:pt x="128" y="23"/>
                    <a:pt x="128" y="23"/>
                  </a:cubicBezTo>
                  <a:cubicBezTo>
                    <a:pt x="117" y="28"/>
                    <a:pt x="117" y="28"/>
                    <a:pt x="117" y="28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48" y="35"/>
                    <a:pt x="39" y="34"/>
                  </a:cubicBezTo>
                  <a:cubicBezTo>
                    <a:pt x="31" y="33"/>
                    <a:pt x="0" y="43"/>
                    <a:pt x="0" y="43"/>
                  </a:cubicBezTo>
                  <a:lnTo>
                    <a:pt x="1" y="23"/>
                  </a:ln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ïṣļídê">
              <a:extLst>
                <a:ext uri="{FF2B5EF4-FFF2-40B4-BE49-F238E27FC236}">
                  <a16:creationId xmlns:a16="http://schemas.microsoft.com/office/drawing/2014/main" id="{8346E77A-ABEC-4001-BBEC-EE4507BBF3CE}"/>
                </a:ext>
              </a:extLst>
            </p:cNvPr>
            <p:cNvSpPr/>
            <p:nvPr/>
          </p:nvSpPr>
          <p:spPr bwMode="auto">
            <a:xfrm>
              <a:off x="4533900" y="3300413"/>
              <a:ext cx="704850" cy="749300"/>
            </a:xfrm>
            <a:custGeom>
              <a:avLst/>
              <a:gdLst>
                <a:gd name="T0" fmla="*/ 14 w 264"/>
                <a:gd name="T1" fmla="*/ 36 h 281"/>
                <a:gd name="T2" fmla="*/ 7 w 264"/>
                <a:gd name="T3" fmla="*/ 99 h 281"/>
                <a:gd name="T4" fmla="*/ 43 w 264"/>
                <a:gd name="T5" fmla="*/ 215 h 281"/>
                <a:gd name="T6" fmla="*/ 76 w 264"/>
                <a:gd name="T7" fmla="*/ 269 h 281"/>
                <a:gd name="T8" fmla="*/ 159 w 264"/>
                <a:gd name="T9" fmla="*/ 243 h 281"/>
                <a:gd name="T10" fmla="*/ 261 w 264"/>
                <a:gd name="T11" fmla="*/ 206 h 281"/>
                <a:gd name="T12" fmla="*/ 252 w 264"/>
                <a:gd name="T13" fmla="*/ 177 h 281"/>
                <a:gd name="T14" fmla="*/ 199 w 264"/>
                <a:gd name="T15" fmla="*/ 189 h 281"/>
                <a:gd name="T16" fmla="*/ 101 w 264"/>
                <a:gd name="T17" fmla="*/ 209 h 281"/>
                <a:gd name="T18" fmla="*/ 84 w 264"/>
                <a:gd name="T19" fmla="*/ 122 h 281"/>
                <a:gd name="T20" fmla="*/ 14 w 264"/>
                <a:gd name="T21" fmla="*/ 3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4" h="281">
                  <a:moveTo>
                    <a:pt x="14" y="36"/>
                  </a:moveTo>
                  <a:cubicBezTo>
                    <a:pt x="0" y="47"/>
                    <a:pt x="1" y="67"/>
                    <a:pt x="7" y="99"/>
                  </a:cubicBezTo>
                  <a:cubicBezTo>
                    <a:pt x="13" y="131"/>
                    <a:pt x="34" y="188"/>
                    <a:pt x="43" y="215"/>
                  </a:cubicBezTo>
                  <a:cubicBezTo>
                    <a:pt x="52" y="242"/>
                    <a:pt x="64" y="257"/>
                    <a:pt x="76" y="269"/>
                  </a:cubicBezTo>
                  <a:cubicBezTo>
                    <a:pt x="88" y="281"/>
                    <a:pt x="129" y="253"/>
                    <a:pt x="159" y="243"/>
                  </a:cubicBezTo>
                  <a:cubicBezTo>
                    <a:pt x="189" y="233"/>
                    <a:pt x="249" y="206"/>
                    <a:pt x="261" y="206"/>
                  </a:cubicBezTo>
                  <a:cubicBezTo>
                    <a:pt x="261" y="206"/>
                    <a:pt x="264" y="186"/>
                    <a:pt x="252" y="177"/>
                  </a:cubicBezTo>
                  <a:cubicBezTo>
                    <a:pt x="252" y="177"/>
                    <a:pt x="231" y="183"/>
                    <a:pt x="199" y="189"/>
                  </a:cubicBezTo>
                  <a:cubicBezTo>
                    <a:pt x="167" y="194"/>
                    <a:pt x="101" y="209"/>
                    <a:pt x="101" y="209"/>
                  </a:cubicBezTo>
                  <a:cubicBezTo>
                    <a:pt x="101" y="209"/>
                    <a:pt x="90" y="167"/>
                    <a:pt x="84" y="122"/>
                  </a:cubicBezTo>
                  <a:cubicBezTo>
                    <a:pt x="79" y="76"/>
                    <a:pt x="57" y="0"/>
                    <a:pt x="14" y="36"/>
                  </a:cubicBez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isḻíḓê">
              <a:extLst>
                <a:ext uri="{FF2B5EF4-FFF2-40B4-BE49-F238E27FC236}">
                  <a16:creationId xmlns:a16="http://schemas.microsoft.com/office/drawing/2014/main" id="{F913FCA5-5323-4587-9411-C3520681E1F8}"/>
                </a:ext>
              </a:extLst>
            </p:cNvPr>
            <p:cNvSpPr/>
            <p:nvPr/>
          </p:nvSpPr>
          <p:spPr bwMode="auto">
            <a:xfrm>
              <a:off x="4502150" y="3271838"/>
              <a:ext cx="709612" cy="804863"/>
            </a:xfrm>
            <a:custGeom>
              <a:avLst/>
              <a:gdLst>
                <a:gd name="T0" fmla="*/ 15 w 266"/>
                <a:gd name="T1" fmla="*/ 47 h 302"/>
                <a:gd name="T2" fmla="*/ 20 w 266"/>
                <a:gd name="T3" fmla="*/ 160 h 302"/>
                <a:gd name="T4" fmla="*/ 72 w 266"/>
                <a:gd name="T5" fmla="*/ 292 h 302"/>
                <a:gd name="T6" fmla="*/ 185 w 266"/>
                <a:gd name="T7" fmla="*/ 262 h 302"/>
                <a:gd name="T8" fmla="*/ 266 w 266"/>
                <a:gd name="T9" fmla="*/ 239 h 302"/>
                <a:gd name="T10" fmla="*/ 245 w 266"/>
                <a:gd name="T11" fmla="*/ 185 h 302"/>
                <a:gd name="T12" fmla="*/ 113 w 266"/>
                <a:gd name="T13" fmla="*/ 220 h 302"/>
                <a:gd name="T14" fmla="*/ 97 w 266"/>
                <a:gd name="T15" fmla="*/ 103 h 302"/>
                <a:gd name="T16" fmla="*/ 15 w 266"/>
                <a:gd name="T17" fmla="*/ 47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6" h="302">
                  <a:moveTo>
                    <a:pt x="15" y="47"/>
                  </a:moveTo>
                  <a:cubicBezTo>
                    <a:pt x="1" y="61"/>
                    <a:pt x="0" y="108"/>
                    <a:pt x="20" y="160"/>
                  </a:cubicBezTo>
                  <a:cubicBezTo>
                    <a:pt x="37" y="203"/>
                    <a:pt x="63" y="282"/>
                    <a:pt x="72" y="292"/>
                  </a:cubicBezTo>
                  <a:cubicBezTo>
                    <a:pt x="80" y="302"/>
                    <a:pt x="149" y="276"/>
                    <a:pt x="185" y="262"/>
                  </a:cubicBezTo>
                  <a:cubicBezTo>
                    <a:pt x="221" y="247"/>
                    <a:pt x="266" y="239"/>
                    <a:pt x="266" y="239"/>
                  </a:cubicBezTo>
                  <a:cubicBezTo>
                    <a:pt x="266" y="239"/>
                    <a:pt x="256" y="201"/>
                    <a:pt x="245" y="185"/>
                  </a:cubicBezTo>
                  <a:cubicBezTo>
                    <a:pt x="245" y="185"/>
                    <a:pt x="127" y="215"/>
                    <a:pt x="113" y="220"/>
                  </a:cubicBezTo>
                  <a:cubicBezTo>
                    <a:pt x="113" y="220"/>
                    <a:pt x="103" y="146"/>
                    <a:pt x="97" y="103"/>
                  </a:cubicBezTo>
                  <a:cubicBezTo>
                    <a:pt x="91" y="60"/>
                    <a:pt x="62" y="0"/>
                    <a:pt x="15" y="47"/>
                  </a:cubicBezTo>
                  <a:close/>
                </a:path>
              </a:pathLst>
            </a:custGeom>
            <a:solidFill>
              <a:srgbClr val="F655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ïṩļïḋe">
              <a:extLst>
                <a:ext uri="{FF2B5EF4-FFF2-40B4-BE49-F238E27FC236}">
                  <a16:creationId xmlns:a16="http://schemas.microsoft.com/office/drawing/2014/main" id="{ADF73DD6-992C-4CFB-92E6-5D7024147724}"/>
                </a:ext>
              </a:extLst>
            </p:cNvPr>
            <p:cNvSpPr/>
            <p:nvPr/>
          </p:nvSpPr>
          <p:spPr bwMode="auto">
            <a:xfrm>
              <a:off x="4760913" y="4119563"/>
              <a:ext cx="82550" cy="365125"/>
            </a:xfrm>
            <a:custGeom>
              <a:avLst/>
              <a:gdLst>
                <a:gd name="T0" fmla="*/ 0 w 52"/>
                <a:gd name="T1" fmla="*/ 230 h 230"/>
                <a:gd name="T2" fmla="*/ 30 w 52"/>
                <a:gd name="T3" fmla="*/ 230 h 230"/>
                <a:gd name="T4" fmla="*/ 52 w 52"/>
                <a:gd name="T5" fmla="*/ 0 h 230"/>
                <a:gd name="T6" fmla="*/ 32 w 52"/>
                <a:gd name="T7" fmla="*/ 0 h 230"/>
                <a:gd name="T8" fmla="*/ 0 w 52"/>
                <a:gd name="T9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30">
                  <a:moveTo>
                    <a:pt x="0" y="230"/>
                  </a:moveTo>
                  <a:lnTo>
                    <a:pt x="30" y="230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0" y="230"/>
                  </a:ln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ïṩļíḓe">
              <a:extLst>
                <a:ext uri="{FF2B5EF4-FFF2-40B4-BE49-F238E27FC236}">
                  <a16:creationId xmlns:a16="http://schemas.microsoft.com/office/drawing/2014/main" id="{5BEFF60A-EE0D-46D4-BE08-03FE1594A491}"/>
                </a:ext>
              </a:extLst>
            </p:cNvPr>
            <p:cNvSpPr/>
            <p:nvPr/>
          </p:nvSpPr>
          <p:spPr bwMode="auto">
            <a:xfrm>
              <a:off x="4357688" y="4508500"/>
              <a:ext cx="88900" cy="660400"/>
            </a:xfrm>
            <a:prstGeom prst="rect">
              <a:avLst/>
            </a:prstGeom>
            <a:solidFill>
              <a:srgbClr val="B3B3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ïSliḍe">
              <a:extLst>
                <a:ext uri="{FF2B5EF4-FFF2-40B4-BE49-F238E27FC236}">
                  <a16:creationId xmlns:a16="http://schemas.microsoft.com/office/drawing/2014/main" id="{61A3EC45-1964-4BF9-9AFF-B683BE36FC15}"/>
                </a:ext>
              </a:extLst>
            </p:cNvPr>
            <p:cNvSpPr/>
            <p:nvPr/>
          </p:nvSpPr>
          <p:spPr bwMode="auto">
            <a:xfrm>
              <a:off x="4556125" y="5113338"/>
              <a:ext cx="50800" cy="160338"/>
            </a:xfrm>
            <a:custGeom>
              <a:avLst/>
              <a:gdLst>
                <a:gd name="T0" fmla="*/ 0 w 19"/>
                <a:gd name="T1" fmla="*/ 60 h 60"/>
                <a:gd name="T2" fmla="*/ 19 w 19"/>
                <a:gd name="T3" fmla="*/ 60 h 60"/>
                <a:gd name="T4" fmla="*/ 19 w 19"/>
                <a:gd name="T5" fmla="*/ 9 h 60"/>
                <a:gd name="T6" fmla="*/ 10 w 19"/>
                <a:gd name="T7" fmla="*/ 0 h 60"/>
                <a:gd name="T8" fmla="*/ 0 w 19"/>
                <a:gd name="T9" fmla="*/ 0 h 60"/>
                <a:gd name="T10" fmla="*/ 0 w 19"/>
                <a:gd name="T1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60">
                  <a:moveTo>
                    <a:pt x="0" y="60"/>
                  </a:moveTo>
                  <a:cubicBezTo>
                    <a:pt x="19" y="60"/>
                    <a:pt x="19" y="60"/>
                    <a:pt x="19" y="6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4"/>
                    <a:pt x="15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0"/>
                  </a:lnTo>
                  <a:close/>
                </a:path>
              </a:pathLst>
            </a:cu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ïṧ1íḓe">
              <a:extLst>
                <a:ext uri="{FF2B5EF4-FFF2-40B4-BE49-F238E27FC236}">
                  <a16:creationId xmlns:a16="http://schemas.microsoft.com/office/drawing/2014/main" id="{077932F1-D11C-46C7-8703-6C67FCE66F74}"/>
                </a:ext>
              </a:extLst>
            </p:cNvPr>
            <p:cNvSpPr/>
            <p:nvPr/>
          </p:nvSpPr>
          <p:spPr bwMode="auto">
            <a:xfrm>
              <a:off x="4329113" y="4857750"/>
              <a:ext cx="117475" cy="55563"/>
            </a:xfrm>
            <a:prstGeom prst="rect">
              <a:avLst/>
            </a:pr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îṥ1îḑê">
              <a:extLst>
                <a:ext uri="{FF2B5EF4-FFF2-40B4-BE49-F238E27FC236}">
                  <a16:creationId xmlns:a16="http://schemas.microsoft.com/office/drawing/2014/main" id="{7CD700B1-02E3-4ED7-8578-BA03407548AE}"/>
                </a:ext>
              </a:extLst>
            </p:cNvPr>
            <p:cNvSpPr/>
            <p:nvPr/>
          </p:nvSpPr>
          <p:spPr bwMode="auto">
            <a:xfrm>
              <a:off x="4360863" y="4857750"/>
              <a:ext cx="117475" cy="55563"/>
            </a:xfrm>
            <a:prstGeom prst="rect">
              <a:avLst/>
            </a:pr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isľîḑe">
              <a:extLst>
                <a:ext uri="{FF2B5EF4-FFF2-40B4-BE49-F238E27FC236}">
                  <a16:creationId xmlns:a16="http://schemas.microsoft.com/office/drawing/2014/main" id="{26DE98CA-29CC-4E5F-9176-7ACB1CAA5A64}"/>
                </a:ext>
              </a:extLst>
            </p:cNvPr>
            <p:cNvSpPr/>
            <p:nvPr/>
          </p:nvSpPr>
          <p:spPr bwMode="auto">
            <a:xfrm>
              <a:off x="4360863" y="4857750"/>
              <a:ext cx="117475" cy="55563"/>
            </a:xfrm>
            <a:custGeom>
              <a:avLst/>
              <a:gdLst>
                <a:gd name="T0" fmla="*/ 74 w 74"/>
                <a:gd name="T1" fmla="*/ 35 h 35"/>
                <a:gd name="T2" fmla="*/ 0 w 74"/>
                <a:gd name="T3" fmla="*/ 35 h 35"/>
                <a:gd name="T4" fmla="*/ 0 w 74"/>
                <a:gd name="T5" fmla="*/ 0 h 35"/>
                <a:gd name="T6" fmla="*/ 74 w 74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" h="35">
                  <a:moveTo>
                    <a:pt x="74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7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ïṥļídé">
              <a:extLst>
                <a:ext uri="{FF2B5EF4-FFF2-40B4-BE49-F238E27FC236}">
                  <a16:creationId xmlns:a16="http://schemas.microsoft.com/office/drawing/2014/main" id="{9A246408-C138-4CC1-83E9-29D2DA36236C}"/>
                </a:ext>
              </a:extLst>
            </p:cNvPr>
            <p:cNvSpPr/>
            <p:nvPr/>
          </p:nvSpPr>
          <p:spPr bwMode="auto">
            <a:xfrm>
              <a:off x="4329113" y="4857750"/>
              <a:ext cx="117475" cy="55563"/>
            </a:xfrm>
            <a:prstGeom prst="rect">
              <a:avLst/>
            </a:pr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îṩḻíḍê">
              <a:extLst>
                <a:ext uri="{FF2B5EF4-FFF2-40B4-BE49-F238E27FC236}">
                  <a16:creationId xmlns:a16="http://schemas.microsoft.com/office/drawing/2014/main" id="{29FEB16F-166C-45C9-AB71-B1620A14710C}"/>
                </a:ext>
              </a:extLst>
            </p:cNvPr>
            <p:cNvSpPr/>
            <p:nvPr/>
          </p:nvSpPr>
          <p:spPr bwMode="auto">
            <a:xfrm>
              <a:off x="4337050" y="4568825"/>
              <a:ext cx="125412" cy="203200"/>
            </a:xfrm>
            <a:prstGeom prst="rect">
              <a:avLst/>
            </a:pr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îşḷïḍe">
              <a:extLst>
                <a:ext uri="{FF2B5EF4-FFF2-40B4-BE49-F238E27FC236}">
                  <a16:creationId xmlns:a16="http://schemas.microsoft.com/office/drawing/2014/main" id="{BC9CD367-CD6D-4B1F-A7F5-E5A194D4484D}"/>
                </a:ext>
              </a:extLst>
            </p:cNvPr>
            <p:cNvSpPr/>
            <p:nvPr/>
          </p:nvSpPr>
          <p:spPr bwMode="auto">
            <a:xfrm>
              <a:off x="4379913" y="4913313"/>
              <a:ext cx="82550" cy="106363"/>
            </a:xfrm>
            <a:prstGeom prst="rect">
              <a:avLst/>
            </a:pr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ïṩḷîḋé">
              <a:extLst>
                <a:ext uri="{FF2B5EF4-FFF2-40B4-BE49-F238E27FC236}">
                  <a16:creationId xmlns:a16="http://schemas.microsoft.com/office/drawing/2014/main" id="{5FEF6368-2750-4199-AED9-2F99F70F98B1}"/>
                </a:ext>
              </a:extLst>
            </p:cNvPr>
            <p:cNvSpPr/>
            <p:nvPr/>
          </p:nvSpPr>
          <p:spPr bwMode="auto">
            <a:xfrm>
              <a:off x="4344988" y="4913313"/>
              <a:ext cx="82550" cy="106363"/>
            </a:xfrm>
            <a:prstGeom prst="rect">
              <a:avLst/>
            </a:pr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i$ḻîḋé">
              <a:extLst>
                <a:ext uri="{FF2B5EF4-FFF2-40B4-BE49-F238E27FC236}">
                  <a16:creationId xmlns:a16="http://schemas.microsoft.com/office/drawing/2014/main" id="{1D28CA3A-F3D2-4564-AE12-8DF863338023}"/>
                </a:ext>
              </a:extLst>
            </p:cNvPr>
            <p:cNvSpPr/>
            <p:nvPr/>
          </p:nvSpPr>
          <p:spPr bwMode="auto">
            <a:xfrm>
              <a:off x="4114800" y="4484688"/>
              <a:ext cx="579437" cy="141288"/>
            </a:xfrm>
            <a:custGeom>
              <a:avLst/>
              <a:gdLst>
                <a:gd name="T0" fmla="*/ 195 w 217"/>
                <a:gd name="T1" fmla="*/ 53 h 53"/>
                <a:gd name="T2" fmla="*/ 22 w 217"/>
                <a:gd name="T3" fmla="*/ 53 h 53"/>
                <a:gd name="T4" fmla="*/ 0 w 217"/>
                <a:gd name="T5" fmla="*/ 31 h 53"/>
                <a:gd name="T6" fmla="*/ 0 w 217"/>
                <a:gd name="T7" fmla="*/ 0 h 53"/>
                <a:gd name="T8" fmla="*/ 217 w 217"/>
                <a:gd name="T9" fmla="*/ 0 h 53"/>
                <a:gd name="T10" fmla="*/ 217 w 217"/>
                <a:gd name="T11" fmla="*/ 31 h 53"/>
                <a:gd name="T12" fmla="*/ 195 w 217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53">
                  <a:moveTo>
                    <a:pt x="195" y="53"/>
                  </a:moveTo>
                  <a:cubicBezTo>
                    <a:pt x="22" y="53"/>
                    <a:pt x="22" y="53"/>
                    <a:pt x="22" y="53"/>
                  </a:cubicBezTo>
                  <a:cubicBezTo>
                    <a:pt x="10" y="53"/>
                    <a:pt x="0" y="43"/>
                    <a:pt x="0" y="3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7" y="43"/>
                    <a:pt x="207" y="53"/>
                    <a:pt x="195" y="53"/>
                  </a:cubicBezTo>
                  <a:close/>
                </a:path>
              </a:pathLst>
            </a:custGeom>
            <a:solidFill>
              <a:srgbClr val="B3B3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îṡľiḍê">
              <a:extLst>
                <a:ext uri="{FF2B5EF4-FFF2-40B4-BE49-F238E27FC236}">
                  <a16:creationId xmlns:a16="http://schemas.microsoft.com/office/drawing/2014/main" id="{A272E7D3-4C45-4CBA-959F-7041F20352D5}"/>
                </a:ext>
              </a:extLst>
            </p:cNvPr>
            <p:cNvSpPr/>
            <p:nvPr/>
          </p:nvSpPr>
          <p:spPr bwMode="auto">
            <a:xfrm>
              <a:off x="4279900" y="5113338"/>
              <a:ext cx="487362" cy="63500"/>
            </a:xfrm>
            <a:custGeom>
              <a:avLst/>
              <a:gdLst>
                <a:gd name="T0" fmla="*/ 307 w 307"/>
                <a:gd name="T1" fmla="*/ 40 h 40"/>
                <a:gd name="T2" fmla="*/ 0 w 307"/>
                <a:gd name="T3" fmla="*/ 40 h 40"/>
                <a:gd name="T4" fmla="*/ 0 w 307"/>
                <a:gd name="T5" fmla="*/ 0 h 40"/>
                <a:gd name="T6" fmla="*/ 206 w 307"/>
                <a:gd name="T7" fmla="*/ 0 h 40"/>
                <a:gd name="T8" fmla="*/ 307 w 307"/>
                <a:gd name="T9" fmla="*/ 0 h 40"/>
                <a:gd name="T10" fmla="*/ 307 w 307"/>
                <a:gd name="T11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7" h="40">
                  <a:moveTo>
                    <a:pt x="307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206" y="0"/>
                  </a:lnTo>
                  <a:lnTo>
                    <a:pt x="307" y="0"/>
                  </a:lnTo>
                  <a:lnTo>
                    <a:pt x="307" y="40"/>
                  </a:lnTo>
                  <a:close/>
                </a:path>
              </a:pathLst>
            </a:cu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îṥḷíďe">
              <a:extLst>
                <a:ext uri="{FF2B5EF4-FFF2-40B4-BE49-F238E27FC236}">
                  <a16:creationId xmlns:a16="http://schemas.microsoft.com/office/drawing/2014/main" id="{92CE6AB5-A32C-4239-9EAF-F5410CF06466}"/>
                </a:ext>
              </a:extLst>
            </p:cNvPr>
            <p:cNvSpPr/>
            <p:nvPr/>
          </p:nvSpPr>
          <p:spPr bwMode="auto">
            <a:xfrm>
              <a:off x="4060825" y="5113338"/>
              <a:ext cx="488950" cy="63500"/>
            </a:xfrm>
            <a:prstGeom prst="rect">
              <a:avLst/>
            </a:pr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iSlidé">
              <a:extLst>
                <a:ext uri="{FF2B5EF4-FFF2-40B4-BE49-F238E27FC236}">
                  <a16:creationId xmlns:a16="http://schemas.microsoft.com/office/drawing/2014/main" id="{426A5305-FFE2-4C0A-B924-4051156A8C95}"/>
                </a:ext>
              </a:extLst>
            </p:cNvPr>
            <p:cNvSpPr/>
            <p:nvPr/>
          </p:nvSpPr>
          <p:spPr bwMode="auto">
            <a:xfrm>
              <a:off x="4037013" y="5113338"/>
              <a:ext cx="53975" cy="160338"/>
            </a:xfrm>
            <a:custGeom>
              <a:avLst/>
              <a:gdLst>
                <a:gd name="T0" fmla="*/ 20 w 20"/>
                <a:gd name="T1" fmla="*/ 60 h 60"/>
                <a:gd name="T2" fmla="*/ 0 w 20"/>
                <a:gd name="T3" fmla="*/ 60 h 60"/>
                <a:gd name="T4" fmla="*/ 0 w 20"/>
                <a:gd name="T5" fmla="*/ 9 h 60"/>
                <a:gd name="T6" fmla="*/ 9 w 20"/>
                <a:gd name="T7" fmla="*/ 0 h 60"/>
                <a:gd name="T8" fmla="*/ 20 w 20"/>
                <a:gd name="T9" fmla="*/ 0 h 60"/>
                <a:gd name="T10" fmla="*/ 20 w 20"/>
                <a:gd name="T1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60">
                  <a:moveTo>
                    <a:pt x="20" y="60"/>
                  </a:moveTo>
                  <a:cubicBezTo>
                    <a:pt x="0" y="60"/>
                    <a:pt x="0" y="60"/>
                    <a:pt x="0" y="6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20" y="60"/>
                  </a:lnTo>
                  <a:close/>
                </a:path>
              </a:pathLst>
            </a:cu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iṡḷíḓe">
              <a:extLst>
                <a:ext uri="{FF2B5EF4-FFF2-40B4-BE49-F238E27FC236}">
                  <a16:creationId xmlns:a16="http://schemas.microsoft.com/office/drawing/2014/main" id="{5F5F0AC3-50AE-496C-AC81-9D2620F50B69}"/>
                </a:ext>
              </a:extLst>
            </p:cNvPr>
            <p:cNvSpPr/>
            <p:nvPr/>
          </p:nvSpPr>
          <p:spPr bwMode="auto">
            <a:xfrm>
              <a:off x="4745038" y="5113338"/>
              <a:ext cx="50800" cy="160338"/>
            </a:xfrm>
            <a:custGeom>
              <a:avLst/>
              <a:gdLst>
                <a:gd name="T0" fmla="*/ 0 w 19"/>
                <a:gd name="T1" fmla="*/ 60 h 60"/>
                <a:gd name="T2" fmla="*/ 19 w 19"/>
                <a:gd name="T3" fmla="*/ 60 h 60"/>
                <a:gd name="T4" fmla="*/ 19 w 19"/>
                <a:gd name="T5" fmla="*/ 9 h 60"/>
                <a:gd name="T6" fmla="*/ 10 w 19"/>
                <a:gd name="T7" fmla="*/ 0 h 60"/>
                <a:gd name="T8" fmla="*/ 0 w 19"/>
                <a:gd name="T9" fmla="*/ 0 h 60"/>
                <a:gd name="T10" fmla="*/ 0 w 19"/>
                <a:gd name="T1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60">
                  <a:moveTo>
                    <a:pt x="0" y="60"/>
                  </a:moveTo>
                  <a:cubicBezTo>
                    <a:pt x="19" y="60"/>
                    <a:pt x="19" y="60"/>
                    <a:pt x="19" y="6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4"/>
                    <a:pt x="15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0"/>
                  </a:lnTo>
                  <a:close/>
                </a:path>
              </a:pathLst>
            </a:cu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íślïḋê">
              <a:extLst>
                <a:ext uri="{FF2B5EF4-FFF2-40B4-BE49-F238E27FC236}">
                  <a16:creationId xmlns:a16="http://schemas.microsoft.com/office/drawing/2014/main" id="{A2800D2C-BC07-4138-A608-C64BB22367D9}"/>
                </a:ext>
              </a:extLst>
            </p:cNvPr>
            <p:cNvSpPr/>
            <p:nvPr/>
          </p:nvSpPr>
          <p:spPr bwMode="auto">
            <a:xfrm>
              <a:off x="4037013" y="4391025"/>
              <a:ext cx="879475" cy="149225"/>
            </a:xfrm>
            <a:custGeom>
              <a:avLst/>
              <a:gdLst>
                <a:gd name="T0" fmla="*/ 299 w 329"/>
                <a:gd name="T1" fmla="*/ 0 h 56"/>
                <a:gd name="T2" fmla="*/ 11 w 329"/>
                <a:gd name="T3" fmla="*/ 0 h 56"/>
                <a:gd name="T4" fmla="*/ 0 w 329"/>
                <a:gd name="T5" fmla="*/ 56 h 56"/>
                <a:gd name="T6" fmla="*/ 300 w 329"/>
                <a:gd name="T7" fmla="*/ 56 h 56"/>
                <a:gd name="T8" fmla="*/ 329 w 329"/>
                <a:gd name="T9" fmla="*/ 27 h 56"/>
                <a:gd name="T10" fmla="*/ 299 w 329"/>
                <a:gd name="T1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9" h="56">
                  <a:moveTo>
                    <a:pt x="29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8" y="19"/>
                    <a:pt x="4" y="37"/>
                    <a:pt x="0" y="56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316" y="56"/>
                    <a:pt x="329" y="43"/>
                    <a:pt x="329" y="27"/>
                  </a:cubicBezTo>
                  <a:cubicBezTo>
                    <a:pt x="328" y="12"/>
                    <a:pt x="315" y="0"/>
                    <a:pt x="299" y="0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îṧlíḓe">
              <a:extLst>
                <a:ext uri="{FF2B5EF4-FFF2-40B4-BE49-F238E27FC236}">
                  <a16:creationId xmlns:a16="http://schemas.microsoft.com/office/drawing/2014/main" id="{D024D798-B0D5-4DE4-ABDA-AD5648D18571}"/>
                </a:ext>
              </a:extLst>
            </p:cNvPr>
            <p:cNvSpPr/>
            <p:nvPr/>
          </p:nvSpPr>
          <p:spPr bwMode="auto">
            <a:xfrm>
              <a:off x="4203700" y="4783138"/>
              <a:ext cx="138112" cy="138113"/>
            </a:xfrm>
            <a:custGeom>
              <a:avLst/>
              <a:gdLst>
                <a:gd name="T0" fmla="*/ 52 w 52"/>
                <a:gd name="T1" fmla="*/ 39 h 52"/>
                <a:gd name="T2" fmla="*/ 39 w 52"/>
                <a:gd name="T3" fmla="*/ 52 h 52"/>
                <a:gd name="T4" fmla="*/ 4 w 52"/>
                <a:gd name="T5" fmla="*/ 17 h 52"/>
                <a:gd name="T6" fmla="*/ 4 w 52"/>
                <a:gd name="T7" fmla="*/ 4 h 52"/>
                <a:gd name="T8" fmla="*/ 17 w 52"/>
                <a:gd name="T9" fmla="*/ 4 h 52"/>
                <a:gd name="T10" fmla="*/ 52 w 52"/>
                <a:gd name="T11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52" y="39"/>
                  </a:moveTo>
                  <a:cubicBezTo>
                    <a:pt x="39" y="52"/>
                    <a:pt x="39" y="52"/>
                    <a:pt x="39" y="52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0" y="13"/>
                    <a:pt x="0" y="8"/>
                    <a:pt x="4" y="4"/>
                  </a:cubicBezTo>
                  <a:cubicBezTo>
                    <a:pt x="7" y="0"/>
                    <a:pt x="13" y="0"/>
                    <a:pt x="17" y="4"/>
                  </a:cubicBezTo>
                  <a:lnTo>
                    <a:pt x="52" y="39"/>
                  </a:lnTo>
                  <a:close/>
                </a:path>
              </a:pathLst>
            </a:cu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îṩļïḍê">
              <a:extLst>
                <a:ext uri="{FF2B5EF4-FFF2-40B4-BE49-F238E27FC236}">
                  <a16:creationId xmlns:a16="http://schemas.microsoft.com/office/drawing/2014/main" id="{F5FA7812-EBF0-4805-823A-276E10E25AF3}"/>
                </a:ext>
              </a:extLst>
            </p:cNvPr>
            <p:cNvSpPr/>
            <p:nvPr/>
          </p:nvSpPr>
          <p:spPr bwMode="auto">
            <a:xfrm>
              <a:off x="4271963" y="4851400"/>
              <a:ext cx="101600" cy="101600"/>
            </a:xfrm>
            <a:custGeom>
              <a:avLst/>
              <a:gdLst>
                <a:gd name="T0" fmla="*/ 31 w 38"/>
                <a:gd name="T1" fmla="*/ 7 h 38"/>
                <a:gd name="T2" fmla="*/ 31 w 38"/>
                <a:gd name="T3" fmla="*/ 32 h 38"/>
                <a:gd name="T4" fmla="*/ 7 w 38"/>
                <a:gd name="T5" fmla="*/ 32 h 38"/>
                <a:gd name="T6" fmla="*/ 7 w 38"/>
                <a:gd name="T7" fmla="*/ 7 h 38"/>
                <a:gd name="T8" fmla="*/ 31 w 38"/>
                <a:gd name="T9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1" y="7"/>
                  </a:moveTo>
                  <a:cubicBezTo>
                    <a:pt x="38" y="14"/>
                    <a:pt x="38" y="25"/>
                    <a:pt x="31" y="32"/>
                  </a:cubicBezTo>
                  <a:cubicBezTo>
                    <a:pt x="25" y="38"/>
                    <a:pt x="14" y="38"/>
                    <a:pt x="7" y="32"/>
                  </a:cubicBezTo>
                  <a:cubicBezTo>
                    <a:pt x="0" y="25"/>
                    <a:pt x="0" y="14"/>
                    <a:pt x="7" y="7"/>
                  </a:cubicBezTo>
                  <a:cubicBezTo>
                    <a:pt x="14" y="0"/>
                    <a:pt x="25" y="0"/>
                    <a:pt x="31" y="7"/>
                  </a:cubicBezTo>
                  <a:close/>
                </a:path>
              </a:pathLst>
            </a:cu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íśļîḋè">
              <a:extLst>
                <a:ext uri="{FF2B5EF4-FFF2-40B4-BE49-F238E27FC236}">
                  <a16:creationId xmlns:a16="http://schemas.microsoft.com/office/drawing/2014/main" id="{204C8FD6-0691-492B-A442-F1C7CDC5FAFB}"/>
                </a:ext>
              </a:extLst>
            </p:cNvPr>
            <p:cNvSpPr/>
            <p:nvPr/>
          </p:nvSpPr>
          <p:spPr bwMode="auto">
            <a:xfrm>
              <a:off x="4283075" y="4862513"/>
              <a:ext cx="82550" cy="82550"/>
            </a:xfrm>
            <a:custGeom>
              <a:avLst/>
              <a:gdLst>
                <a:gd name="T0" fmla="*/ 25 w 31"/>
                <a:gd name="T1" fmla="*/ 5 h 31"/>
                <a:gd name="T2" fmla="*/ 25 w 31"/>
                <a:gd name="T3" fmla="*/ 25 h 31"/>
                <a:gd name="T4" fmla="*/ 5 w 31"/>
                <a:gd name="T5" fmla="*/ 25 h 31"/>
                <a:gd name="T6" fmla="*/ 5 w 31"/>
                <a:gd name="T7" fmla="*/ 5 h 31"/>
                <a:gd name="T8" fmla="*/ 25 w 31"/>
                <a:gd name="T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5" y="5"/>
                  </a:moveTo>
                  <a:cubicBezTo>
                    <a:pt x="31" y="11"/>
                    <a:pt x="31" y="20"/>
                    <a:pt x="25" y="25"/>
                  </a:cubicBezTo>
                  <a:cubicBezTo>
                    <a:pt x="20" y="31"/>
                    <a:pt x="11" y="31"/>
                    <a:pt x="5" y="25"/>
                  </a:cubicBezTo>
                  <a:cubicBezTo>
                    <a:pt x="0" y="20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íš1íḑê">
              <a:extLst>
                <a:ext uri="{FF2B5EF4-FFF2-40B4-BE49-F238E27FC236}">
                  <a16:creationId xmlns:a16="http://schemas.microsoft.com/office/drawing/2014/main" id="{97FD37F6-FE9E-45EC-8E44-A24B97A0C1FB}"/>
                </a:ext>
              </a:extLst>
            </p:cNvPr>
            <p:cNvSpPr/>
            <p:nvPr/>
          </p:nvSpPr>
          <p:spPr bwMode="auto">
            <a:xfrm>
              <a:off x="4306888" y="4889500"/>
              <a:ext cx="31750" cy="28575"/>
            </a:xfrm>
            <a:custGeom>
              <a:avLst/>
              <a:gdLst>
                <a:gd name="T0" fmla="*/ 10 w 12"/>
                <a:gd name="T1" fmla="*/ 2 h 11"/>
                <a:gd name="T2" fmla="*/ 10 w 12"/>
                <a:gd name="T3" fmla="*/ 9 h 11"/>
                <a:gd name="T4" fmla="*/ 3 w 12"/>
                <a:gd name="T5" fmla="*/ 9 h 11"/>
                <a:gd name="T6" fmla="*/ 3 w 12"/>
                <a:gd name="T7" fmla="*/ 2 h 11"/>
                <a:gd name="T8" fmla="*/ 10 w 12"/>
                <a:gd name="T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10" y="2"/>
                  </a:moveTo>
                  <a:cubicBezTo>
                    <a:pt x="12" y="4"/>
                    <a:pt x="12" y="7"/>
                    <a:pt x="10" y="9"/>
                  </a:cubicBezTo>
                  <a:cubicBezTo>
                    <a:pt x="8" y="11"/>
                    <a:pt x="5" y="11"/>
                    <a:pt x="3" y="9"/>
                  </a:cubicBezTo>
                  <a:cubicBezTo>
                    <a:pt x="0" y="7"/>
                    <a:pt x="0" y="4"/>
                    <a:pt x="3" y="2"/>
                  </a:cubicBezTo>
                  <a:cubicBezTo>
                    <a:pt x="5" y="0"/>
                    <a:pt x="8" y="0"/>
                    <a:pt x="10" y="2"/>
                  </a:cubicBezTo>
                  <a:close/>
                </a:path>
              </a:pathLst>
            </a:custGeom>
            <a:solidFill>
              <a:srgbClr val="9599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ïṡļíḓe">
              <a:extLst>
                <a:ext uri="{FF2B5EF4-FFF2-40B4-BE49-F238E27FC236}">
                  <a16:creationId xmlns:a16="http://schemas.microsoft.com/office/drawing/2014/main" id="{20E717B4-8564-471F-8F99-28F761B8178F}"/>
                </a:ext>
              </a:extLst>
            </p:cNvPr>
            <p:cNvSpPr/>
            <p:nvPr/>
          </p:nvSpPr>
          <p:spPr bwMode="auto">
            <a:xfrm>
              <a:off x="4521200" y="5211763"/>
              <a:ext cx="114300" cy="125413"/>
            </a:xfrm>
            <a:custGeom>
              <a:avLst/>
              <a:gdLst>
                <a:gd name="T0" fmla="*/ 37 w 43"/>
                <a:gd name="T1" fmla="*/ 8 h 47"/>
                <a:gd name="T2" fmla="*/ 37 w 43"/>
                <a:gd name="T3" fmla="*/ 38 h 47"/>
                <a:gd name="T4" fmla="*/ 6 w 43"/>
                <a:gd name="T5" fmla="*/ 38 h 47"/>
                <a:gd name="T6" fmla="*/ 6 w 43"/>
                <a:gd name="T7" fmla="*/ 8 h 47"/>
                <a:gd name="T8" fmla="*/ 37 w 43"/>
                <a:gd name="T9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7">
                  <a:moveTo>
                    <a:pt x="37" y="8"/>
                  </a:moveTo>
                  <a:cubicBezTo>
                    <a:pt x="43" y="16"/>
                    <a:pt x="43" y="30"/>
                    <a:pt x="37" y="38"/>
                  </a:cubicBezTo>
                  <a:cubicBezTo>
                    <a:pt x="30" y="47"/>
                    <a:pt x="12" y="47"/>
                    <a:pt x="6" y="38"/>
                  </a:cubicBezTo>
                  <a:cubicBezTo>
                    <a:pt x="0" y="30"/>
                    <a:pt x="0" y="16"/>
                    <a:pt x="6" y="8"/>
                  </a:cubicBezTo>
                  <a:cubicBezTo>
                    <a:pt x="12" y="0"/>
                    <a:pt x="30" y="0"/>
                    <a:pt x="37" y="8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îṣlïďe">
              <a:extLst>
                <a:ext uri="{FF2B5EF4-FFF2-40B4-BE49-F238E27FC236}">
                  <a16:creationId xmlns:a16="http://schemas.microsoft.com/office/drawing/2014/main" id="{D556806D-0B00-4F99-AF7A-E06B72D6A2DF}"/>
                </a:ext>
              </a:extLst>
            </p:cNvPr>
            <p:cNvSpPr/>
            <p:nvPr/>
          </p:nvSpPr>
          <p:spPr bwMode="auto">
            <a:xfrm>
              <a:off x="4572000" y="5218113"/>
              <a:ext cx="39687" cy="114300"/>
            </a:xfrm>
            <a:custGeom>
              <a:avLst/>
              <a:gdLst>
                <a:gd name="T0" fmla="*/ 0 w 25"/>
                <a:gd name="T1" fmla="*/ 13 h 72"/>
                <a:gd name="T2" fmla="*/ 3 w 25"/>
                <a:gd name="T3" fmla="*/ 0 h 72"/>
                <a:gd name="T4" fmla="*/ 25 w 25"/>
                <a:gd name="T5" fmla="*/ 0 h 72"/>
                <a:gd name="T6" fmla="*/ 25 w 25"/>
                <a:gd name="T7" fmla="*/ 72 h 72"/>
                <a:gd name="T8" fmla="*/ 1 w 25"/>
                <a:gd name="T9" fmla="*/ 72 h 72"/>
                <a:gd name="T10" fmla="*/ 0 w 25"/>
                <a:gd name="T11" fmla="*/ 1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72">
                  <a:moveTo>
                    <a:pt x="0" y="13"/>
                  </a:moveTo>
                  <a:lnTo>
                    <a:pt x="3" y="0"/>
                  </a:lnTo>
                  <a:lnTo>
                    <a:pt x="25" y="0"/>
                  </a:lnTo>
                  <a:lnTo>
                    <a:pt x="25" y="72"/>
                  </a:lnTo>
                  <a:lnTo>
                    <a:pt x="1" y="72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ïşliḑé">
              <a:extLst>
                <a:ext uri="{FF2B5EF4-FFF2-40B4-BE49-F238E27FC236}">
                  <a16:creationId xmlns:a16="http://schemas.microsoft.com/office/drawing/2014/main" id="{08E2714E-B157-426A-92C9-A63685303CB5}"/>
                </a:ext>
              </a:extLst>
            </p:cNvPr>
            <p:cNvSpPr/>
            <p:nvPr/>
          </p:nvSpPr>
          <p:spPr bwMode="auto">
            <a:xfrm>
              <a:off x="4564063" y="5211763"/>
              <a:ext cx="93662" cy="125413"/>
            </a:xfrm>
            <a:custGeom>
              <a:avLst/>
              <a:gdLst>
                <a:gd name="T0" fmla="*/ 28 w 35"/>
                <a:gd name="T1" fmla="*/ 8 h 47"/>
                <a:gd name="T2" fmla="*/ 28 w 35"/>
                <a:gd name="T3" fmla="*/ 38 h 47"/>
                <a:gd name="T4" fmla="*/ 6 w 35"/>
                <a:gd name="T5" fmla="*/ 38 h 47"/>
                <a:gd name="T6" fmla="*/ 6 w 35"/>
                <a:gd name="T7" fmla="*/ 8 h 47"/>
                <a:gd name="T8" fmla="*/ 28 w 35"/>
                <a:gd name="T9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47">
                  <a:moveTo>
                    <a:pt x="28" y="8"/>
                  </a:moveTo>
                  <a:cubicBezTo>
                    <a:pt x="35" y="16"/>
                    <a:pt x="35" y="30"/>
                    <a:pt x="28" y="38"/>
                  </a:cubicBezTo>
                  <a:cubicBezTo>
                    <a:pt x="22" y="47"/>
                    <a:pt x="12" y="47"/>
                    <a:pt x="6" y="38"/>
                  </a:cubicBezTo>
                  <a:cubicBezTo>
                    <a:pt x="0" y="30"/>
                    <a:pt x="0" y="16"/>
                    <a:pt x="6" y="8"/>
                  </a:cubicBezTo>
                  <a:cubicBezTo>
                    <a:pt x="12" y="0"/>
                    <a:pt x="22" y="0"/>
                    <a:pt x="28" y="8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ï$1ïďè">
              <a:extLst>
                <a:ext uri="{FF2B5EF4-FFF2-40B4-BE49-F238E27FC236}">
                  <a16:creationId xmlns:a16="http://schemas.microsoft.com/office/drawing/2014/main" id="{776430E4-0B57-4141-97C3-F32793D57F16}"/>
                </a:ext>
              </a:extLst>
            </p:cNvPr>
            <p:cNvSpPr/>
            <p:nvPr/>
          </p:nvSpPr>
          <p:spPr bwMode="auto">
            <a:xfrm>
              <a:off x="4576763" y="5230813"/>
              <a:ext cx="66675" cy="87313"/>
            </a:xfrm>
            <a:custGeom>
              <a:avLst/>
              <a:gdLst>
                <a:gd name="T0" fmla="*/ 20 w 25"/>
                <a:gd name="T1" fmla="*/ 5 h 33"/>
                <a:gd name="T2" fmla="*/ 20 w 25"/>
                <a:gd name="T3" fmla="*/ 27 h 33"/>
                <a:gd name="T4" fmla="*/ 4 w 25"/>
                <a:gd name="T5" fmla="*/ 27 h 33"/>
                <a:gd name="T6" fmla="*/ 4 w 25"/>
                <a:gd name="T7" fmla="*/ 5 h 33"/>
                <a:gd name="T8" fmla="*/ 20 w 25"/>
                <a:gd name="T9" fmla="*/ 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3">
                  <a:moveTo>
                    <a:pt x="20" y="5"/>
                  </a:moveTo>
                  <a:cubicBezTo>
                    <a:pt x="25" y="11"/>
                    <a:pt x="25" y="21"/>
                    <a:pt x="20" y="27"/>
                  </a:cubicBezTo>
                  <a:cubicBezTo>
                    <a:pt x="16" y="33"/>
                    <a:pt x="9" y="33"/>
                    <a:pt x="4" y="27"/>
                  </a:cubicBezTo>
                  <a:cubicBezTo>
                    <a:pt x="0" y="21"/>
                    <a:pt x="0" y="11"/>
                    <a:pt x="4" y="5"/>
                  </a:cubicBezTo>
                  <a:cubicBezTo>
                    <a:pt x="9" y="0"/>
                    <a:pt x="16" y="0"/>
                    <a:pt x="20" y="5"/>
                  </a:cubicBezTo>
                  <a:close/>
                </a:path>
              </a:pathLst>
            </a:custGeom>
            <a:solidFill>
              <a:srgbClr val="9599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îšḻïḍè">
              <a:extLst>
                <a:ext uri="{FF2B5EF4-FFF2-40B4-BE49-F238E27FC236}">
                  <a16:creationId xmlns:a16="http://schemas.microsoft.com/office/drawing/2014/main" id="{217365E7-6BDD-4B9F-8881-ED160FDAE309}"/>
                </a:ext>
              </a:extLst>
            </p:cNvPr>
            <p:cNvSpPr/>
            <p:nvPr/>
          </p:nvSpPr>
          <p:spPr bwMode="auto">
            <a:xfrm>
              <a:off x="4595813" y="5254625"/>
              <a:ext cx="26987" cy="38100"/>
            </a:xfrm>
            <a:custGeom>
              <a:avLst/>
              <a:gdLst>
                <a:gd name="T0" fmla="*/ 9 w 10"/>
                <a:gd name="T1" fmla="*/ 3 h 14"/>
                <a:gd name="T2" fmla="*/ 9 w 10"/>
                <a:gd name="T3" fmla="*/ 12 h 14"/>
                <a:gd name="T4" fmla="*/ 2 w 10"/>
                <a:gd name="T5" fmla="*/ 12 h 14"/>
                <a:gd name="T6" fmla="*/ 2 w 10"/>
                <a:gd name="T7" fmla="*/ 3 h 14"/>
                <a:gd name="T8" fmla="*/ 9 w 10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4">
                  <a:moveTo>
                    <a:pt x="9" y="3"/>
                  </a:moveTo>
                  <a:cubicBezTo>
                    <a:pt x="10" y="5"/>
                    <a:pt x="10" y="9"/>
                    <a:pt x="9" y="12"/>
                  </a:cubicBezTo>
                  <a:cubicBezTo>
                    <a:pt x="7" y="14"/>
                    <a:pt x="4" y="14"/>
                    <a:pt x="2" y="12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7" y="0"/>
                    <a:pt x="9" y="3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ï$lîḍè">
              <a:extLst>
                <a:ext uri="{FF2B5EF4-FFF2-40B4-BE49-F238E27FC236}">
                  <a16:creationId xmlns:a16="http://schemas.microsoft.com/office/drawing/2014/main" id="{BDF9AD5F-E39F-43BD-9F62-19D78AFA5759}"/>
                </a:ext>
              </a:extLst>
            </p:cNvPr>
            <p:cNvSpPr/>
            <p:nvPr/>
          </p:nvSpPr>
          <p:spPr bwMode="auto">
            <a:xfrm>
              <a:off x="4568825" y="5211763"/>
              <a:ext cx="82550" cy="47625"/>
            </a:xfrm>
            <a:custGeom>
              <a:avLst/>
              <a:gdLst>
                <a:gd name="T0" fmla="*/ 31 w 31"/>
                <a:gd name="T1" fmla="*/ 18 h 18"/>
                <a:gd name="T2" fmla="*/ 26 w 31"/>
                <a:gd name="T3" fmla="*/ 8 h 18"/>
                <a:gd name="T4" fmla="*/ 4 w 31"/>
                <a:gd name="T5" fmla="*/ 8 h 18"/>
                <a:gd name="T6" fmla="*/ 0 w 31"/>
                <a:gd name="T7" fmla="*/ 18 h 18"/>
                <a:gd name="T8" fmla="*/ 31 w 31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1" y="18"/>
                  </a:moveTo>
                  <a:cubicBezTo>
                    <a:pt x="30" y="14"/>
                    <a:pt x="28" y="11"/>
                    <a:pt x="26" y="8"/>
                  </a:cubicBezTo>
                  <a:cubicBezTo>
                    <a:pt x="20" y="0"/>
                    <a:pt x="10" y="0"/>
                    <a:pt x="4" y="8"/>
                  </a:cubicBezTo>
                  <a:cubicBezTo>
                    <a:pt x="2" y="11"/>
                    <a:pt x="0" y="14"/>
                    <a:pt x="0" y="18"/>
                  </a:cubicBezTo>
                  <a:lnTo>
                    <a:pt x="31" y="18"/>
                  </a:ln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í$ḷîḋé">
              <a:extLst>
                <a:ext uri="{FF2B5EF4-FFF2-40B4-BE49-F238E27FC236}">
                  <a16:creationId xmlns:a16="http://schemas.microsoft.com/office/drawing/2014/main" id="{DEB3931C-5F3C-43D1-971C-4C22DC8FFA18}"/>
                </a:ext>
              </a:extLst>
            </p:cNvPr>
            <p:cNvSpPr/>
            <p:nvPr/>
          </p:nvSpPr>
          <p:spPr bwMode="auto">
            <a:xfrm>
              <a:off x="4213225" y="5113338"/>
              <a:ext cx="50800" cy="160338"/>
            </a:xfrm>
            <a:custGeom>
              <a:avLst/>
              <a:gdLst>
                <a:gd name="T0" fmla="*/ 0 w 19"/>
                <a:gd name="T1" fmla="*/ 60 h 60"/>
                <a:gd name="T2" fmla="*/ 19 w 19"/>
                <a:gd name="T3" fmla="*/ 60 h 60"/>
                <a:gd name="T4" fmla="*/ 19 w 19"/>
                <a:gd name="T5" fmla="*/ 9 h 60"/>
                <a:gd name="T6" fmla="*/ 10 w 19"/>
                <a:gd name="T7" fmla="*/ 0 h 60"/>
                <a:gd name="T8" fmla="*/ 0 w 19"/>
                <a:gd name="T9" fmla="*/ 0 h 60"/>
                <a:gd name="T10" fmla="*/ 0 w 19"/>
                <a:gd name="T1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60">
                  <a:moveTo>
                    <a:pt x="0" y="60"/>
                  </a:moveTo>
                  <a:cubicBezTo>
                    <a:pt x="19" y="60"/>
                    <a:pt x="19" y="60"/>
                    <a:pt x="19" y="6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4"/>
                    <a:pt x="15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0"/>
                  </a:lnTo>
                  <a:close/>
                </a:path>
              </a:pathLst>
            </a:custGeom>
            <a:solidFill>
              <a:srgbClr val="E6E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îṥľíḑè">
              <a:extLst>
                <a:ext uri="{FF2B5EF4-FFF2-40B4-BE49-F238E27FC236}">
                  <a16:creationId xmlns:a16="http://schemas.microsoft.com/office/drawing/2014/main" id="{F37B6CE6-37D9-4FD4-A27E-4DA51690AF59}"/>
                </a:ext>
              </a:extLst>
            </p:cNvPr>
            <p:cNvSpPr/>
            <p:nvPr/>
          </p:nvSpPr>
          <p:spPr bwMode="auto">
            <a:xfrm>
              <a:off x="4176713" y="5211763"/>
              <a:ext cx="117475" cy="125413"/>
            </a:xfrm>
            <a:custGeom>
              <a:avLst/>
              <a:gdLst>
                <a:gd name="T0" fmla="*/ 38 w 44"/>
                <a:gd name="T1" fmla="*/ 8 h 47"/>
                <a:gd name="T2" fmla="*/ 38 w 44"/>
                <a:gd name="T3" fmla="*/ 38 h 47"/>
                <a:gd name="T4" fmla="*/ 7 w 44"/>
                <a:gd name="T5" fmla="*/ 38 h 47"/>
                <a:gd name="T6" fmla="*/ 7 w 44"/>
                <a:gd name="T7" fmla="*/ 8 h 47"/>
                <a:gd name="T8" fmla="*/ 38 w 44"/>
                <a:gd name="T9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7">
                  <a:moveTo>
                    <a:pt x="38" y="8"/>
                  </a:moveTo>
                  <a:cubicBezTo>
                    <a:pt x="44" y="16"/>
                    <a:pt x="44" y="30"/>
                    <a:pt x="38" y="38"/>
                  </a:cubicBezTo>
                  <a:cubicBezTo>
                    <a:pt x="31" y="47"/>
                    <a:pt x="13" y="47"/>
                    <a:pt x="7" y="38"/>
                  </a:cubicBezTo>
                  <a:cubicBezTo>
                    <a:pt x="0" y="30"/>
                    <a:pt x="0" y="16"/>
                    <a:pt x="7" y="8"/>
                  </a:cubicBezTo>
                  <a:cubicBezTo>
                    <a:pt x="13" y="0"/>
                    <a:pt x="31" y="0"/>
                    <a:pt x="38" y="8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iṡlîḍè">
              <a:extLst>
                <a:ext uri="{FF2B5EF4-FFF2-40B4-BE49-F238E27FC236}">
                  <a16:creationId xmlns:a16="http://schemas.microsoft.com/office/drawing/2014/main" id="{1C4F7B39-6DFC-43C1-BE00-9A4182529B34}"/>
                </a:ext>
              </a:extLst>
            </p:cNvPr>
            <p:cNvSpPr/>
            <p:nvPr/>
          </p:nvSpPr>
          <p:spPr bwMode="auto">
            <a:xfrm>
              <a:off x="4229100" y="5218113"/>
              <a:ext cx="41275" cy="114300"/>
            </a:xfrm>
            <a:custGeom>
              <a:avLst/>
              <a:gdLst>
                <a:gd name="T0" fmla="*/ 0 w 26"/>
                <a:gd name="T1" fmla="*/ 13 h 72"/>
                <a:gd name="T2" fmla="*/ 4 w 26"/>
                <a:gd name="T3" fmla="*/ 0 h 72"/>
                <a:gd name="T4" fmla="*/ 26 w 26"/>
                <a:gd name="T5" fmla="*/ 0 h 72"/>
                <a:gd name="T6" fmla="*/ 26 w 26"/>
                <a:gd name="T7" fmla="*/ 72 h 72"/>
                <a:gd name="T8" fmla="*/ 2 w 26"/>
                <a:gd name="T9" fmla="*/ 72 h 72"/>
                <a:gd name="T10" fmla="*/ 0 w 26"/>
                <a:gd name="T11" fmla="*/ 1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72">
                  <a:moveTo>
                    <a:pt x="0" y="13"/>
                  </a:moveTo>
                  <a:lnTo>
                    <a:pt x="4" y="0"/>
                  </a:lnTo>
                  <a:lnTo>
                    <a:pt x="26" y="0"/>
                  </a:lnTo>
                  <a:lnTo>
                    <a:pt x="26" y="72"/>
                  </a:lnTo>
                  <a:lnTo>
                    <a:pt x="2" y="72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îsľiḑê">
              <a:extLst>
                <a:ext uri="{FF2B5EF4-FFF2-40B4-BE49-F238E27FC236}">
                  <a16:creationId xmlns:a16="http://schemas.microsoft.com/office/drawing/2014/main" id="{6E78F105-6044-461C-9A71-FA2660B33792}"/>
                </a:ext>
              </a:extLst>
            </p:cNvPr>
            <p:cNvSpPr/>
            <p:nvPr/>
          </p:nvSpPr>
          <p:spPr bwMode="auto">
            <a:xfrm>
              <a:off x="4219575" y="5211763"/>
              <a:ext cx="95250" cy="125413"/>
            </a:xfrm>
            <a:custGeom>
              <a:avLst/>
              <a:gdLst>
                <a:gd name="T0" fmla="*/ 29 w 36"/>
                <a:gd name="T1" fmla="*/ 8 h 47"/>
                <a:gd name="T2" fmla="*/ 29 w 36"/>
                <a:gd name="T3" fmla="*/ 38 h 47"/>
                <a:gd name="T4" fmla="*/ 7 w 36"/>
                <a:gd name="T5" fmla="*/ 38 h 47"/>
                <a:gd name="T6" fmla="*/ 7 w 36"/>
                <a:gd name="T7" fmla="*/ 8 h 47"/>
                <a:gd name="T8" fmla="*/ 29 w 36"/>
                <a:gd name="T9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47">
                  <a:moveTo>
                    <a:pt x="29" y="8"/>
                  </a:moveTo>
                  <a:cubicBezTo>
                    <a:pt x="36" y="16"/>
                    <a:pt x="36" y="30"/>
                    <a:pt x="29" y="38"/>
                  </a:cubicBezTo>
                  <a:cubicBezTo>
                    <a:pt x="23" y="47"/>
                    <a:pt x="13" y="47"/>
                    <a:pt x="7" y="38"/>
                  </a:cubicBezTo>
                  <a:cubicBezTo>
                    <a:pt x="0" y="30"/>
                    <a:pt x="0" y="16"/>
                    <a:pt x="7" y="8"/>
                  </a:cubicBezTo>
                  <a:cubicBezTo>
                    <a:pt x="13" y="0"/>
                    <a:pt x="23" y="0"/>
                    <a:pt x="29" y="8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iṣ1ïdé">
              <a:extLst>
                <a:ext uri="{FF2B5EF4-FFF2-40B4-BE49-F238E27FC236}">
                  <a16:creationId xmlns:a16="http://schemas.microsoft.com/office/drawing/2014/main" id="{3E8E5967-34D6-40B1-8B5C-DA6AB8D6A67A}"/>
                </a:ext>
              </a:extLst>
            </p:cNvPr>
            <p:cNvSpPr/>
            <p:nvPr/>
          </p:nvSpPr>
          <p:spPr bwMode="auto">
            <a:xfrm>
              <a:off x="4235450" y="5230813"/>
              <a:ext cx="63500" cy="87313"/>
            </a:xfrm>
            <a:custGeom>
              <a:avLst/>
              <a:gdLst>
                <a:gd name="T0" fmla="*/ 20 w 24"/>
                <a:gd name="T1" fmla="*/ 5 h 33"/>
                <a:gd name="T2" fmla="*/ 20 w 24"/>
                <a:gd name="T3" fmla="*/ 27 h 33"/>
                <a:gd name="T4" fmla="*/ 4 w 24"/>
                <a:gd name="T5" fmla="*/ 27 h 33"/>
                <a:gd name="T6" fmla="*/ 4 w 24"/>
                <a:gd name="T7" fmla="*/ 5 h 33"/>
                <a:gd name="T8" fmla="*/ 20 w 24"/>
                <a:gd name="T9" fmla="*/ 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3">
                  <a:moveTo>
                    <a:pt x="20" y="5"/>
                  </a:moveTo>
                  <a:cubicBezTo>
                    <a:pt x="24" y="11"/>
                    <a:pt x="24" y="21"/>
                    <a:pt x="20" y="27"/>
                  </a:cubicBezTo>
                  <a:cubicBezTo>
                    <a:pt x="16" y="33"/>
                    <a:pt x="8" y="33"/>
                    <a:pt x="4" y="27"/>
                  </a:cubicBezTo>
                  <a:cubicBezTo>
                    <a:pt x="0" y="21"/>
                    <a:pt x="0" y="11"/>
                    <a:pt x="4" y="5"/>
                  </a:cubicBezTo>
                  <a:cubicBezTo>
                    <a:pt x="8" y="0"/>
                    <a:pt x="16" y="0"/>
                    <a:pt x="20" y="5"/>
                  </a:cubicBezTo>
                  <a:close/>
                </a:path>
              </a:pathLst>
            </a:custGeom>
            <a:solidFill>
              <a:srgbClr val="9599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ïṡļïḑè">
              <a:extLst>
                <a:ext uri="{FF2B5EF4-FFF2-40B4-BE49-F238E27FC236}">
                  <a16:creationId xmlns:a16="http://schemas.microsoft.com/office/drawing/2014/main" id="{6FCB0F00-E497-49C3-9104-032EAF59A42C}"/>
                </a:ext>
              </a:extLst>
            </p:cNvPr>
            <p:cNvSpPr/>
            <p:nvPr/>
          </p:nvSpPr>
          <p:spPr bwMode="auto">
            <a:xfrm>
              <a:off x="4254500" y="5254625"/>
              <a:ext cx="25400" cy="38100"/>
            </a:xfrm>
            <a:custGeom>
              <a:avLst/>
              <a:gdLst>
                <a:gd name="T0" fmla="*/ 8 w 10"/>
                <a:gd name="T1" fmla="*/ 3 h 14"/>
                <a:gd name="T2" fmla="*/ 8 w 10"/>
                <a:gd name="T3" fmla="*/ 12 h 14"/>
                <a:gd name="T4" fmla="*/ 2 w 10"/>
                <a:gd name="T5" fmla="*/ 12 h 14"/>
                <a:gd name="T6" fmla="*/ 2 w 10"/>
                <a:gd name="T7" fmla="*/ 3 h 14"/>
                <a:gd name="T8" fmla="*/ 8 w 10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4">
                  <a:moveTo>
                    <a:pt x="8" y="3"/>
                  </a:moveTo>
                  <a:cubicBezTo>
                    <a:pt x="10" y="5"/>
                    <a:pt x="10" y="9"/>
                    <a:pt x="8" y="12"/>
                  </a:cubicBezTo>
                  <a:cubicBezTo>
                    <a:pt x="7" y="14"/>
                    <a:pt x="3" y="14"/>
                    <a:pt x="2" y="12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3" y="0"/>
                    <a:pt x="7" y="0"/>
                    <a:pt x="8" y="3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ïṡḻíḋè">
              <a:extLst>
                <a:ext uri="{FF2B5EF4-FFF2-40B4-BE49-F238E27FC236}">
                  <a16:creationId xmlns:a16="http://schemas.microsoft.com/office/drawing/2014/main" id="{24268298-0FCF-412C-8E31-A848857FB9D3}"/>
                </a:ext>
              </a:extLst>
            </p:cNvPr>
            <p:cNvSpPr/>
            <p:nvPr/>
          </p:nvSpPr>
          <p:spPr bwMode="auto">
            <a:xfrm>
              <a:off x="4227513" y="5211763"/>
              <a:ext cx="79375" cy="47625"/>
            </a:xfrm>
            <a:custGeom>
              <a:avLst/>
              <a:gdLst>
                <a:gd name="T0" fmla="*/ 30 w 30"/>
                <a:gd name="T1" fmla="*/ 18 h 18"/>
                <a:gd name="T2" fmla="*/ 26 w 30"/>
                <a:gd name="T3" fmla="*/ 8 h 18"/>
                <a:gd name="T4" fmla="*/ 4 w 30"/>
                <a:gd name="T5" fmla="*/ 8 h 18"/>
                <a:gd name="T6" fmla="*/ 0 w 30"/>
                <a:gd name="T7" fmla="*/ 18 h 18"/>
                <a:gd name="T8" fmla="*/ 30 w 30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30" y="18"/>
                  </a:moveTo>
                  <a:cubicBezTo>
                    <a:pt x="30" y="14"/>
                    <a:pt x="28" y="11"/>
                    <a:pt x="26" y="8"/>
                  </a:cubicBezTo>
                  <a:cubicBezTo>
                    <a:pt x="20" y="0"/>
                    <a:pt x="10" y="0"/>
                    <a:pt x="4" y="8"/>
                  </a:cubicBezTo>
                  <a:cubicBezTo>
                    <a:pt x="2" y="11"/>
                    <a:pt x="0" y="14"/>
                    <a:pt x="0" y="18"/>
                  </a:cubicBezTo>
                  <a:lnTo>
                    <a:pt x="30" y="18"/>
                  </a:ln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ï$lîďe">
              <a:extLst>
                <a:ext uri="{FF2B5EF4-FFF2-40B4-BE49-F238E27FC236}">
                  <a16:creationId xmlns:a16="http://schemas.microsoft.com/office/drawing/2014/main" id="{E107FEF2-9F9A-48DD-AACE-4212DD7D36C4}"/>
                </a:ext>
              </a:extLst>
            </p:cNvPr>
            <p:cNvSpPr/>
            <p:nvPr/>
          </p:nvSpPr>
          <p:spPr bwMode="auto">
            <a:xfrm>
              <a:off x="4702175" y="5211763"/>
              <a:ext cx="117475" cy="125413"/>
            </a:xfrm>
            <a:custGeom>
              <a:avLst/>
              <a:gdLst>
                <a:gd name="T0" fmla="*/ 37 w 44"/>
                <a:gd name="T1" fmla="*/ 8 h 47"/>
                <a:gd name="T2" fmla="*/ 37 w 44"/>
                <a:gd name="T3" fmla="*/ 38 h 47"/>
                <a:gd name="T4" fmla="*/ 7 w 44"/>
                <a:gd name="T5" fmla="*/ 38 h 47"/>
                <a:gd name="T6" fmla="*/ 7 w 44"/>
                <a:gd name="T7" fmla="*/ 8 h 47"/>
                <a:gd name="T8" fmla="*/ 37 w 44"/>
                <a:gd name="T9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7">
                  <a:moveTo>
                    <a:pt x="37" y="8"/>
                  </a:moveTo>
                  <a:cubicBezTo>
                    <a:pt x="44" y="16"/>
                    <a:pt x="44" y="30"/>
                    <a:pt x="37" y="38"/>
                  </a:cubicBezTo>
                  <a:cubicBezTo>
                    <a:pt x="31" y="47"/>
                    <a:pt x="13" y="47"/>
                    <a:pt x="7" y="38"/>
                  </a:cubicBezTo>
                  <a:cubicBezTo>
                    <a:pt x="0" y="30"/>
                    <a:pt x="0" y="16"/>
                    <a:pt x="7" y="8"/>
                  </a:cubicBezTo>
                  <a:cubicBezTo>
                    <a:pt x="13" y="0"/>
                    <a:pt x="31" y="0"/>
                    <a:pt x="37" y="8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iśḷïḓè">
              <a:extLst>
                <a:ext uri="{FF2B5EF4-FFF2-40B4-BE49-F238E27FC236}">
                  <a16:creationId xmlns:a16="http://schemas.microsoft.com/office/drawing/2014/main" id="{B20817F8-C822-4CDF-9D75-AD9A87D4AC26}"/>
                </a:ext>
              </a:extLst>
            </p:cNvPr>
            <p:cNvSpPr/>
            <p:nvPr/>
          </p:nvSpPr>
          <p:spPr bwMode="auto">
            <a:xfrm>
              <a:off x="4756150" y="5218113"/>
              <a:ext cx="39687" cy="114300"/>
            </a:xfrm>
            <a:custGeom>
              <a:avLst/>
              <a:gdLst>
                <a:gd name="T0" fmla="*/ 0 w 25"/>
                <a:gd name="T1" fmla="*/ 13 h 72"/>
                <a:gd name="T2" fmla="*/ 3 w 25"/>
                <a:gd name="T3" fmla="*/ 0 h 72"/>
                <a:gd name="T4" fmla="*/ 25 w 25"/>
                <a:gd name="T5" fmla="*/ 0 h 72"/>
                <a:gd name="T6" fmla="*/ 25 w 25"/>
                <a:gd name="T7" fmla="*/ 72 h 72"/>
                <a:gd name="T8" fmla="*/ 1 w 25"/>
                <a:gd name="T9" fmla="*/ 72 h 72"/>
                <a:gd name="T10" fmla="*/ 0 w 25"/>
                <a:gd name="T11" fmla="*/ 1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72">
                  <a:moveTo>
                    <a:pt x="0" y="13"/>
                  </a:moveTo>
                  <a:lnTo>
                    <a:pt x="3" y="0"/>
                  </a:lnTo>
                  <a:lnTo>
                    <a:pt x="25" y="0"/>
                  </a:lnTo>
                  <a:lnTo>
                    <a:pt x="25" y="72"/>
                  </a:lnTo>
                  <a:lnTo>
                    <a:pt x="1" y="72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iṡļïḍé">
              <a:extLst>
                <a:ext uri="{FF2B5EF4-FFF2-40B4-BE49-F238E27FC236}">
                  <a16:creationId xmlns:a16="http://schemas.microsoft.com/office/drawing/2014/main" id="{3C286127-1620-48E5-8623-84F3E1849C49}"/>
                </a:ext>
              </a:extLst>
            </p:cNvPr>
            <p:cNvSpPr/>
            <p:nvPr/>
          </p:nvSpPr>
          <p:spPr bwMode="auto">
            <a:xfrm>
              <a:off x="4745038" y="5211763"/>
              <a:ext cx="93662" cy="125413"/>
            </a:xfrm>
            <a:custGeom>
              <a:avLst/>
              <a:gdLst>
                <a:gd name="T0" fmla="*/ 29 w 35"/>
                <a:gd name="T1" fmla="*/ 8 h 47"/>
                <a:gd name="T2" fmla="*/ 29 w 35"/>
                <a:gd name="T3" fmla="*/ 38 h 47"/>
                <a:gd name="T4" fmla="*/ 7 w 35"/>
                <a:gd name="T5" fmla="*/ 38 h 47"/>
                <a:gd name="T6" fmla="*/ 7 w 35"/>
                <a:gd name="T7" fmla="*/ 8 h 47"/>
                <a:gd name="T8" fmla="*/ 29 w 35"/>
                <a:gd name="T9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47">
                  <a:moveTo>
                    <a:pt x="29" y="8"/>
                  </a:moveTo>
                  <a:cubicBezTo>
                    <a:pt x="35" y="16"/>
                    <a:pt x="35" y="30"/>
                    <a:pt x="29" y="38"/>
                  </a:cubicBezTo>
                  <a:cubicBezTo>
                    <a:pt x="23" y="47"/>
                    <a:pt x="13" y="47"/>
                    <a:pt x="7" y="38"/>
                  </a:cubicBezTo>
                  <a:cubicBezTo>
                    <a:pt x="0" y="30"/>
                    <a:pt x="0" y="16"/>
                    <a:pt x="7" y="8"/>
                  </a:cubicBezTo>
                  <a:cubicBezTo>
                    <a:pt x="13" y="0"/>
                    <a:pt x="23" y="0"/>
                    <a:pt x="29" y="8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îṣľïḑe">
              <a:extLst>
                <a:ext uri="{FF2B5EF4-FFF2-40B4-BE49-F238E27FC236}">
                  <a16:creationId xmlns:a16="http://schemas.microsoft.com/office/drawing/2014/main" id="{5A3BFF75-0878-4FBC-B489-2AFDD30924FB}"/>
                </a:ext>
              </a:extLst>
            </p:cNvPr>
            <p:cNvSpPr/>
            <p:nvPr/>
          </p:nvSpPr>
          <p:spPr bwMode="auto">
            <a:xfrm>
              <a:off x="4757738" y="5230813"/>
              <a:ext cx="68262" cy="87313"/>
            </a:xfrm>
            <a:custGeom>
              <a:avLst/>
              <a:gdLst>
                <a:gd name="T0" fmla="*/ 21 w 25"/>
                <a:gd name="T1" fmla="*/ 5 h 33"/>
                <a:gd name="T2" fmla="*/ 21 w 25"/>
                <a:gd name="T3" fmla="*/ 27 h 33"/>
                <a:gd name="T4" fmla="*/ 5 w 25"/>
                <a:gd name="T5" fmla="*/ 27 h 33"/>
                <a:gd name="T6" fmla="*/ 5 w 25"/>
                <a:gd name="T7" fmla="*/ 5 h 33"/>
                <a:gd name="T8" fmla="*/ 21 w 25"/>
                <a:gd name="T9" fmla="*/ 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3">
                  <a:moveTo>
                    <a:pt x="21" y="5"/>
                  </a:moveTo>
                  <a:cubicBezTo>
                    <a:pt x="25" y="11"/>
                    <a:pt x="25" y="21"/>
                    <a:pt x="21" y="27"/>
                  </a:cubicBezTo>
                  <a:cubicBezTo>
                    <a:pt x="16" y="33"/>
                    <a:pt x="9" y="33"/>
                    <a:pt x="5" y="27"/>
                  </a:cubicBezTo>
                  <a:cubicBezTo>
                    <a:pt x="0" y="21"/>
                    <a:pt x="0" y="11"/>
                    <a:pt x="5" y="5"/>
                  </a:cubicBezTo>
                  <a:cubicBezTo>
                    <a:pt x="9" y="0"/>
                    <a:pt x="16" y="0"/>
                    <a:pt x="21" y="5"/>
                  </a:cubicBezTo>
                  <a:close/>
                </a:path>
              </a:pathLst>
            </a:custGeom>
            <a:solidFill>
              <a:srgbClr val="9599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ï$ḷïḑe">
              <a:extLst>
                <a:ext uri="{FF2B5EF4-FFF2-40B4-BE49-F238E27FC236}">
                  <a16:creationId xmlns:a16="http://schemas.microsoft.com/office/drawing/2014/main" id="{0883D86C-65CC-4387-8D3F-FABA6D4A18ED}"/>
                </a:ext>
              </a:extLst>
            </p:cNvPr>
            <p:cNvSpPr/>
            <p:nvPr/>
          </p:nvSpPr>
          <p:spPr bwMode="auto">
            <a:xfrm>
              <a:off x="4779963" y="5254625"/>
              <a:ext cx="26987" cy="38100"/>
            </a:xfrm>
            <a:custGeom>
              <a:avLst/>
              <a:gdLst>
                <a:gd name="T0" fmla="*/ 8 w 10"/>
                <a:gd name="T1" fmla="*/ 3 h 14"/>
                <a:gd name="T2" fmla="*/ 8 w 10"/>
                <a:gd name="T3" fmla="*/ 12 h 14"/>
                <a:gd name="T4" fmla="*/ 1 w 10"/>
                <a:gd name="T5" fmla="*/ 12 h 14"/>
                <a:gd name="T6" fmla="*/ 1 w 10"/>
                <a:gd name="T7" fmla="*/ 3 h 14"/>
                <a:gd name="T8" fmla="*/ 8 w 10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4">
                  <a:moveTo>
                    <a:pt x="8" y="3"/>
                  </a:moveTo>
                  <a:cubicBezTo>
                    <a:pt x="10" y="5"/>
                    <a:pt x="10" y="9"/>
                    <a:pt x="8" y="12"/>
                  </a:cubicBezTo>
                  <a:cubicBezTo>
                    <a:pt x="6" y="14"/>
                    <a:pt x="3" y="14"/>
                    <a:pt x="1" y="12"/>
                  </a:cubicBezTo>
                  <a:cubicBezTo>
                    <a:pt x="0" y="9"/>
                    <a:pt x="0" y="5"/>
                    <a:pt x="1" y="3"/>
                  </a:cubicBezTo>
                  <a:cubicBezTo>
                    <a:pt x="3" y="0"/>
                    <a:pt x="6" y="0"/>
                    <a:pt x="8" y="3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íṩḻïdè">
              <a:extLst>
                <a:ext uri="{FF2B5EF4-FFF2-40B4-BE49-F238E27FC236}">
                  <a16:creationId xmlns:a16="http://schemas.microsoft.com/office/drawing/2014/main" id="{8B6D45FB-BE7C-4B7E-B377-3DFEF86710B1}"/>
                </a:ext>
              </a:extLst>
            </p:cNvPr>
            <p:cNvSpPr/>
            <p:nvPr/>
          </p:nvSpPr>
          <p:spPr bwMode="auto">
            <a:xfrm>
              <a:off x="4749800" y="5211763"/>
              <a:ext cx="84137" cy="47625"/>
            </a:xfrm>
            <a:custGeom>
              <a:avLst/>
              <a:gdLst>
                <a:gd name="T0" fmla="*/ 31 w 31"/>
                <a:gd name="T1" fmla="*/ 18 h 18"/>
                <a:gd name="T2" fmla="*/ 27 w 31"/>
                <a:gd name="T3" fmla="*/ 8 h 18"/>
                <a:gd name="T4" fmla="*/ 5 w 31"/>
                <a:gd name="T5" fmla="*/ 8 h 18"/>
                <a:gd name="T6" fmla="*/ 0 w 31"/>
                <a:gd name="T7" fmla="*/ 18 h 18"/>
                <a:gd name="T8" fmla="*/ 31 w 31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1" y="18"/>
                  </a:moveTo>
                  <a:cubicBezTo>
                    <a:pt x="31" y="14"/>
                    <a:pt x="29" y="11"/>
                    <a:pt x="27" y="8"/>
                  </a:cubicBezTo>
                  <a:cubicBezTo>
                    <a:pt x="21" y="0"/>
                    <a:pt x="11" y="0"/>
                    <a:pt x="5" y="8"/>
                  </a:cubicBezTo>
                  <a:cubicBezTo>
                    <a:pt x="2" y="11"/>
                    <a:pt x="1" y="14"/>
                    <a:pt x="0" y="18"/>
                  </a:cubicBezTo>
                  <a:lnTo>
                    <a:pt x="31" y="18"/>
                  </a:ln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îṣļiďê">
              <a:extLst>
                <a:ext uri="{FF2B5EF4-FFF2-40B4-BE49-F238E27FC236}">
                  <a16:creationId xmlns:a16="http://schemas.microsoft.com/office/drawing/2014/main" id="{CFDACE21-6D1B-4B19-BB05-457DBA8FDFAA}"/>
                </a:ext>
              </a:extLst>
            </p:cNvPr>
            <p:cNvSpPr/>
            <p:nvPr/>
          </p:nvSpPr>
          <p:spPr bwMode="auto">
            <a:xfrm>
              <a:off x="3994150" y="5211763"/>
              <a:ext cx="117475" cy="125413"/>
            </a:xfrm>
            <a:custGeom>
              <a:avLst/>
              <a:gdLst>
                <a:gd name="T0" fmla="*/ 37 w 44"/>
                <a:gd name="T1" fmla="*/ 8 h 47"/>
                <a:gd name="T2" fmla="*/ 37 w 44"/>
                <a:gd name="T3" fmla="*/ 38 h 47"/>
                <a:gd name="T4" fmla="*/ 7 w 44"/>
                <a:gd name="T5" fmla="*/ 38 h 47"/>
                <a:gd name="T6" fmla="*/ 7 w 44"/>
                <a:gd name="T7" fmla="*/ 8 h 47"/>
                <a:gd name="T8" fmla="*/ 37 w 44"/>
                <a:gd name="T9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7">
                  <a:moveTo>
                    <a:pt x="37" y="8"/>
                  </a:moveTo>
                  <a:cubicBezTo>
                    <a:pt x="44" y="16"/>
                    <a:pt x="44" y="30"/>
                    <a:pt x="37" y="38"/>
                  </a:cubicBezTo>
                  <a:cubicBezTo>
                    <a:pt x="31" y="47"/>
                    <a:pt x="13" y="47"/>
                    <a:pt x="7" y="38"/>
                  </a:cubicBezTo>
                  <a:cubicBezTo>
                    <a:pt x="0" y="30"/>
                    <a:pt x="0" y="16"/>
                    <a:pt x="7" y="8"/>
                  </a:cubicBezTo>
                  <a:cubicBezTo>
                    <a:pt x="13" y="0"/>
                    <a:pt x="31" y="0"/>
                    <a:pt x="37" y="8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ïşļíḓè">
              <a:extLst>
                <a:ext uri="{FF2B5EF4-FFF2-40B4-BE49-F238E27FC236}">
                  <a16:creationId xmlns:a16="http://schemas.microsoft.com/office/drawing/2014/main" id="{419D9F4C-E2CF-4060-BD40-E0DF3B2140BD}"/>
                </a:ext>
              </a:extLst>
            </p:cNvPr>
            <p:cNvSpPr/>
            <p:nvPr/>
          </p:nvSpPr>
          <p:spPr bwMode="auto">
            <a:xfrm>
              <a:off x="4048125" y="5218113"/>
              <a:ext cx="39687" cy="114300"/>
            </a:xfrm>
            <a:custGeom>
              <a:avLst/>
              <a:gdLst>
                <a:gd name="T0" fmla="*/ 0 w 25"/>
                <a:gd name="T1" fmla="*/ 13 h 72"/>
                <a:gd name="T2" fmla="*/ 3 w 25"/>
                <a:gd name="T3" fmla="*/ 0 h 72"/>
                <a:gd name="T4" fmla="*/ 25 w 25"/>
                <a:gd name="T5" fmla="*/ 0 h 72"/>
                <a:gd name="T6" fmla="*/ 25 w 25"/>
                <a:gd name="T7" fmla="*/ 72 h 72"/>
                <a:gd name="T8" fmla="*/ 2 w 25"/>
                <a:gd name="T9" fmla="*/ 72 h 72"/>
                <a:gd name="T10" fmla="*/ 0 w 25"/>
                <a:gd name="T11" fmla="*/ 1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72">
                  <a:moveTo>
                    <a:pt x="0" y="13"/>
                  </a:moveTo>
                  <a:lnTo>
                    <a:pt x="3" y="0"/>
                  </a:lnTo>
                  <a:lnTo>
                    <a:pt x="25" y="0"/>
                  </a:lnTo>
                  <a:lnTo>
                    <a:pt x="25" y="72"/>
                  </a:lnTo>
                  <a:lnTo>
                    <a:pt x="2" y="72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ïSḻiḓé">
              <a:extLst>
                <a:ext uri="{FF2B5EF4-FFF2-40B4-BE49-F238E27FC236}">
                  <a16:creationId xmlns:a16="http://schemas.microsoft.com/office/drawing/2014/main" id="{6BA84B09-2714-442F-A239-C94391C59929}"/>
                </a:ext>
              </a:extLst>
            </p:cNvPr>
            <p:cNvSpPr/>
            <p:nvPr/>
          </p:nvSpPr>
          <p:spPr bwMode="auto">
            <a:xfrm>
              <a:off x="4037013" y="5211763"/>
              <a:ext cx="93662" cy="125413"/>
            </a:xfrm>
            <a:custGeom>
              <a:avLst/>
              <a:gdLst>
                <a:gd name="T0" fmla="*/ 29 w 35"/>
                <a:gd name="T1" fmla="*/ 8 h 47"/>
                <a:gd name="T2" fmla="*/ 29 w 35"/>
                <a:gd name="T3" fmla="*/ 38 h 47"/>
                <a:gd name="T4" fmla="*/ 7 w 35"/>
                <a:gd name="T5" fmla="*/ 38 h 47"/>
                <a:gd name="T6" fmla="*/ 7 w 35"/>
                <a:gd name="T7" fmla="*/ 8 h 47"/>
                <a:gd name="T8" fmla="*/ 29 w 35"/>
                <a:gd name="T9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47">
                  <a:moveTo>
                    <a:pt x="29" y="8"/>
                  </a:moveTo>
                  <a:cubicBezTo>
                    <a:pt x="35" y="16"/>
                    <a:pt x="35" y="30"/>
                    <a:pt x="29" y="38"/>
                  </a:cubicBezTo>
                  <a:cubicBezTo>
                    <a:pt x="23" y="47"/>
                    <a:pt x="13" y="47"/>
                    <a:pt x="7" y="38"/>
                  </a:cubicBezTo>
                  <a:cubicBezTo>
                    <a:pt x="0" y="30"/>
                    <a:pt x="0" y="16"/>
                    <a:pt x="7" y="8"/>
                  </a:cubicBezTo>
                  <a:cubicBezTo>
                    <a:pt x="13" y="0"/>
                    <a:pt x="23" y="0"/>
                    <a:pt x="29" y="8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isļiḓé">
              <a:extLst>
                <a:ext uri="{FF2B5EF4-FFF2-40B4-BE49-F238E27FC236}">
                  <a16:creationId xmlns:a16="http://schemas.microsoft.com/office/drawing/2014/main" id="{19E2C08E-1F27-4DDA-BA3D-68084F39E3F0}"/>
                </a:ext>
              </a:extLst>
            </p:cNvPr>
            <p:cNvSpPr/>
            <p:nvPr/>
          </p:nvSpPr>
          <p:spPr bwMode="auto">
            <a:xfrm>
              <a:off x="4052888" y="5230813"/>
              <a:ext cx="65087" cy="87313"/>
            </a:xfrm>
            <a:custGeom>
              <a:avLst/>
              <a:gdLst>
                <a:gd name="T0" fmla="*/ 20 w 24"/>
                <a:gd name="T1" fmla="*/ 5 h 33"/>
                <a:gd name="T2" fmla="*/ 20 w 24"/>
                <a:gd name="T3" fmla="*/ 27 h 33"/>
                <a:gd name="T4" fmla="*/ 4 w 24"/>
                <a:gd name="T5" fmla="*/ 27 h 33"/>
                <a:gd name="T6" fmla="*/ 4 w 24"/>
                <a:gd name="T7" fmla="*/ 5 h 33"/>
                <a:gd name="T8" fmla="*/ 20 w 24"/>
                <a:gd name="T9" fmla="*/ 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3">
                  <a:moveTo>
                    <a:pt x="20" y="5"/>
                  </a:moveTo>
                  <a:cubicBezTo>
                    <a:pt x="24" y="11"/>
                    <a:pt x="24" y="21"/>
                    <a:pt x="20" y="27"/>
                  </a:cubicBezTo>
                  <a:cubicBezTo>
                    <a:pt x="15" y="33"/>
                    <a:pt x="8" y="33"/>
                    <a:pt x="4" y="27"/>
                  </a:cubicBezTo>
                  <a:cubicBezTo>
                    <a:pt x="0" y="21"/>
                    <a:pt x="0" y="11"/>
                    <a:pt x="4" y="5"/>
                  </a:cubicBezTo>
                  <a:cubicBezTo>
                    <a:pt x="8" y="0"/>
                    <a:pt x="15" y="0"/>
                    <a:pt x="20" y="5"/>
                  </a:cubicBezTo>
                  <a:close/>
                </a:path>
              </a:pathLst>
            </a:custGeom>
            <a:solidFill>
              <a:srgbClr val="9599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íSļîḑè">
              <a:extLst>
                <a:ext uri="{FF2B5EF4-FFF2-40B4-BE49-F238E27FC236}">
                  <a16:creationId xmlns:a16="http://schemas.microsoft.com/office/drawing/2014/main" id="{9D1134D1-71C1-47EA-ABC8-D039533A3C38}"/>
                </a:ext>
              </a:extLst>
            </p:cNvPr>
            <p:cNvSpPr/>
            <p:nvPr/>
          </p:nvSpPr>
          <p:spPr bwMode="auto">
            <a:xfrm>
              <a:off x="4071938" y="5254625"/>
              <a:ext cx="26987" cy="38100"/>
            </a:xfrm>
            <a:custGeom>
              <a:avLst/>
              <a:gdLst>
                <a:gd name="T0" fmla="*/ 8 w 10"/>
                <a:gd name="T1" fmla="*/ 3 h 14"/>
                <a:gd name="T2" fmla="*/ 8 w 10"/>
                <a:gd name="T3" fmla="*/ 12 h 14"/>
                <a:gd name="T4" fmla="*/ 2 w 10"/>
                <a:gd name="T5" fmla="*/ 12 h 14"/>
                <a:gd name="T6" fmla="*/ 2 w 10"/>
                <a:gd name="T7" fmla="*/ 3 h 14"/>
                <a:gd name="T8" fmla="*/ 8 w 10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4">
                  <a:moveTo>
                    <a:pt x="8" y="3"/>
                  </a:moveTo>
                  <a:cubicBezTo>
                    <a:pt x="10" y="5"/>
                    <a:pt x="10" y="9"/>
                    <a:pt x="8" y="12"/>
                  </a:cubicBezTo>
                  <a:cubicBezTo>
                    <a:pt x="6" y="14"/>
                    <a:pt x="3" y="14"/>
                    <a:pt x="2" y="12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3" y="0"/>
                    <a:pt x="6" y="0"/>
                    <a:pt x="8" y="3"/>
                  </a:cubicBez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íśliḋê">
              <a:extLst>
                <a:ext uri="{FF2B5EF4-FFF2-40B4-BE49-F238E27FC236}">
                  <a16:creationId xmlns:a16="http://schemas.microsoft.com/office/drawing/2014/main" id="{E592A2AF-E918-40CE-9FA4-B5A4E88A7D03}"/>
                </a:ext>
              </a:extLst>
            </p:cNvPr>
            <p:cNvSpPr/>
            <p:nvPr/>
          </p:nvSpPr>
          <p:spPr bwMode="auto">
            <a:xfrm>
              <a:off x="4043363" y="5211763"/>
              <a:ext cx="82550" cy="47625"/>
            </a:xfrm>
            <a:custGeom>
              <a:avLst/>
              <a:gdLst>
                <a:gd name="T0" fmla="*/ 31 w 31"/>
                <a:gd name="T1" fmla="*/ 18 h 18"/>
                <a:gd name="T2" fmla="*/ 27 w 31"/>
                <a:gd name="T3" fmla="*/ 8 h 18"/>
                <a:gd name="T4" fmla="*/ 5 w 31"/>
                <a:gd name="T5" fmla="*/ 8 h 18"/>
                <a:gd name="T6" fmla="*/ 0 w 31"/>
                <a:gd name="T7" fmla="*/ 18 h 18"/>
                <a:gd name="T8" fmla="*/ 31 w 31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1" y="18"/>
                  </a:moveTo>
                  <a:cubicBezTo>
                    <a:pt x="30" y="14"/>
                    <a:pt x="29" y="11"/>
                    <a:pt x="27" y="8"/>
                  </a:cubicBezTo>
                  <a:cubicBezTo>
                    <a:pt x="21" y="0"/>
                    <a:pt x="11" y="0"/>
                    <a:pt x="5" y="8"/>
                  </a:cubicBezTo>
                  <a:cubicBezTo>
                    <a:pt x="3" y="11"/>
                    <a:pt x="1" y="14"/>
                    <a:pt x="0" y="18"/>
                  </a:cubicBezTo>
                  <a:lnTo>
                    <a:pt x="31" y="18"/>
                  </a:lnTo>
                  <a:close/>
                </a:path>
              </a:pathLst>
            </a:custGeom>
            <a:solidFill>
              <a:srgbClr val="7663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iṥļîďé">
              <a:extLst>
                <a:ext uri="{FF2B5EF4-FFF2-40B4-BE49-F238E27FC236}">
                  <a16:creationId xmlns:a16="http://schemas.microsoft.com/office/drawing/2014/main" id="{1B7E24D2-61F7-438A-99D3-8A5FF549F8FB}"/>
                </a:ext>
              </a:extLst>
            </p:cNvPr>
            <p:cNvSpPr/>
            <p:nvPr/>
          </p:nvSpPr>
          <p:spPr bwMode="auto">
            <a:xfrm>
              <a:off x="3732213" y="3390900"/>
              <a:ext cx="730250" cy="1149350"/>
            </a:xfrm>
            <a:custGeom>
              <a:avLst/>
              <a:gdLst>
                <a:gd name="T0" fmla="*/ 89 w 273"/>
                <a:gd name="T1" fmla="*/ 18 h 431"/>
                <a:gd name="T2" fmla="*/ 204 w 273"/>
                <a:gd name="T3" fmla="*/ 29 h 431"/>
                <a:gd name="T4" fmla="*/ 268 w 273"/>
                <a:gd name="T5" fmla="*/ 254 h 431"/>
                <a:gd name="T6" fmla="*/ 259 w 273"/>
                <a:gd name="T7" fmla="*/ 411 h 431"/>
                <a:gd name="T8" fmla="*/ 235 w 273"/>
                <a:gd name="T9" fmla="*/ 431 h 431"/>
                <a:gd name="T10" fmla="*/ 118 w 273"/>
                <a:gd name="T11" fmla="*/ 431 h 431"/>
                <a:gd name="T12" fmla="*/ 95 w 273"/>
                <a:gd name="T13" fmla="*/ 409 h 431"/>
                <a:gd name="T14" fmla="*/ 67 w 273"/>
                <a:gd name="T15" fmla="*/ 169 h 431"/>
                <a:gd name="T16" fmla="*/ 89 w 273"/>
                <a:gd name="T17" fmla="*/ 1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3" h="431">
                  <a:moveTo>
                    <a:pt x="89" y="18"/>
                  </a:moveTo>
                  <a:cubicBezTo>
                    <a:pt x="132" y="16"/>
                    <a:pt x="184" y="0"/>
                    <a:pt x="204" y="29"/>
                  </a:cubicBezTo>
                  <a:cubicBezTo>
                    <a:pt x="223" y="59"/>
                    <a:pt x="262" y="193"/>
                    <a:pt x="268" y="254"/>
                  </a:cubicBezTo>
                  <a:cubicBezTo>
                    <a:pt x="273" y="299"/>
                    <a:pt x="264" y="375"/>
                    <a:pt x="259" y="411"/>
                  </a:cubicBezTo>
                  <a:cubicBezTo>
                    <a:pt x="257" y="423"/>
                    <a:pt x="247" y="431"/>
                    <a:pt x="235" y="431"/>
                  </a:cubicBezTo>
                  <a:cubicBezTo>
                    <a:pt x="118" y="431"/>
                    <a:pt x="118" y="431"/>
                    <a:pt x="118" y="431"/>
                  </a:cubicBezTo>
                  <a:cubicBezTo>
                    <a:pt x="105" y="431"/>
                    <a:pt x="95" y="421"/>
                    <a:pt x="95" y="409"/>
                  </a:cubicBezTo>
                  <a:cubicBezTo>
                    <a:pt x="92" y="357"/>
                    <a:pt x="85" y="230"/>
                    <a:pt x="67" y="169"/>
                  </a:cubicBezTo>
                  <a:cubicBezTo>
                    <a:pt x="45" y="92"/>
                    <a:pt x="0" y="21"/>
                    <a:pt x="89" y="18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îṥļídé">
              <a:extLst>
                <a:ext uri="{FF2B5EF4-FFF2-40B4-BE49-F238E27FC236}">
                  <a16:creationId xmlns:a16="http://schemas.microsoft.com/office/drawing/2014/main" id="{5312D7B6-AF53-4C56-A9C2-D6A2AA05E68E}"/>
                </a:ext>
              </a:extLst>
            </p:cNvPr>
            <p:cNvSpPr/>
            <p:nvPr/>
          </p:nvSpPr>
          <p:spPr bwMode="auto">
            <a:xfrm>
              <a:off x="4373563" y="4044950"/>
              <a:ext cx="582612" cy="95250"/>
            </a:xfrm>
            <a:custGeom>
              <a:avLst/>
              <a:gdLst>
                <a:gd name="T0" fmla="*/ 206 w 218"/>
                <a:gd name="T1" fmla="*/ 36 h 36"/>
                <a:gd name="T2" fmla="*/ 19 w 218"/>
                <a:gd name="T3" fmla="*/ 36 h 36"/>
                <a:gd name="T4" fmla="*/ 0 w 218"/>
                <a:gd name="T5" fmla="*/ 18 h 36"/>
                <a:gd name="T6" fmla="*/ 19 w 218"/>
                <a:gd name="T7" fmla="*/ 0 h 36"/>
                <a:gd name="T8" fmla="*/ 175 w 218"/>
                <a:gd name="T9" fmla="*/ 0 h 36"/>
                <a:gd name="T10" fmla="*/ 214 w 218"/>
                <a:gd name="T11" fmla="*/ 22 h 36"/>
                <a:gd name="T12" fmla="*/ 206 w 218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36">
                  <a:moveTo>
                    <a:pt x="206" y="36"/>
                  </a:moveTo>
                  <a:cubicBezTo>
                    <a:pt x="19" y="36"/>
                    <a:pt x="19" y="36"/>
                    <a:pt x="19" y="36"/>
                  </a:cubicBezTo>
                  <a:cubicBezTo>
                    <a:pt x="9" y="36"/>
                    <a:pt x="0" y="28"/>
                    <a:pt x="0" y="18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91" y="0"/>
                    <a:pt x="206" y="8"/>
                    <a:pt x="214" y="22"/>
                  </a:cubicBezTo>
                  <a:cubicBezTo>
                    <a:pt x="218" y="29"/>
                    <a:pt x="213" y="36"/>
                    <a:pt x="206" y="36"/>
                  </a:cubicBezTo>
                  <a:close/>
                </a:path>
              </a:pathLst>
            </a:custGeom>
            <a:solidFill>
              <a:srgbClr val="474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i$ḷíḓe">
              <a:extLst>
                <a:ext uri="{FF2B5EF4-FFF2-40B4-BE49-F238E27FC236}">
                  <a16:creationId xmlns:a16="http://schemas.microsoft.com/office/drawing/2014/main" id="{C085A537-32C8-4B7B-9D81-195C185D4A3A}"/>
                </a:ext>
              </a:extLst>
            </p:cNvPr>
            <p:cNvSpPr/>
            <p:nvPr/>
          </p:nvSpPr>
          <p:spPr bwMode="auto">
            <a:xfrm>
              <a:off x="6176963" y="2763838"/>
              <a:ext cx="1195387" cy="947738"/>
            </a:xfrm>
            <a:custGeom>
              <a:avLst/>
              <a:gdLst>
                <a:gd name="T0" fmla="*/ 447 w 448"/>
                <a:gd name="T1" fmla="*/ 355 h 355"/>
                <a:gd name="T2" fmla="*/ 2 w 448"/>
                <a:gd name="T3" fmla="*/ 355 h 355"/>
                <a:gd name="T4" fmla="*/ 0 w 448"/>
                <a:gd name="T5" fmla="*/ 353 h 355"/>
                <a:gd name="T6" fmla="*/ 0 w 448"/>
                <a:gd name="T7" fmla="*/ 2 h 355"/>
                <a:gd name="T8" fmla="*/ 2 w 448"/>
                <a:gd name="T9" fmla="*/ 0 h 355"/>
                <a:gd name="T10" fmla="*/ 447 w 448"/>
                <a:gd name="T11" fmla="*/ 0 h 355"/>
                <a:gd name="T12" fmla="*/ 448 w 448"/>
                <a:gd name="T13" fmla="*/ 2 h 355"/>
                <a:gd name="T14" fmla="*/ 448 w 448"/>
                <a:gd name="T15" fmla="*/ 353 h 355"/>
                <a:gd name="T16" fmla="*/ 447 w 448"/>
                <a:gd name="T17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355">
                  <a:moveTo>
                    <a:pt x="447" y="355"/>
                  </a:moveTo>
                  <a:cubicBezTo>
                    <a:pt x="2" y="355"/>
                    <a:pt x="2" y="355"/>
                    <a:pt x="2" y="355"/>
                  </a:cubicBezTo>
                  <a:cubicBezTo>
                    <a:pt x="1" y="355"/>
                    <a:pt x="0" y="354"/>
                    <a:pt x="0" y="3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47" y="0"/>
                    <a:pt x="447" y="0"/>
                    <a:pt x="447" y="0"/>
                  </a:cubicBezTo>
                  <a:cubicBezTo>
                    <a:pt x="448" y="0"/>
                    <a:pt x="448" y="1"/>
                    <a:pt x="448" y="2"/>
                  </a:cubicBezTo>
                  <a:cubicBezTo>
                    <a:pt x="448" y="353"/>
                    <a:pt x="448" y="353"/>
                    <a:pt x="448" y="353"/>
                  </a:cubicBezTo>
                  <a:cubicBezTo>
                    <a:pt x="448" y="354"/>
                    <a:pt x="448" y="355"/>
                    <a:pt x="447" y="355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ïṣḻïḑê">
              <a:extLst>
                <a:ext uri="{FF2B5EF4-FFF2-40B4-BE49-F238E27FC236}">
                  <a16:creationId xmlns:a16="http://schemas.microsoft.com/office/drawing/2014/main" id="{00776B75-9BB6-41DF-A13A-59E68EFE138B}"/>
                </a:ext>
              </a:extLst>
            </p:cNvPr>
            <p:cNvSpPr/>
            <p:nvPr/>
          </p:nvSpPr>
          <p:spPr bwMode="auto">
            <a:xfrm>
              <a:off x="6278241" y="3394075"/>
              <a:ext cx="283942" cy="319089"/>
            </a:xfrm>
            <a:custGeom>
              <a:avLst/>
              <a:gdLst>
                <a:gd name="connsiteX0" fmla="*/ 283314 w 283942"/>
                <a:gd name="connsiteY0" fmla="*/ 0 h 319089"/>
                <a:gd name="connsiteX1" fmla="*/ 227167 w 283942"/>
                <a:gd name="connsiteY1" fmla="*/ 255929 h 319089"/>
                <a:gd name="connsiteX2" fmla="*/ 196676 w 283942"/>
                <a:gd name="connsiteY2" fmla="*/ 296564 h 319089"/>
                <a:gd name="connsiteX3" fmla="*/ 180417 w 283942"/>
                <a:gd name="connsiteY3" fmla="*/ 319089 h 319089"/>
                <a:gd name="connsiteX4" fmla="*/ 0 w 283942"/>
                <a:gd name="connsiteY4" fmla="*/ 319089 h 319089"/>
                <a:gd name="connsiteX5" fmla="*/ 39132 w 283942"/>
                <a:gd name="connsiteY5" fmla="*/ 248890 h 319089"/>
                <a:gd name="connsiteX6" fmla="*/ 93483 w 283942"/>
                <a:gd name="connsiteY6" fmla="*/ 157290 h 319089"/>
                <a:gd name="connsiteX7" fmla="*/ 283314 w 283942"/>
                <a:gd name="connsiteY7" fmla="*/ 0 h 31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942" h="319089">
                  <a:moveTo>
                    <a:pt x="283314" y="0"/>
                  </a:moveTo>
                  <a:cubicBezTo>
                    <a:pt x="283314" y="0"/>
                    <a:pt x="294009" y="167954"/>
                    <a:pt x="227167" y="255929"/>
                  </a:cubicBezTo>
                  <a:cubicBezTo>
                    <a:pt x="218812" y="266593"/>
                    <a:pt x="208451" y="280464"/>
                    <a:pt x="196676" y="296564"/>
                  </a:cubicBezTo>
                  <a:lnTo>
                    <a:pt x="180417" y="319089"/>
                  </a:lnTo>
                  <a:lnTo>
                    <a:pt x="0" y="319089"/>
                  </a:lnTo>
                  <a:lnTo>
                    <a:pt x="39132" y="248890"/>
                  </a:lnTo>
                  <a:cubicBezTo>
                    <a:pt x="58224" y="215107"/>
                    <a:pt x="76772" y="183283"/>
                    <a:pt x="93483" y="157290"/>
                  </a:cubicBezTo>
                  <a:cubicBezTo>
                    <a:pt x="162999" y="50653"/>
                    <a:pt x="216472" y="15996"/>
                    <a:pt x="283314" y="0"/>
                  </a:cubicBez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iśľíďè">
              <a:extLst>
                <a:ext uri="{FF2B5EF4-FFF2-40B4-BE49-F238E27FC236}">
                  <a16:creationId xmlns:a16="http://schemas.microsoft.com/office/drawing/2014/main" id="{9F55D4B7-C4AA-4C13-89F0-539BE7FE277A}"/>
                </a:ext>
              </a:extLst>
            </p:cNvPr>
            <p:cNvSpPr/>
            <p:nvPr/>
          </p:nvSpPr>
          <p:spPr bwMode="auto">
            <a:xfrm>
              <a:off x="6448425" y="2806700"/>
              <a:ext cx="369887" cy="661988"/>
            </a:xfrm>
            <a:custGeom>
              <a:avLst/>
              <a:gdLst>
                <a:gd name="T0" fmla="*/ 16 w 138"/>
                <a:gd name="T1" fmla="*/ 50 h 248"/>
                <a:gd name="T2" fmla="*/ 75 w 138"/>
                <a:gd name="T3" fmla="*/ 11 h 248"/>
                <a:gd name="T4" fmla="*/ 123 w 138"/>
                <a:gd name="T5" fmla="*/ 12 h 248"/>
                <a:gd name="T6" fmla="*/ 126 w 138"/>
                <a:gd name="T7" fmla="*/ 67 h 248"/>
                <a:gd name="T8" fmla="*/ 138 w 138"/>
                <a:gd name="T9" fmla="*/ 143 h 248"/>
                <a:gd name="T10" fmla="*/ 23 w 138"/>
                <a:gd name="T11" fmla="*/ 173 h 248"/>
                <a:gd name="T12" fmla="*/ 16 w 138"/>
                <a:gd name="T13" fmla="*/ 5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248">
                  <a:moveTo>
                    <a:pt x="16" y="50"/>
                  </a:moveTo>
                  <a:cubicBezTo>
                    <a:pt x="25" y="37"/>
                    <a:pt x="48" y="22"/>
                    <a:pt x="75" y="11"/>
                  </a:cubicBezTo>
                  <a:cubicBezTo>
                    <a:pt x="101" y="0"/>
                    <a:pt x="123" y="12"/>
                    <a:pt x="123" y="12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8" y="143"/>
                    <a:pt x="138" y="143"/>
                    <a:pt x="138" y="143"/>
                  </a:cubicBezTo>
                  <a:cubicBezTo>
                    <a:pt x="138" y="143"/>
                    <a:pt x="74" y="248"/>
                    <a:pt x="23" y="173"/>
                  </a:cubicBezTo>
                  <a:cubicBezTo>
                    <a:pt x="11" y="154"/>
                    <a:pt x="0" y="71"/>
                    <a:pt x="16" y="50"/>
                  </a:cubicBezTo>
                  <a:close/>
                </a:path>
              </a:pathLst>
            </a:custGeom>
            <a:solidFill>
              <a:srgbClr val="305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iŝḻide">
              <a:extLst>
                <a:ext uri="{FF2B5EF4-FFF2-40B4-BE49-F238E27FC236}">
                  <a16:creationId xmlns:a16="http://schemas.microsoft.com/office/drawing/2014/main" id="{A81D5460-F577-4CED-B11F-20F89C5725A2}"/>
                </a:ext>
              </a:extLst>
            </p:cNvPr>
            <p:cNvSpPr/>
            <p:nvPr/>
          </p:nvSpPr>
          <p:spPr bwMode="auto">
            <a:xfrm>
              <a:off x="6572250" y="2789238"/>
              <a:ext cx="463550" cy="515938"/>
            </a:xfrm>
            <a:custGeom>
              <a:avLst/>
              <a:gdLst>
                <a:gd name="T0" fmla="*/ 63 w 174"/>
                <a:gd name="T1" fmla="*/ 194 h 194"/>
                <a:gd name="T2" fmla="*/ 68 w 174"/>
                <a:gd name="T3" fmla="*/ 142 h 194"/>
                <a:gd name="T4" fmla="*/ 0 w 174"/>
                <a:gd name="T5" fmla="*/ 62 h 194"/>
                <a:gd name="T6" fmla="*/ 50 w 174"/>
                <a:gd name="T7" fmla="*/ 25 h 194"/>
                <a:gd name="T8" fmla="*/ 140 w 174"/>
                <a:gd name="T9" fmla="*/ 135 h 194"/>
                <a:gd name="T10" fmla="*/ 63 w 174"/>
                <a:gd name="T11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4" h="194">
                  <a:moveTo>
                    <a:pt x="63" y="194"/>
                  </a:moveTo>
                  <a:cubicBezTo>
                    <a:pt x="66" y="168"/>
                    <a:pt x="74" y="158"/>
                    <a:pt x="68" y="142"/>
                  </a:cubicBezTo>
                  <a:cubicBezTo>
                    <a:pt x="55" y="103"/>
                    <a:pt x="0" y="62"/>
                    <a:pt x="0" y="62"/>
                  </a:cubicBezTo>
                  <a:cubicBezTo>
                    <a:pt x="0" y="62"/>
                    <a:pt x="26" y="38"/>
                    <a:pt x="50" y="25"/>
                  </a:cubicBezTo>
                  <a:cubicBezTo>
                    <a:pt x="98" y="0"/>
                    <a:pt x="174" y="62"/>
                    <a:pt x="140" y="135"/>
                  </a:cubicBezTo>
                  <a:cubicBezTo>
                    <a:pt x="122" y="175"/>
                    <a:pt x="96" y="173"/>
                    <a:pt x="63" y="194"/>
                  </a:cubicBezTo>
                  <a:close/>
                </a:path>
              </a:pathLst>
            </a:custGeom>
            <a:solidFill>
              <a:srgbClr val="305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iṩlïḍe">
              <a:extLst>
                <a:ext uri="{FF2B5EF4-FFF2-40B4-BE49-F238E27FC236}">
                  <a16:creationId xmlns:a16="http://schemas.microsoft.com/office/drawing/2014/main" id="{131F82D4-B64C-4090-B5C7-3E5E8778EAFC}"/>
                </a:ext>
              </a:extLst>
            </p:cNvPr>
            <p:cNvSpPr/>
            <p:nvPr/>
          </p:nvSpPr>
          <p:spPr bwMode="auto">
            <a:xfrm>
              <a:off x="6526213" y="2943225"/>
              <a:ext cx="341312" cy="384175"/>
            </a:xfrm>
            <a:custGeom>
              <a:avLst/>
              <a:gdLst>
                <a:gd name="T0" fmla="*/ 24 w 128"/>
                <a:gd name="T1" fmla="*/ 3 h 144"/>
                <a:gd name="T2" fmla="*/ 85 w 128"/>
                <a:gd name="T3" fmla="*/ 61 h 144"/>
                <a:gd name="T4" fmla="*/ 116 w 128"/>
                <a:gd name="T5" fmla="*/ 58 h 144"/>
                <a:gd name="T6" fmla="*/ 115 w 128"/>
                <a:gd name="T7" fmla="*/ 89 h 144"/>
                <a:gd name="T8" fmla="*/ 103 w 128"/>
                <a:gd name="T9" fmla="*/ 101 h 144"/>
                <a:gd name="T10" fmla="*/ 61 w 128"/>
                <a:gd name="T11" fmla="*/ 139 h 144"/>
                <a:gd name="T12" fmla="*/ 11 w 128"/>
                <a:gd name="T13" fmla="*/ 103 h 144"/>
                <a:gd name="T14" fmla="*/ 4 w 128"/>
                <a:gd name="T15" fmla="*/ 5 h 144"/>
                <a:gd name="T16" fmla="*/ 24 w 128"/>
                <a:gd name="T17" fmla="*/ 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144">
                  <a:moveTo>
                    <a:pt x="24" y="3"/>
                  </a:moveTo>
                  <a:cubicBezTo>
                    <a:pt x="71" y="0"/>
                    <a:pt x="69" y="50"/>
                    <a:pt x="85" y="61"/>
                  </a:cubicBezTo>
                  <a:cubicBezTo>
                    <a:pt x="100" y="71"/>
                    <a:pt x="103" y="56"/>
                    <a:pt x="116" y="58"/>
                  </a:cubicBezTo>
                  <a:cubicBezTo>
                    <a:pt x="128" y="61"/>
                    <a:pt x="126" y="77"/>
                    <a:pt x="115" y="89"/>
                  </a:cubicBezTo>
                  <a:cubicBezTo>
                    <a:pt x="110" y="96"/>
                    <a:pt x="109" y="96"/>
                    <a:pt x="103" y="101"/>
                  </a:cubicBezTo>
                  <a:cubicBezTo>
                    <a:pt x="91" y="113"/>
                    <a:pt x="94" y="129"/>
                    <a:pt x="61" y="139"/>
                  </a:cubicBezTo>
                  <a:cubicBezTo>
                    <a:pt x="44" y="144"/>
                    <a:pt x="22" y="130"/>
                    <a:pt x="11" y="103"/>
                  </a:cubicBezTo>
                  <a:cubicBezTo>
                    <a:pt x="0" y="77"/>
                    <a:pt x="4" y="5"/>
                    <a:pt x="4" y="5"/>
                  </a:cubicBezTo>
                  <a:cubicBezTo>
                    <a:pt x="4" y="5"/>
                    <a:pt x="6" y="4"/>
                    <a:pt x="24" y="3"/>
                  </a:cubicBez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işḻiḍè">
              <a:extLst>
                <a:ext uri="{FF2B5EF4-FFF2-40B4-BE49-F238E27FC236}">
                  <a16:creationId xmlns:a16="http://schemas.microsoft.com/office/drawing/2014/main" id="{CA7AF424-C961-49E2-BAE5-40DAC5D068B4}"/>
                </a:ext>
              </a:extLst>
            </p:cNvPr>
            <p:cNvSpPr/>
            <p:nvPr/>
          </p:nvSpPr>
          <p:spPr bwMode="auto">
            <a:xfrm>
              <a:off x="6643688" y="3194050"/>
              <a:ext cx="195262" cy="200025"/>
            </a:xfrm>
            <a:custGeom>
              <a:avLst/>
              <a:gdLst>
                <a:gd name="T0" fmla="*/ 3 w 73"/>
                <a:gd name="T1" fmla="*/ 34 h 75"/>
                <a:gd name="T2" fmla="*/ 0 w 73"/>
                <a:gd name="T3" fmla="*/ 75 h 75"/>
                <a:gd name="T4" fmla="*/ 73 w 73"/>
                <a:gd name="T5" fmla="*/ 64 h 75"/>
                <a:gd name="T6" fmla="*/ 46 w 73"/>
                <a:gd name="T7" fmla="*/ 0 h 75"/>
                <a:gd name="T8" fmla="*/ 3 w 73"/>
                <a:gd name="T9" fmla="*/ 3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75">
                  <a:moveTo>
                    <a:pt x="3" y="34"/>
                  </a:moveTo>
                  <a:cubicBezTo>
                    <a:pt x="6" y="47"/>
                    <a:pt x="0" y="75"/>
                    <a:pt x="0" y="75"/>
                  </a:cubicBezTo>
                  <a:cubicBezTo>
                    <a:pt x="0" y="75"/>
                    <a:pt x="56" y="67"/>
                    <a:pt x="73" y="64"/>
                  </a:cubicBezTo>
                  <a:cubicBezTo>
                    <a:pt x="73" y="64"/>
                    <a:pt x="48" y="18"/>
                    <a:pt x="46" y="0"/>
                  </a:cubicBezTo>
                  <a:lnTo>
                    <a:pt x="3" y="34"/>
                  </a:ln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îsľiḋé">
              <a:extLst>
                <a:ext uri="{FF2B5EF4-FFF2-40B4-BE49-F238E27FC236}">
                  <a16:creationId xmlns:a16="http://schemas.microsoft.com/office/drawing/2014/main" id="{62F935FD-28B6-4E9B-A07A-1229DE9343CB}"/>
                </a:ext>
              </a:extLst>
            </p:cNvPr>
            <p:cNvSpPr/>
            <p:nvPr/>
          </p:nvSpPr>
          <p:spPr bwMode="auto">
            <a:xfrm>
              <a:off x="6534150" y="3330575"/>
              <a:ext cx="454025" cy="300038"/>
            </a:xfrm>
            <a:custGeom>
              <a:avLst/>
              <a:gdLst>
                <a:gd name="T0" fmla="*/ 73 w 170"/>
                <a:gd name="T1" fmla="*/ 12 h 113"/>
                <a:gd name="T2" fmla="*/ 94 w 170"/>
                <a:gd name="T3" fmla="*/ 0 h 113"/>
                <a:gd name="T4" fmla="*/ 142 w 170"/>
                <a:gd name="T5" fmla="*/ 12 h 113"/>
                <a:gd name="T6" fmla="*/ 170 w 170"/>
                <a:gd name="T7" fmla="*/ 18 h 113"/>
                <a:gd name="T8" fmla="*/ 80 w 170"/>
                <a:gd name="T9" fmla="*/ 112 h 113"/>
                <a:gd name="T10" fmla="*/ 0 w 170"/>
                <a:gd name="T11" fmla="*/ 26 h 113"/>
                <a:gd name="T12" fmla="*/ 43 w 170"/>
                <a:gd name="T13" fmla="*/ 10 h 113"/>
                <a:gd name="T14" fmla="*/ 73 w 170"/>
                <a:gd name="T15" fmla="*/ 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0" h="113">
                  <a:moveTo>
                    <a:pt x="73" y="12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120" y="8"/>
                    <a:pt x="142" y="12"/>
                  </a:cubicBezTo>
                  <a:cubicBezTo>
                    <a:pt x="164" y="16"/>
                    <a:pt x="170" y="18"/>
                    <a:pt x="170" y="18"/>
                  </a:cubicBezTo>
                  <a:cubicBezTo>
                    <a:pt x="170" y="18"/>
                    <a:pt x="146" y="111"/>
                    <a:pt x="80" y="112"/>
                  </a:cubicBezTo>
                  <a:cubicBezTo>
                    <a:pt x="13" y="113"/>
                    <a:pt x="0" y="26"/>
                    <a:pt x="0" y="26"/>
                  </a:cubicBezTo>
                  <a:cubicBezTo>
                    <a:pt x="43" y="10"/>
                    <a:pt x="43" y="10"/>
                    <a:pt x="43" y="10"/>
                  </a:cubicBezTo>
                  <a:lnTo>
                    <a:pt x="73" y="12"/>
                  </a:ln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ïsḻîḍé">
              <a:extLst>
                <a:ext uri="{FF2B5EF4-FFF2-40B4-BE49-F238E27FC236}">
                  <a16:creationId xmlns:a16="http://schemas.microsoft.com/office/drawing/2014/main" id="{E1ED9CEE-B625-4800-8FBA-B9539E484C03}"/>
                </a:ext>
              </a:extLst>
            </p:cNvPr>
            <p:cNvSpPr/>
            <p:nvPr/>
          </p:nvSpPr>
          <p:spPr bwMode="auto">
            <a:xfrm>
              <a:off x="6471828" y="3354388"/>
              <a:ext cx="592638" cy="354013"/>
            </a:xfrm>
            <a:custGeom>
              <a:avLst/>
              <a:gdLst>
                <a:gd name="connsiteX0" fmla="*/ 402326 w 592638"/>
                <a:gd name="connsiteY0" fmla="*/ 0 h 354013"/>
                <a:gd name="connsiteX1" fmla="*/ 541340 w 592638"/>
                <a:gd name="connsiteY1" fmla="*/ 26655 h 354013"/>
                <a:gd name="connsiteX2" fmla="*/ 592134 w 592638"/>
                <a:gd name="connsiteY2" fmla="*/ 215908 h 354013"/>
                <a:gd name="connsiteX3" fmla="*/ 590959 w 592638"/>
                <a:gd name="connsiteY3" fmla="*/ 298565 h 354013"/>
                <a:gd name="connsiteX4" fmla="*/ 583741 w 592638"/>
                <a:gd name="connsiteY4" fmla="*/ 354013 h 354013"/>
                <a:gd name="connsiteX5" fmla="*/ 8391 w 592638"/>
                <a:gd name="connsiteY5" fmla="*/ 354013 h 354013"/>
                <a:gd name="connsiteX6" fmla="*/ 6671 w 592638"/>
                <a:gd name="connsiteY6" fmla="*/ 326527 h 354013"/>
                <a:gd name="connsiteX7" fmla="*/ 25384 w 592638"/>
                <a:gd name="connsiteY7" fmla="*/ 234566 h 354013"/>
                <a:gd name="connsiteX8" fmla="*/ 3997 w 592638"/>
                <a:gd name="connsiteY8" fmla="*/ 61307 h 354013"/>
                <a:gd name="connsiteX9" fmla="*/ 129645 w 592638"/>
                <a:gd name="connsiteY9" fmla="*/ 10662 h 354013"/>
                <a:gd name="connsiteX10" fmla="*/ 225885 w 592638"/>
                <a:gd name="connsiteY10" fmla="*/ 79966 h 354013"/>
                <a:gd name="connsiteX11" fmla="*/ 402326 w 592638"/>
                <a:gd name="connsiteY11" fmla="*/ 0 h 35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2638" h="354013">
                  <a:moveTo>
                    <a:pt x="402326" y="0"/>
                  </a:moveTo>
                  <a:cubicBezTo>
                    <a:pt x="402326" y="0"/>
                    <a:pt x="402326" y="0"/>
                    <a:pt x="541340" y="26655"/>
                  </a:cubicBezTo>
                  <a:cubicBezTo>
                    <a:pt x="541340" y="26655"/>
                    <a:pt x="589461" y="186587"/>
                    <a:pt x="592134" y="215908"/>
                  </a:cubicBezTo>
                  <a:cubicBezTo>
                    <a:pt x="593137" y="248227"/>
                    <a:pt x="592594" y="275340"/>
                    <a:pt x="590959" y="298565"/>
                  </a:cubicBezTo>
                  <a:lnTo>
                    <a:pt x="583741" y="354013"/>
                  </a:lnTo>
                  <a:lnTo>
                    <a:pt x="8391" y="354013"/>
                  </a:lnTo>
                  <a:lnTo>
                    <a:pt x="6671" y="326527"/>
                  </a:lnTo>
                  <a:cubicBezTo>
                    <a:pt x="9344" y="289876"/>
                    <a:pt x="20038" y="258556"/>
                    <a:pt x="25384" y="234566"/>
                  </a:cubicBezTo>
                  <a:cubicBezTo>
                    <a:pt x="25384" y="234566"/>
                    <a:pt x="-12043" y="90628"/>
                    <a:pt x="3997" y="61307"/>
                  </a:cubicBezTo>
                  <a:cubicBezTo>
                    <a:pt x="3997" y="61307"/>
                    <a:pt x="30731" y="34652"/>
                    <a:pt x="129645" y="10662"/>
                  </a:cubicBezTo>
                  <a:cubicBezTo>
                    <a:pt x="129645" y="10662"/>
                    <a:pt x="148358" y="61307"/>
                    <a:pt x="225885" y="79966"/>
                  </a:cubicBezTo>
                  <a:cubicBezTo>
                    <a:pt x="303412" y="98624"/>
                    <a:pt x="402326" y="0"/>
                    <a:pt x="402326" y="0"/>
                  </a:cubicBezTo>
                  <a:close/>
                </a:path>
              </a:pathLst>
            </a:custGeom>
            <a:solidFill>
              <a:srgbClr val="6DD5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i$ļiḋè">
              <a:extLst>
                <a:ext uri="{FF2B5EF4-FFF2-40B4-BE49-F238E27FC236}">
                  <a16:creationId xmlns:a16="http://schemas.microsoft.com/office/drawing/2014/main" id="{BCC85A27-CF63-49CF-B35F-6D08565FA5CD}"/>
                </a:ext>
              </a:extLst>
            </p:cNvPr>
            <p:cNvSpPr/>
            <p:nvPr/>
          </p:nvSpPr>
          <p:spPr bwMode="auto">
            <a:xfrm>
              <a:off x="6650038" y="3073400"/>
              <a:ext cx="31750" cy="34925"/>
            </a:xfrm>
            <a:custGeom>
              <a:avLst/>
              <a:gdLst>
                <a:gd name="T0" fmla="*/ 0 w 12"/>
                <a:gd name="T1" fmla="*/ 5 h 13"/>
                <a:gd name="T2" fmla="*/ 5 w 12"/>
                <a:gd name="T3" fmla="*/ 12 h 13"/>
                <a:gd name="T4" fmla="*/ 11 w 12"/>
                <a:gd name="T5" fmla="*/ 8 h 13"/>
                <a:gd name="T6" fmla="*/ 7 w 12"/>
                <a:gd name="T7" fmla="*/ 1 h 13"/>
                <a:gd name="T8" fmla="*/ 0 w 12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0" y="5"/>
                  </a:moveTo>
                  <a:cubicBezTo>
                    <a:pt x="0" y="9"/>
                    <a:pt x="2" y="12"/>
                    <a:pt x="5" y="12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2" y="5"/>
                    <a:pt x="10" y="2"/>
                    <a:pt x="7" y="1"/>
                  </a:cubicBezTo>
                  <a:cubicBezTo>
                    <a:pt x="4" y="0"/>
                    <a:pt x="1" y="2"/>
                    <a:pt x="0" y="5"/>
                  </a:cubicBezTo>
                  <a:close/>
                </a:path>
              </a:pathLst>
            </a:custGeom>
            <a:solidFill>
              <a:srgbClr val="305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îš1íḋè">
              <a:extLst>
                <a:ext uri="{FF2B5EF4-FFF2-40B4-BE49-F238E27FC236}">
                  <a16:creationId xmlns:a16="http://schemas.microsoft.com/office/drawing/2014/main" id="{FBE51FAC-031F-46BE-BBD1-B7CCB73DDEFD}"/>
                </a:ext>
              </a:extLst>
            </p:cNvPr>
            <p:cNvSpPr/>
            <p:nvPr/>
          </p:nvSpPr>
          <p:spPr bwMode="auto">
            <a:xfrm>
              <a:off x="6537325" y="3081338"/>
              <a:ext cx="31750" cy="33338"/>
            </a:xfrm>
            <a:custGeom>
              <a:avLst/>
              <a:gdLst>
                <a:gd name="T0" fmla="*/ 0 w 12"/>
                <a:gd name="T1" fmla="*/ 5 h 12"/>
                <a:gd name="T2" fmla="*/ 5 w 12"/>
                <a:gd name="T3" fmla="*/ 11 h 12"/>
                <a:gd name="T4" fmla="*/ 12 w 12"/>
                <a:gd name="T5" fmla="*/ 7 h 12"/>
                <a:gd name="T6" fmla="*/ 7 w 12"/>
                <a:gd name="T7" fmla="*/ 0 h 12"/>
                <a:gd name="T8" fmla="*/ 0 w 12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0" y="5"/>
                  </a:moveTo>
                  <a:cubicBezTo>
                    <a:pt x="0" y="8"/>
                    <a:pt x="2" y="11"/>
                    <a:pt x="5" y="11"/>
                  </a:cubicBezTo>
                  <a:cubicBezTo>
                    <a:pt x="8" y="12"/>
                    <a:pt x="11" y="10"/>
                    <a:pt x="12" y="7"/>
                  </a:cubicBezTo>
                  <a:cubicBezTo>
                    <a:pt x="12" y="4"/>
                    <a:pt x="10" y="1"/>
                    <a:pt x="7" y="0"/>
                  </a:cubicBezTo>
                  <a:cubicBezTo>
                    <a:pt x="4" y="0"/>
                    <a:pt x="1" y="2"/>
                    <a:pt x="0" y="5"/>
                  </a:cubicBezTo>
                  <a:close/>
                </a:path>
              </a:pathLst>
            </a:custGeom>
            <a:solidFill>
              <a:srgbClr val="305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ïš1ïḓé">
              <a:extLst>
                <a:ext uri="{FF2B5EF4-FFF2-40B4-BE49-F238E27FC236}">
                  <a16:creationId xmlns:a16="http://schemas.microsoft.com/office/drawing/2014/main" id="{78148316-6904-4408-B2FC-2E096813D822}"/>
                </a:ext>
              </a:extLst>
            </p:cNvPr>
            <p:cNvSpPr/>
            <p:nvPr/>
          </p:nvSpPr>
          <p:spPr bwMode="auto">
            <a:xfrm>
              <a:off x="6604000" y="3194050"/>
              <a:ext cx="82550" cy="44450"/>
            </a:xfrm>
            <a:custGeom>
              <a:avLst/>
              <a:gdLst>
                <a:gd name="T0" fmla="*/ 11 w 31"/>
                <a:gd name="T1" fmla="*/ 16 h 17"/>
                <a:gd name="T2" fmla="*/ 21 w 31"/>
                <a:gd name="T3" fmla="*/ 14 h 17"/>
                <a:gd name="T4" fmla="*/ 31 w 31"/>
                <a:gd name="T5" fmla="*/ 0 h 17"/>
                <a:gd name="T6" fmla="*/ 18 w 31"/>
                <a:gd name="T7" fmla="*/ 4 h 17"/>
                <a:gd name="T8" fmla="*/ 11 w 31"/>
                <a:gd name="T9" fmla="*/ 4 h 17"/>
                <a:gd name="T10" fmla="*/ 0 w 31"/>
                <a:gd name="T11" fmla="*/ 8 h 17"/>
                <a:gd name="T12" fmla="*/ 11 w 31"/>
                <a:gd name="T1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7">
                  <a:moveTo>
                    <a:pt x="11" y="16"/>
                  </a:moveTo>
                  <a:cubicBezTo>
                    <a:pt x="14" y="17"/>
                    <a:pt x="18" y="16"/>
                    <a:pt x="21" y="14"/>
                  </a:cubicBezTo>
                  <a:cubicBezTo>
                    <a:pt x="26" y="11"/>
                    <a:pt x="28" y="5"/>
                    <a:pt x="31" y="0"/>
                  </a:cubicBezTo>
                  <a:cubicBezTo>
                    <a:pt x="27" y="3"/>
                    <a:pt x="22" y="5"/>
                    <a:pt x="18" y="4"/>
                  </a:cubicBezTo>
                  <a:cubicBezTo>
                    <a:pt x="14" y="3"/>
                    <a:pt x="13" y="4"/>
                    <a:pt x="11" y="4"/>
                  </a:cubicBezTo>
                  <a:cubicBezTo>
                    <a:pt x="3" y="4"/>
                    <a:pt x="1" y="7"/>
                    <a:pt x="0" y="8"/>
                  </a:cubicBezTo>
                  <a:cubicBezTo>
                    <a:pt x="0" y="8"/>
                    <a:pt x="6" y="15"/>
                    <a:pt x="11" y="16"/>
                  </a:cubicBezTo>
                  <a:close/>
                </a:path>
              </a:pathLst>
            </a:custGeom>
            <a:solidFill>
              <a:srgbClr val="E448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isḷiḓê">
              <a:extLst>
                <a:ext uri="{FF2B5EF4-FFF2-40B4-BE49-F238E27FC236}">
                  <a16:creationId xmlns:a16="http://schemas.microsoft.com/office/drawing/2014/main" id="{40154F93-F018-4EC3-9948-36CBC30CFC0F}"/>
                </a:ext>
              </a:extLst>
            </p:cNvPr>
            <p:cNvSpPr/>
            <p:nvPr/>
          </p:nvSpPr>
          <p:spPr bwMode="auto">
            <a:xfrm>
              <a:off x="6600825" y="3206750"/>
              <a:ext cx="74612" cy="19050"/>
            </a:xfrm>
            <a:custGeom>
              <a:avLst/>
              <a:gdLst>
                <a:gd name="T0" fmla="*/ 27 w 28"/>
                <a:gd name="T1" fmla="*/ 0 h 7"/>
                <a:gd name="T2" fmla="*/ 13 w 28"/>
                <a:gd name="T3" fmla="*/ 4 h 7"/>
                <a:gd name="T4" fmla="*/ 1 w 28"/>
                <a:gd name="T5" fmla="*/ 2 h 7"/>
                <a:gd name="T6" fmla="*/ 0 w 28"/>
                <a:gd name="T7" fmla="*/ 4 h 7"/>
                <a:gd name="T8" fmla="*/ 13 w 28"/>
                <a:gd name="T9" fmla="*/ 7 h 7"/>
                <a:gd name="T10" fmla="*/ 28 w 28"/>
                <a:gd name="T11" fmla="*/ 1 h 7"/>
                <a:gd name="T12" fmla="*/ 27 w 28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7">
                  <a:moveTo>
                    <a:pt x="27" y="0"/>
                  </a:moveTo>
                  <a:cubicBezTo>
                    <a:pt x="23" y="3"/>
                    <a:pt x="18" y="4"/>
                    <a:pt x="13" y="4"/>
                  </a:cubicBezTo>
                  <a:cubicBezTo>
                    <a:pt x="9" y="4"/>
                    <a:pt x="5" y="3"/>
                    <a:pt x="1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" y="6"/>
                    <a:pt x="9" y="7"/>
                    <a:pt x="13" y="7"/>
                  </a:cubicBezTo>
                  <a:cubicBezTo>
                    <a:pt x="19" y="7"/>
                    <a:pt x="24" y="5"/>
                    <a:pt x="28" y="1"/>
                  </a:cubicBezTo>
                  <a:cubicBezTo>
                    <a:pt x="27" y="0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ïşľíḍê">
              <a:extLst>
                <a:ext uri="{FF2B5EF4-FFF2-40B4-BE49-F238E27FC236}">
                  <a16:creationId xmlns:a16="http://schemas.microsoft.com/office/drawing/2014/main" id="{77E630F5-5E71-475C-A5A1-BED85EFE7FD2}"/>
                </a:ext>
              </a:extLst>
            </p:cNvPr>
            <p:cNvSpPr/>
            <p:nvPr/>
          </p:nvSpPr>
          <p:spPr bwMode="auto">
            <a:xfrm>
              <a:off x="6581775" y="3114675"/>
              <a:ext cx="38100" cy="82550"/>
            </a:xfrm>
            <a:custGeom>
              <a:avLst/>
              <a:gdLst>
                <a:gd name="T0" fmla="*/ 12 w 14"/>
                <a:gd name="T1" fmla="*/ 0 h 31"/>
                <a:gd name="T2" fmla="*/ 2 w 14"/>
                <a:gd name="T3" fmla="*/ 17 h 31"/>
                <a:gd name="T4" fmla="*/ 0 w 14"/>
                <a:gd name="T5" fmla="*/ 22 h 31"/>
                <a:gd name="T6" fmla="*/ 0 w 14"/>
                <a:gd name="T7" fmla="*/ 23 h 31"/>
                <a:gd name="T8" fmla="*/ 5 w 14"/>
                <a:gd name="T9" fmla="*/ 29 h 31"/>
                <a:gd name="T10" fmla="*/ 11 w 14"/>
                <a:gd name="T11" fmla="*/ 31 h 31"/>
                <a:gd name="T12" fmla="*/ 12 w 14"/>
                <a:gd name="T13" fmla="*/ 29 h 31"/>
                <a:gd name="T14" fmla="*/ 6 w 14"/>
                <a:gd name="T15" fmla="*/ 27 h 31"/>
                <a:gd name="T16" fmla="*/ 2 w 14"/>
                <a:gd name="T17" fmla="*/ 22 h 31"/>
                <a:gd name="T18" fmla="*/ 2 w 14"/>
                <a:gd name="T19" fmla="*/ 22 h 31"/>
                <a:gd name="T20" fmla="*/ 4 w 14"/>
                <a:gd name="T21" fmla="*/ 18 h 31"/>
                <a:gd name="T22" fmla="*/ 14 w 14"/>
                <a:gd name="T23" fmla="*/ 1 h 31"/>
                <a:gd name="T24" fmla="*/ 12 w 14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31">
                  <a:moveTo>
                    <a:pt x="12" y="0"/>
                  </a:moveTo>
                  <a:cubicBezTo>
                    <a:pt x="9" y="5"/>
                    <a:pt x="5" y="11"/>
                    <a:pt x="2" y="17"/>
                  </a:cubicBezTo>
                  <a:cubicBezTo>
                    <a:pt x="1" y="18"/>
                    <a:pt x="0" y="20"/>
                    <a:pt x="0" y="22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0" y="25"/>
                    <a:pt x="2" y="27"/>
                    <a:pt x="5" y="29"/>
                  </a:cubicBezTo>
                  <a:cubicBezTo>
                    <a:pt x="7" y="30"/>
                    <a:pt x="9" y="31"/>
                    <a:pt x="11" y="31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0" y="28"/>
                    <a:pt x="8" y="28"/>
                    <a:pt x="6" y="27"/>
                  </a:cubicBezTo>
                  <a:cubicBezTo>
                    <a:pt x="4" y="26"/>
                    <a:pt x="3" y="24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1"/>
                    <a:pt x="3" y="19"/>
                    <a:pt x="4" y="18"/>
                  </a:cubicBezTo>
                  <a:cubicBezTo>
                    <a:pt x="7" y="12"/>
                    <a:pt x="11" y="7"/>
                    <a:pt x="14" y="1"/>
                  </a:cubicBezTo>
                  <a:cubicBezTo>
                    <a:pt x="12" y="0"/>
                    <a:pt x="12" y="0"/>
                    <a:pt x="12" y="0"/>
                  </a:cubicBezTo>
                  <a:close/>
                </a:path>
              </a:pathLst>
            </a:custGeom>
            <a:solidFill>
              <a:srgbClr val="432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íś1îḓe">
              <a:extLst>
                <a:ext uri="{FF2B5EF4-FFF2-40B4-BE49-F238E27FC236}">
                  <a16:creationId xmlns:a16="http://schemas.microsoft.com/office/drawing/2014/main" id="{E005CE5A-A777-49C1-9365-839952C42E97}"/>
                </a:ext>
              </a:extLst>
            </p:cNvPr>
            <p:cNvSpPr/>
            <p:nvPr/>
          </p:nvSpPr>
          <p:spPr bwMode="auto">
            <a:xfrm>
              <a:off x="6376988" y="3414713"/>
              <a:ext cx="179387" cy="254000"/>
            </a:xfrm>
            <a:custGeom>
              <a:avLst/>
              <a:gdLst>
                <a:gd name="T0" fmla="*/ 37 w 67"/>
                <a:gd name="T1" fmla="*/ 0 h 95"/>
                <a:gd name="T2" fmla="*/ 0 w 67"/>
                <a:gd name="T3" fmla="*/ 44 h 95"/>
                <a:gd name="T4" fmla="*/ 61 w 67"/>
                <a:gd name="T5" fmla="*/ 95 h 95"/>
                <a:gd name="T6" fmla="*/ 37 w 67"/>
                <a:gd name="T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95">
                  <a:moveTo>
                    <a:pt x="37" y="0"/>
                  </a:moveTo>
                  <a:cubicBezTo>
                    <a:pt x="37" y="0"/>
                    <a:pt x="7" y="17"/>
                    <a:pt x="0" y="44"/>
                  </a:cubicBezTo>
                  <a:cubicBezTo>
                    <a:pt x="0" y="44"/>
                    <a:pt x="38" y="62"/>
                    <a:pt x="61" y="95"/>
                  </a:cubicBezTo>
                  <a:cubicBezTo>
                    <a:pt x="61" y="95"/>
                    <a:pt x="67" y="25"/>
                    <a:pt x="37" y="0"/>
                  </a:cubicBezTo>
                  <a:close/>
                </a:path>
              </a:pathLst>
            </a:custGeom>
            <a:solidFill>
              <a:srgbClr val="6DD5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îsļíḋé">
              <a:extLst>
                <a:ext uri="{FF2B5EF4-FFF2-40B4-BE49-F238E27FC236}">
                  <a16:creationId xmlns:a16="http://schemas.microsoft.com/office/drawing/2014/main" id="{9E4F6950-562A-4789-842A-5306BBCE93BB}"/>
                </a:ext>
              </a:extLst>
            </p:cNvPr>
            <p:cNvSpPr/>
            <p:nvPr/>
          </p:nvSpPr>
          <p:spPr bwMode="auto">
            <a:xfrm>
              <a:off x="6607175" y="3348038"/>
              <a:ext cx="258762" cy="215900"/>
            </a:xfrm>
            <a:custGeom>
              <a:avLst/>
              <a:gdLst>
                <a:gd name="T0" fmla="*/ 0 w 97"/>
                <a:gd name="T1" fmla="*/ 5 h 81"/>
                <a:gd name="T2" fmla="*/ 0 w 97"/>
                <a:gd name="T3" fmla="*/ 12 h 81"/>
                <a:gd name="T4" fmla="*/ 5 w 97"/>
                <a:gd name="T5" fmla="*/ 49 h 81"/>
                <a:gd name="T6" fmla="*/ 17 w 97"/>
                <a:gd name="T7" fmla="*/ 69 h 81"/>
                <a:gd name="T8" fmla="*/ 37 w 97"/>
                <a:gd name="T9" fmla="*/ 80 h 81"/>
                <a:gd name="T10" fmla="*/ 44 w 97"/>
                <a:gd name="T11" fmla="*/ 81 h 81"/>
                <a:gd name="T12" fmla="*/ 84 w 97"/>
                <a:gd name="T13" fmla="*/ 55 h 81"/>
                <a:gd name="T14" fmla="*/ 97 w 97"/>
                <a:gd name="T15" fmla="*/ 1 h 81"/>
                <a:gd name="T16" fmla="*/ 93 w 97"/>
                <a:gd name="T17" fmla="*/ 0 h 81"/>
                <a:gd name="T18" fmla="*/ 81 w 97"/>
                <a:gd name="T19" fmla="*/ 53 h 81"/>
                <a:gd name="T20" fmla="*/ 44 w 97"/>
                <a:gd name="T21" fmla="*/ 77 h 81"/>
                <a:gd name="T22" fmla="*/ 37 w 97"/>
                <a:gd name="T23" fmla="*/ 76 h 81"/>
                <a:gd name="T24" fmla="*/ 20 w 97"/>
                <a:gd name="T25" fmla="*/ 66 h 81"/>
                <a:gd name="T26" fmla="*/ 9 w 97"/>
                <a:gd name="T27" fmla="*/ 48 h 81"/>
                <a:gd name="T28" fmla="*/ 4 w 97"/>
                <a:gd name="T29" fmla="*/ 12 h 81"/>
                <a:gd name="T30" fmla="*/ 4 w 97"/>
                <a:gd name="T31" fmla="*/ 5 h 81"/>
                <a:gd name="T32" fmla="*/ 0 w 97"/>
                <a:gd name="T33" fmla="*/ 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81">
                  <a:moveTo>
                    <a:pt x="0" y="5"/>
                  </a:moveTo>
                  <a:cubicBezTo>
                    <a:pt x="0" y="7"/>
                    <a:pt x="0" y="10"/>
                    <a:pt x="0" y="12"/>
                  </a:cubicBezTo>
                  <a:cubicBezTo>
                    <a:pt x="0" y="25"/>
                    <a:pt x="1" y="37"/>
                    <a:pt x="5" y="49"/>
                  </a:cubicBezTo>
                  <a:cubicBezTo>
                    <a:pt x="8" y="57"/>
                    <a:pt x="12" y="63"/>
                    <a:pt x="17" y="69"/>
                  </a:cubicBezTo>
                  <a:cubicBezTo>
                    <a:pt x="22" y="74"/>
                    <a:pt x="29" y="79"/>
                    <a:pt x="37" y="80"/>
                  </a:cubicBezTo>
                  <a:cubicBezTo>
                    <a:pt x="39" y="81"/>
                    <a:pt x="42" y="81"/>
                    <a:pt x="44" y="81"/>
                  </a:cubicBezTo>
                  <a:cubicBezTo>
                    <a:pt x="61" y="81"/>
                    <a:pt x="76" y="69"/>
                    <a:pt x="84" y="55"/>
                  </a:cubicBezTo>
                  <a:cubicBezTo>
                    <a:pt x="94" y="38"/>
                    <a:pt x="96" y="19"/>
                    <a:pt x="97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2" y="19"/>
                    <a:pt x="90" y="38"/>
                    <a:pt x="81" y="53"/>
                  </a:cubicBezTo>
                  <a:cubicBezTo>
                    <a:pt x="73" y="67"/>
                    <a:pt x="59" y="77"/>
                    <a:pt x="44" y="77"/>
                  </a:cubicBezTo>
                  <a:cubicBezTo>
                    <a:pt x="42" y="77"/>
                    <a:pt x="40" y="77"/>
                    <a:pt x="37" y="76"/>
                  </a:cubicBezTo>
                  <a:cubicBezTo>
                    <a:pt x="31" y="75"/>
                    <a:pt x="25" y="71"/>
                    <a:pt x="20" y="66"/>
                  </a:cubicBezTo>
                  <a:cubicBezTo>
                    <a:pt x="15" y="61"/>
                    <a:pt x="11" y="55"/>
                    <a:pt x="9" y="48"/>
                  </a:cubicBezTo>
                  <a:cubicBezTo>
                    <a:pt x="5" y="37"/>
                    <a:pt x="4" y="25"/>
                    <a:pt x="4" y="12"/>
                  </a:cubicBezTo>
                  <a:cubicBezTo>
                    <a:pt x="4" y="10"/>
                    <a:pt x="4" y="7"/>
                    <a:pt x="4" y="5"/>
                  </a:cubicBezTo>
                  <a:cubicBezTo>
                    <a:pt x="0" y="5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isḻiḍè">
              <a:extLst>
                <a:ext uri="{FF2B5EF4-FFF2-40B4-BE49-F238E27FC236}">
                  <a16:creationId xmlns:a16="http://schemas.microsoft.com/office/drawing/2014/main" id="{A44155C6-C2FF-42B7-BCF2-4909DB58DEFE}"/>
                </a:ext>
              </a:extLst>
            </p:cNvPr>
            <p:cNvSpPr/>
            <p:nvPr/>
          </p:nvSpPr>
          <p:spPr bwMode="auto">
            <a:xfrm>
              <a:off x="6774749" y="3454233"/>
              <a:ext cx="308217" cy="260518"/>
            </a:xfrm>
            <a:custGeom>
              <a:avLst/>
              <a:gdLst>
                <a:gd name="connsiteX0" fmla="*/ 263324 w 308217"/>
                <a:gd name="connsiteY0" fmla="*/ 194 h 260518"/>
                <a:gd name="connsiteX1" fmla="*/ 306454 w 308217"/>
                <a:gd name="connsiteY1" fmla="*/ 69621 h 260518"/>
                <a:gd name="connsiteX2" fmla="*/ 212833 w 308217"/>
                <a:gd name="connsiteY2" fmla="*/ 253929 h 260518"/>
                <a:gd name="connsiteX3" fmla="*/ 208821 w 308217"/>
                <a:gd name="connsiteY3" fmla="*/ 260518 h 260518"/>
                <a:gd name="connsiteX4" fmla="*/ 0 w 308217"/>
                <a:gd name="connsiteY4" fmla="*/ 260518 h 260518"/>
                <a:gd name="connsiteX5" fmla="*/ 16970 w 308217"/>
                <a:gd name="connsiteY5" fmla="*/ 227566 h 260518"/>
                <a:gd name="connsiteX6" fmla="*/ 87760 w 308217"/>
                <a:gd name="connsiteY6" fmla="*/ 93639 h 260518"/>
                <a:gd name="connsiteX7" fmla="*/ 253114 w 308217"/>
                <a:gd name="connsiteY7" fmla="*/ 236 h 260518"/>
                <a:gd name="connsiteX8" fmla="*/ 263324 w 308217"/>
                <a:gd name="connsiteY8" fmla="*/ 194 h 26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217" h="260518">
                  <a:moveTo>
                    <a:pt x="263324" y="194"/>
                  </a:moveTo>
                  <a:cubicBezTo>
                    <a:pt x="281451" y="1570"/>
                    <a:pt x="316456" y="11578"/>
                    <a:pt x="306454" y="69621"/>
                  </a:cubicBezTo>
                  <a:cubicBezTo>
                    <a:pt x="301454" y="98642"/>
                    <a:pt x="261199" y="172697"/>
                    <a:pt x="212833" y="253929"/>
                  </a:cubicBezTo>
                  <a:lnTo>
                    <a:pt x="208821" y="260518"/>
                  </a:lnTo>
                  <a:lnTo>
                    <a:pt x="0" y="260518"/>
                  </a:lnTo>
                  <a:lnTo>
                    <a:pt x="16970" y="227566"/>
                  </a:lnTo>
                  <a:cubicBezTo>
                    <a:pt x="49005" y="165567"/>
                    <a:pt x="77759" y="110651"/>
                    <a:pt x="87760" y="93639"/>
                  </a:cubicBezTo>
                  <a:cubicBezTo>
                    <a:pt x="114430" y="48272"/>
                    <a:pt x="159769" y="16248"/>
                    <a:pt x="253114" y="236"/>
                  </a:cubicBezTo>
                  <a:cubicBezTo>
                    <a:pt x="253114" y="236"/>
                    <a:pt x="257281" y="-264"/>
                    <a:pt x="263324" y="194"/>
                  </a:cubicBezTo>
                  <a:close/>
                </a:path>
              </a:pathLst>
            </a:custGeom>
            <a:solidFill>
              <a:srgbClr val="F8D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íSľiḓe">
              <a:extLst>
                <a:ext uri="{FF2B5EF4-FFF2-40B4-BE49-F238E27FC236}">
                  <a16:creationId xmlns:a16="http://schemas.microsoft.com/office/drawing/2014/main" id="{93EB4AE8-33F0-4611-9F5A-A572D189FF98}"/>
                </a:ext>
              </a:extLst>
            </p:cNvPr>
            <p:cNvSpPr/>
            <p:nvPr/>
          </p:nvSpPr>
          <p:spPr bwMode="auto">
            <a:xfrm>
              <a:off x="6823075" y="3379788"/>
              <a:ext cx="355600" cy="238125"/>
            </a:xfrm>
            <a:custGeom>
              <a:avLst/>
              <a:gdLst>
                <a:gd name="T0" fmla="*/ 71 w 133"/>
                <a:gd name="T1" fmla="*/ 0 h 89"/>
                <a:gd name="T2" fmla="*/ 90 w 133"/>
                <a:gd name="T3" fmla="*/ 86 h 89"/>
                <a:gd name="T4" fmla="*/ 0 w 133"/>
                <a:gd name="T5" fmla="*/ 89 h 89"/>
                <a:gd name="T6" fmla="*/ 71 w 133"/>
                <a:gd name="T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" h="89">
                  <a:moveTo>
                    <a:pt x="71" y="0"/>
                  </a:moveTo>
                  <a:cubicBezTo>
                    <a:pt x="71" y="0"/>
                    <a:pt x="133" y="20"/>
                    <a:pt x="90" y="86"/>
                  </a:cubicBezTo>
                  <a:cubicBezTo>
                    <a:pt x="90" y="86"/>
                    <a:pt x="32" y="61"/>
                    <a:pt x="0" y="89"/>
                  </a:cubicBezTo>
                  <a:cubicBezTo>
                    <a:pt x="0" y="89"/>
                    <a:pt x="10" y="1"/>
                    <a:pt x="71" y="0"/>
                  </a:cubicBezTo>
                  <a:close/>
                </a:path>
              </a:pathLst>
            </a:custGeom>
            <a:solidFill>
              <a:srgbClr val="6DD5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ïsļïdè">
              <a:extLst>
                <a:ext uri="{FF2B5EF4-FFF2-40B4-BE49-F238E27FC236}">
                  <a16:creationId xmlns:a16="http://schemas.microsoft.com/office/drawing/2014/main" id="{E0EC2898-ABB6-4CBD-B9C7-CB409C5FE64F}"/>
                </a:ext>
              </a:extLst>
            </p:cNvPr>
            <p:cNvSpPr/>
            <p:nvPr/>
          </p:nvSpPr>
          <p:spPr bwMode="auto">
            <a:xfrm>
              <a:off x="6505575" y="3063875"/>
              <a:ext cx="95250" cy="68263"/>
            </a:xfrm>
            <a:custGeom>
              <a:avLst/>
              <a:gdLst>
                <a:gd name="T0" fmla="*/ 29 w 36"/>
                <a:gd name="T1" fmla="*/ 24 h 26"/>
                <a:gd name="T2" fmla="*/ 29 w 36"/>
                <a:gd name="T3" fmla="*/ 23 h 26"/>
                <a:gd name="T4" fmla="*/ 7 w 36"/>
                <a:gd name="T5" fmla="*/ 23 h 26"/>
                <a:gd name="T6" fmla="*/ 3 w 36"/>
                <a:gd name="T7" fmla="*/ 19 h 26"/>
                <a:gd name="T8" fmla="*/ 3 w 36"/>
                <a:gd name="T9" fmla="*/ 7 h 26"/>
                <a:gd name="T10" fmla="*/ 7 w 36"/>
                <a:gd name="T11" fmla="*/ 3 h 26"/>
                <a:gd name="T12" fmla="*/ 29 w 36"/>
                <a:gd name="T13" fmla="*/ 3 h 26"/>
                <a:gd name="T14" fmla="*/ 33 w 36"/>
                <a:gd name="T15" fmla="*/ 7 h 26"/>
                <a:gd name="T16" fmla="*/ 33 w 36"/>
                <a:gd name="T17" fmla="*/ 19 h 26"/>
                <a:gd name="T18" fmla="*/ 29 w 36"/>
                <a:gd name="T19" fmla="*/ 23 h 26"/>
                <a:gd name="T20" fmla="*/ 29 w 36"/>
                <a:gd name="T21" fmla="*/ 24 h 26"/>
                <a:gd name="T22" fmla="*/ 29 w 36"/>
                <a:gd name="T23" fmla="*/ 26 h 26"/>
                <a:gd name="T24" fmla="*/ 36 w 36"/>
                <a:gd name="T25" fmla="*/ 19 h 26"/>
                <a:gd name="T26" fmla="*/ 36 w 36"/>
                <a:gd name="T27" fmla="*/ 7 h 26"/>
                <a:gd name="T28" fmla="*/ 29 w 36"/>
                <a:gd name="T29" fmla="*/ 0 h 26"/>
                <a:gd name="T30" fmla="*/ 7 w 36"/>
                <a:gd name="T31" fmla="*/ 0 h 26"/>
                <a:gd name="T32" fmla="*/ 0 w 36"/>
                <a:gd name="T33" fmla="*/ 7 h 26"/>
                <a:gd name="T34" fmla="*/ 0 w 36"/>
                <a:gd name="T35" fmla="*/ 19 h 26"/>
                <a:gd name="T36" fmla="*/ 7 w 36"/>
                <a:gd name="T37" fmla="*/ 26 h 26"/>
                <a:gd name="T38" fmla="*/ 29 w 36"/>
                <a:gd name="T39" fmla="*/ 26 h 26"/>
                <a:gd name="T40" fmla="*/ 29 w 36"/>
                <a:gd name="T41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26">
                  <a:moveTo>
                    <a:pt x="29" y="24"/>
                  </a:moveTo>
                  <a:cubicBezTo>
                    <a:pt x="29" y="23"/>
                    <a:pt x="29" y="23"/>
                    <a:pt x="29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3"/>
                    <a:pt x="3" y="21"/>
                    <a:pt x="3" y="19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5"/>
                    <a:pt x="4" y="3"/>
                    <a:pt x="7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1" y="3"/>
                    <a:pt x="33" y="5"/>
                    <a:pt x="33" y="7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1"/>
                    <a:pt x="31" y="23"/>
                    <a:pt x="29" y="23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2" y="26"/>
                    <a:pt x="36" y="23"/>
                    <a:pt x="36" y="19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3"/>
                    <a:pt x="32" y="0"/>
                    <a:pt x="2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3" y="26"/>
                    <a:pt x="7" y="26"/>
                  </a:cubicBezTo>
                  <a:cubicBezTo>
                    <a:pt x="29" y="26"/>
                    <a:pt x="29" y="26"/>
                    <a:pt x="29" y="26"/>
                  </a:cubicBezTo>
                  <a:lnTo>
                    <a:pt x="29" y="24"/>
                  </a:lnTo>
                  <a:close/>
                </a:path>
              </a:pathLst>
            </a:custGeom>
            <a:solidFill>
              <a:srgbClr val="305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ïṩļidê">
              <a:extLst>
                <a:ext uri="{FF2B5EF4-FFF2-40B4-BE49-F238E27FC236}">
                  <a16:creationId xmlns:a16="http://schemas.microsoft.com/office/drawing/2014/main" id="{FB503B09-27B9-4ACE-A620-3C89B9CDBD59}"/>
                </a:ext>
              </a:extLst>
            </p:cNvPr>
            <p:cNvSpPr/>
            <p:nvPr/>
          </p:nvSpPr>
          <p:spPr bwMode="auto">
            <a:xfrm>
              <a:off x="6624638" y="3063875"/>
              <a:ext cx="96837" cy="68263"/>
            </a:xfrm>
            <a:custGeom>
              <a:avLst/>
              <a:gdLst>
                <a:gd name="T0" fmla="*/ 29 w 36"/>
                <a:gd name="T1" fmla="*/ 24 h 26"/>
                <a:gd name="T2" fmla="*/ 29 w 36"/>
                <a:gd name="T3" fmla="*/ 23 h 26"/>
                <a:gd name="T4" fmla="*/ 7 w 36"/>
                <a:gd name="T5" fmla="*/ 23 h 26"/>
                <a:gd name="T6" fmla="*/ 3 w 36"/>
                <a:gd name="T7" fmla="*/ 19 h 26"/>
                <a:gd name="T8" fmla="*/ 3 w 36"/>
                <a:gd name="T9" fmla="*/ 7 h 26"/>
                <a:gd name="T10" fmla="*/ 7 w 36"/>
                <a:gd name="T11" fmla="*/ 3 h 26"/>
                <a:gd name="T12" fmla="*/ 29 w 36"/>
                <a:gd name="T13" fmla="*/ 3 h 26"/>
                <a:gd name="T14" fmla="*/ 33 w 36"/>
                <a:gd name="T15" fmla="*/ 7 h 26"/>
                <a:gd name="T16" fmla="*/ 33 w 36"/>
                <a:gd name="T17" fmla="*/ 19 h 26"/>
                <a:gd name="T18" fmla="*/ 29 w 36"/>
                <a:gd name="T19" fmla="*/ 23 h 26"/>
                <a:gd name="T20" fmla="*/ 29 w 36"/>
                <a:gd name="T21" fmla="*/ 24 h 26"/>
                <a:gd name="T22" fmla="*/ 29 w 36"/>
                <a:gd name="T23" fmla="*/ 26 h 26"/>
                <a:gd name="T24" fmla="*/ 36 w 36"/>
                <a:gd name="T25" fmla="*/ 19 h 26"/>
                <a:gd name="T26" fmla="*/ 36 w 36"/>
                <a:gd name="T27" fmla="*/ 7 h 26"/>
                <a:gd name="T28" fmla="*/ 29 w 36"/>
                <a:gd name="T29" fmla="*/ 0 h 26"/>
                <a:gd name="T30" fmla="*/ 7 w 36"/>
                <a:gd name="T31" fmla="*/ 0 h 26"/>
                <a:gd name="T32" fmla="*/ 0 w 36"/>
                <a:gd name="T33" fmla="*/ 7 h 26"/>
                <a:gd name="T34" fmla="*/ 0 w 36"/>
                <a:gd name="T35" fmla="*/ 19 h 26"/>
                <a:gd name="T36" fmla="*/ 7 w 36"/>
                <a:gd name="T37" fmla="*/ 26 h 26"/>
                <a:gd name="T38" fmla="*/ 29 w 36"/>
                <a:gd name="T39" fmla="*/ 26 h 26"/>
                <a:gd name="T40" fmla="*/ 29 w 36"/>
                <a:gd name="T41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26">
                  <a:moveTo>
                    <a:pt x="29" y="24"/>
                  </a:moveTo>
                  <a:cubicBezTo>
                    <a:pt x="29" y="23"/>
                    <a:pt x="29" y="23"/>
                    <a:pt x="29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5" y="23"/>
                    <a:pt x="3" y="21"/>
                    <a:pt x="3" y="19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5"/>
                    <a:pt x="5" y="3"/>
                    <a:pt x="7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1" y="3"/>
                    <a:pt x="33" y="5"/>
                    <a:pt x="33" y="7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1"/>
                    <a:pt x="31" y="23"/>
                    <a:pt x="29" y="23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3" y="26"/>
                    <a:pt x="36" y="23"/>
                    <a:pt x="36" y="19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3"/>
                    <a:pt x="33" y="0"/>
                    <a:pt x="2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3" y="26"/>
                    <a:pt x="7" y="26"/>
                  </a:cubicBezTo>
                  <a:cubicBezTo>
                    <a:pt x="29" y="26"/>
                    <a:pt x="29" y="26"/>
                    <a:pt x="29" y="26"/>
                  </a:cubicBezTo>
                  <a:lnTo>
                    <a:pt x="29" y="24"/>
                  </a:lnTo>
                  <a:close/>
                </a:path>
              </a:pathLst>
            </a:custGeom>
            <a:solidFill>
              <a:srgbClr val="305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i$lïḋé">
              <a:extLst>
                <a:ext uri="{FF2B5EF4-FFF2-40B4-BE49-F238E27FC236}">
                  <a16:creationId xmlns:a16="http://schemas.microsoft.com/office/drawing/2014/main" id="{0561E7E0-ED0D-479D-9DB8-ED3E816AE8E9}"/>
                </a:ext>
              </a:extLst>
            </p:cNvPr>
            <p:cNvSpPr/>
            <p:nvPr/>
          </p:nvSpPr>
          <p:spPr bwMode="auto">
            <a:xfrm>
              <a:off x="6584950" y="3063875"/>
              <a:ext cx="58737" cy="7938"/>
            </a:xfrm>
            <a:prstGeom prst="rect">
              <a:avLst/>
            </a:prstGeom>
            <a:solidFill>
              <a:srgbClr val="305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iṥḻiďé">
              <a:extLst>
                <a:ext uri="{FF2B5EF4-FFF2-40B4-BE49-F238E27FC236}">
                  <a16:creationId xmlns:a16="http://schemas.microsoft.com/office/drawing/2014/main" id="{C398346D-8F74-4225-8B24-A27BE65A2679}"/>
                </a:ext>
              </a:extLst>
            </p:cNvPr>
            <p:cNvSpPr/>
            <p:nvPr/>
          </p:nvSpPr>
          <p:spPr bwMode="auto">
            <a:xfrm>
              <a:off x="6584950" y="3063875"/>
              <a:ext cx="58737" cy="7938"/>
            </a:xfrm>
            <a:custGeom>
              <a:avLst/>
              <a:gdLst>
                <a:gd name="T0" fmla="*/ 0 w 37"/>
                <a:gd name="T1" fmla="*/ 5 h 5"/>
                <a:gd name="T2" fmla="*/ 37 w 37"/>
                <a:gd name="T3" fmla="*/ 5 h 5"/>
                <a:gd name="T4" fmla="*/ 37 w 37"/>
                <a:gd name="T5" fmla="*/ 0 h 5"/>
                <a:gd name="T6" fmla="*/ 0 w 37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">
                  <a:moveTo>
                    <a:pt x="0" y="5"/>
                  </a:moveTo>
                  <a:lnTo>
                    <a:pt x="37" y="5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ïṧļiďè">
              <a:extLst>
                <a:ext uri="{FF2B5EF4-FFF2-40B4-BE49-F238E27FC236}">
                  <a16:creationId xmlns:a16="http://schemas.microsoft.com/office/drawing/2014/main" id="{4314FB02-FAF0-4F1C-8753-65917CB97055}"/>
                </a:ext>
              </a:extLst>
            </p:cNvPr>
            <p:cNvSpPr/>
            <p:nvPr/>
          </p:nvSpPr>
          <p:spPr bwMode="auto">
            <a:xfrm>
              <a:off x="6459538" y="2971800"/>
              <a:ext cx="122237" cy="390525"/>
            </a:xfrm>
            <a:custGeom>
              <a:avLst/>
              <a:gdLst>
                <a:gd name="T0" fmla="*/ 8 w 46"/>
                <a:gd name="T1" fmla="*/ 0 h 146"/>
                <a:gd name="T2" fmla="*/ 0 w 46"/>
                <a:gd name="T3" fmla="*/ 44 h 146"/>
                <a:gd name="T4" fmla="*/ 44 w 46"/>
                <a:gd name="T5" fmla="*/ 146 h 146"/>
                <a:gd name="T6" fmla="*/ 46 w 46"/>
                <a:gd name="T7" fmla="*/ 143 h 146"/>
                <a:gd name="T8" fmla="*/ 3 w 46"/>
                <a:gd name="T9" fmla="*/ 44 h 146"/>
                <a:gd name="T10" fmla="*/ 11 w 46"/>
                <a:gd name="T11" fmla="*/ 1 h 146"/>
                <a:gd name="T12" fmla="*/ 8 w 46"/>
                <a:gd name="T1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46">
                  <a:moveTo>
                    <a:pt x="8" y="0"/>
                  </a:moveTo>
                  <a:cubicBezTo>
                    <a:pt x="3" y="14"/>
                    <a:pt x="0" y="29"/>
                    <a:pt x="0" y="44"/>
                  </a:cubicBezTo>
                  <a:cubicBezTo>
                    <a:pt x="0" y="82"/>
                    <a:pt x="16" y="120"/>
                    <a:pt x="44" y="146"/>
                  </a:cubicBezTo>
                  <a:cubicBezTo>
                    <a:pt x="46" y="143"/>
                    <a:pt x="46" y="143"/>
                    <a:pt x="46" y="143"/>
                  </a:cubicBezTo>
                  <a:cubicBezTo>
                    <a:pt x="19" y="119"/>
                    <a:pt x="3" y="81"/>
                    <a:pt x="3" y="44"/>
                  </a:cubicBezTo>
                  <a:cubicBezTo>
                    <a:pt x="3" y="29"/>
                    <a:pt x="6" y="15"/>
                    <a:pt x="11" y="1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305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îsļïḓé">
              <a:extLst>
                <a:ext uri="{FF2B5EF4-FFF2-40B4-BE49-F238E27FC236}">
                  <a16:creationId xmlns:a16="http://schemas.microsoft.com/office/drawing/2014/main" id="{8AEA83C4-5CE6-4F84-8FFC-81A41F86B90C}"/>
                </a:ext>
              </a:extLst>
            </p:cNvPr>
            <p:cNvSpPr/>
            <p:nvPr/>
          </p:nvSpPr>
          <p:spPr bwMode="auto">
            <a:xfrm>
              <a:off x="7442200" y="3670300"/>
              <a:ext cx="358775" cy="1454150"/>
            </a:xfrm>
            <a:custGeom>
              <a:avLst/>
              <a:gdLst>
                <a:gd name="T0" fmla="*/ 83 w 134"/>
                <a:gd name="T1" fmla="*/ 487 h 545"/>
                <a:gd name="T2" fmla="*/ 110 w 134"/>
                <a:gd name="T3" fmla="*/ 329 h 545"/>
                <a:gd name="T4" fmla="*/ 110 w 134"/>
                <a:gd name="T5" fmla="*/ 239 h 545"/>
                <a:gd name="T6" fmla="*/ 123 w 134"/>
                <a:gd name="T7" fmla="*/ 175 h 545"/>
                <a:gd name="T8" fmla="*/ 92 w 134"/>
                <a:gd name="T9" fmla="*/ 133 h 545"/>
                <a:gd name="T10" fmla="*/ 27 w 134"/>
                <a:gd name="T11" fmla="*/ 0 h 545"/>
                <a:gd name="T12" fmla="*/ 9 w 134"/>
                <a:gd name="T13" fmla="*/ 63 h 545"/>
                <a:gd name="T14" fmla="*/ 27 w 134"/>
                <a:gd name="T15" fmla="*/ 138 h 545"/>
                <a:gd name="T16" fmla="*/ 9 w 134"/>
                <a:gd name="T17" fmla="*/ 192 h 545"/>
                <a:gd name="T18" fmla="*/ 27 w 134"/>
                <a:gd name="T19" fmla="*/ 239 h 545"/>
                <a:gd name="T20" fmla="*/ 27 w 134"/>
                <a:gd name="T21" fmla="*/ 322 h 545"/>
                <a:gd name="T22" fmla="*/ 66 w 134"/>
                <a:gd name="T23" fmla="*/ 545 h 545"/>
                <a:gd name="T24" fmla="*/ 83 w 134"/>
                <a:gd name="T25" fmla="*/ 487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545">
                  <a:moveTo>
                    <a:pt x="83" y="487"/>
                  </a:moveTo>
                  <a:cubicBezTo>
                    <a:pt x="83" y="487"/>
                    <a:pt x="87" y="364"/>
                    <a:pt x="110" y="329"/>
                  </a:cubicBezTo>
                  <a:cubicBezTo>
                    <a:pt x="134" y="294"/>
                    <a:pt x="110" y="239"/>
                    <a:pt x="110" y="239"/>
                  </a:cubicBezTo>
                  <a:cubicBezTo>
                    <a:pt x="110" y="239"/>
                    <a:pt x="132" y="204"/>
                    <a:pt x="123" y="175"/>
                  </a:cubicBezTo>
                  <a:cubicBezTo>
                    <a:pt x="114" y="145"/>
                    <a:pt x="92" y="133"/>
                    <a:pt x="92" y="133"/>
                  </a:cubicBezTo>
                  <a:cubicBezTo>
                    <a:pt x="92" y="133"/>
                    <a:pt x="114" y="20"/>
                    <a:pt x="27" y="0"/>
                  </a:cubicBezTo>
                  <a:cubicBezTo>
                    <a:pt x="27" y="0"/>
                    <a:pt x="13" y="23"/>
                    <a:pt x="9" y="63"/>
                  </a:cubicBezTo>
                  <a:cubicBezTo>
                    <a:pt x="5" y="104"/>
                    <a:pt x="27" y="138"/>
                    <a:pt x="27" y="138"/>
                  </a:cubicBezTo>
                  <a:cubicBezTo>
                    <a:pt x="27" y="138"/>
                    <a:pt x="0" y="159"/>
                    <a:pt x="9" y="192"/>
                  </a:cubicBezTo>
                  <a:cubicBezTo>
                    <a:pt x="17" y="225"/>
                    <a:pt x="27" y="239"/>
                    <a:pt x="27" y="239"/>
                  </a:cubicBezTo>
                  <a:cubicBezTo>
                    <a:pt x="27" y="239"/>
                    <a:pt x="14" y="282"/>
                    <a:pt x="27" y="322"/>
                  </a:cubicBezTo>
                  <a:cubicBezTo>
                    <a:pt x="41" y="362"/>
                    <a:pt x="70" y="471"/>
                    <a:pt x="66" y="545"/>
                  </a:cubicBezTo>
                  <a:cubicBezTo>
                    <a:pt x="66" y="545"/>
                    <a:pt x="78" y="545"/>
                    <a:pt x="83" y="487"/>
                  </a:cubicBezTo>
                  <a:close/>
                </a:path>
              </a:pathLst>
            </a:custGeom>
            <a:solidFill>
              <a:srgbClr val="6BC9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îŝ1íḍê">
              <a:extLst>
                <a:ext uri="{FF2B5EF4-FFF2-40B4-BE49-F238E27FC236}">
                  <a16:creationId xmlns:a16="http://schemas.microsoft.com/office/drawing/2014/main" id="{DB97D5FE-21DA-447D-B353-7F2C43D148EE}"/>
                </a:ext>
              </a:extLst>
            </p:cNvPr>
            <p:cNvSpPr/>
            <p:nvPr/>
          </p:nvSpPr>
          <p:spPr bwMode="auto">
            <a:xfrm>
              <a:off x="7589838" y="3646488"/>
              <a:ext cx="396875" cy="1435100"/>
            </a:xfrm>
            <a:custGeom>
              <a:avLst/>
              <a:gdLst>
                <a:gd name="T0" fmla="*/ 32 w 149"/>
                <a:gd name="T1" fmla="*/ 478 h 538"/>
                <a:gd name="T2" fmla="*/ 21 w 149"/>
                <a:gd name="T3" fmla="*/ 319 h 538"/>
                <a:gd name="T4" fmla="*/ 30 w 149"/>
                <a:gd name="T5" fmla="*/ 229 h 538"/>
                <a:gd name="T6" fmla="*/ 24 w 149"/>
                <a:gd name="T7" fmla="*/ 164 h 538"/>
                <a:gd name="T8" fmla="*/ 59 w 149"/>
                <a:gd name="T9" fmla="*/ 125 h 538"/>
                <a:gd name="T10" fmla="*/ 137 w 149"/>
                <a:gd name="T11" fmla="*/ 0 h 538"/>
                <a:gd name="T12" fmla="*/ 148 w 149"/>
                <a:gd name="T13" fmla="*/ 65 h 538"/>
                <a:gd name="T14" fmla="*/ 123 w 149"/>
                <a:gd name="T15" fmla="*/ 137 h 538"/>
                <a:gd name="T16" fmla="*/ 136 w 149"/>
                <a:gd name="T17" fmla="*/ 193 h 538"/>
                <a:gd name="T18" fmla="*/ 112 w 149"/>
                <a:gd name="T19" fmla="*/ 238 h 538"/>
                <a:gd name="T20" fmla="*/ 104 w 149"/>
                <a:gd name="T21" fmla="*/ 320 h 538"/>
                <a:gd name="T22" fmla="*/ 42 w 149"/>
                <a:gd name="T23" fmla="*/ 538 h 538"/>
                <a:gd name="T24" fmla="*/ 32 w 149"/>
                <a:gd name="T25" fmla="*/ 47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9" h="538">
                  <a:moveTo>
                    <a:pt x="32" y="478"/>
                  </a:moveTo>
                  <a:cubicBezTo>
                    <a:pt x="32" y="478"/>
                    <a:pt x="41" y="356"/>
                    <a:pt x="21" y="319"/>
                  </a:cubicBezTo>
                  <a:cubicBezTo>
                    <a:pt x="0" y="282"/>
                    <a:pt x="30" y="229"/>
                    <a:pt x="30" y="229"/>
                  </a:cubicBezTo>
                  <a:cubicBezTo>
                    <a:pt x="30" y="229"/>
                    <a:pt x="12" y="192"/>
                    <a:pt x="24" y="164"/>
                  </a:cubicBezTo>
                  <a:cubicBezTo>
                    <a:pt x="35" y="136"/>
                    <a:pt x="59" y="125"/>
                    <a:pt x="59" y="125"/>
                  </a:cubicBezTo>
                  <a:cubicBezTo>
                    <a:pt x="59" y="125"/>
                    <a:pt x="48" y="11"/>
                    <a:pt x="137" y="0"/>
                  </a:cubicBezTo>
                  <a:cubicBezTo>
                    <a:pt x="137" y="0"/>
                    <a:pt x="149" y="24"/>
                    <a:pt x="148" y="65"/>
                  </a:cubicBezTo>
                  <a:cubicBezTo>
                    <a:pt x="148" y="105"/>
                    <a:pt x="123" y="137"/>
                    <a:pt x="123" y="137"/>
                  </a:cubicBezTo>
                  <a:cubicBezTo>
                    <a:pt x="123" y="137"/>
                    <a:pt x="147" y="161"/>
                    <a:pt x="136" y="193"/>
                  </a:cubicBezTo>
                  <a:cubicBezTo>
                    <a:pt x="124" y="225"/>
                    <a:pt x="112" y="238"/>
                    <a:pt x="112" y="238"/>
                  </a:cubicBezTo>
                  <a:cubicBezTo>
                    <a:pt x="112" y="238"/>
                    <a:pt x="121" y="282"/>
                    <a:pt x="104" y="320"/>
                  </a:cubicBezTo>
                  <a:cubicBezTo>
                    <a:pt x="86" y="358"/>
                    <a:pt x="47" y="464"/>
                    <a:pt x="42" y="538"/>
                  </a:cubicBezTo>
                  <a:cubicBezTo>
                    <a:pt x="42" y="538"/>
                    <a:pt x="30" y="537"/>
                    <a:pt x="32" y="478"/>
                  </a:cubicBezTo>
                  <a:close/>
                </a:path>
              </a:pathLst>
            </a:custGeom>
            <a:solidFill>
              <a:srgbClr val="4EAC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is1ïďe">
              <a:extLst>
                <a:ext uri="{FF2B5EF4-FFF2-40B4-BE49-F238E27FC236}">
                  <a16:creationId xmlns:a16="http://schemas.microsoft.com/office/drawing/2014/main" id="{54A516C1-94FE-4D84-B012-C31FDC250319}"/>
                </a:ext>
              </a:extLst>
            </p:cNvPr>
            <p:cNvSpPr/>
            <p:nvPr/>
          </p:nvSpPr>
          <p:spPr bwMode="auto">
            <a:xfrm>
              <a:off x="7715250" y="4003675"/>
              <a:ext cx="501650" cy="1082675"/>
            </a:xfrm>
            <a:custGeom>
              <a:avLst/>
              <a:gdLst>
                <a:gd name="T0" fmla="*/ 9 w 188"/>
                <a:gd name="T1" fmla="*/ 355 h 406"/>
                <a:gd name="T2" fmla="*/ 53 w 188"/>
                <a:gd name="T3" fmla="*/ 101 h 406"/>
                <a:gd name="T4" fmla="*/ 178 w 188"/>
                <a:gd name="T5" fmla="*/ 0 h 406"/>
                <a:gd name="T6" fmla="*/ 160 w 188"/>
                <a:gd name="T7" fmla="*/ 57 h 406"/>
                <a:gd name="T8" fmla="*/ 131 w 188"/>
                <a:gd name="T9" fmla="*/ 81 h 406"/>
                <a:gd name="T10" fmla="*/ 125 w 188"/>
                <a:gd name="T11" fmla="*/ 140 h 406"/>
                <a:gd name="T12" fmla="*/ 73 w 188"/>
                <a:gd name="T13" fmla="*/ 192 h 406"/>
                <a:gd name="T14" fmla="*/ 79 w 188"/>
                <a:gd name="T15" fmla="*/ 245 h 406"/>
                <a:gd name="T16" fmla="*/ 15 w 188"/>
                <a:gd name="T17" fmla="*/ 406 h 406"/>
                <a:gd name="T18" fmla="*/ 9 w 188"/>
                <a:gd name="T19" fmla="*/ 355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8" h="406">
                  <a:moveTo>
                    <a:pt x="9" y="355"/>
                  </a:moveTo>
                  <a:cubicBezTo>
                    <a:pt x="9" y="355"/>
                    <a:pt x="0" y="200"/>
                    <a:pt x="53" y="101"/>
                  </a:cubicBezTo>
                  <a:cubicBezTo>
                    <a:pt x="106" y="3"/>
                    <a:pt x="178" y="0"/>
                    <a:pt x="178" y="0"/>
                  </a:cubicBezTo>
                  <a:cubicBezTo>
                    <a:pt x="178" y="0"/>
                    <a:pt x="188" y="33"/>
                    <a:pt x="160" y="57"/>
                  </a:cubicBezTo>
                  <a:cubicBezTo>
                    <a:pt x="131" y="81"/>
                    <a:pt x="131" y="81"/>
                    <a:pt x="131" y="81"/>
                  </a:cubicBezTo>
                  <a:cubicBezTo>
                    <a:pt x="131" y="81"/>
                    <a:pt x="165" y="104"/>
                    <a:pt x="125" y="140"/>
                  </a:cubicBezTo>
                  <a:cubicBezTo>
                    <a:pt x="86" y="176"/>
                    <a:pt x="73" y="192"/>
                    <a:pt x="73" y="192"/>
                  </a:cubicBezTo>
                  <a:cubicBezTo>
                    <a:pt x="73" y="192"/>
                    <a:pt x="106" y="215"/>
                    <a:pt x="79" y="245"/>
                  </a:cubicBezTo>
                  <a:cubicBezTo>
                    <a:pt x="51" y="274"/>
                    <a:pt x="20" y="353"/>
                    <a:pt x="15" y="406"/>
                  </a:cubicBezTo>
                  <a:cubicBezTo>
                    <a:pt x="15" y="406"/>
                    <a:pt x="10" y="388"/>
                    <a:pt x="9" y="355"/>
                  </a:cubicBezTo>
                  <a:close/>
                </a:path>
              </a:pathLst>
            </a:custGeom>
            <a:solidFill>
              <a:srgbClr val="5790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iṥḷïḋe">
              <a:extLst>
                <a:ext uri="{FF2B5EF4-FFF2-40B4-BE49-F238E27FC236}">
                  <a16:creationId xmlns:a16="http://schemas.microsoft.com/office/drawing/2014/main" id="{F28CF676-15C6-414D-82BD-7409E3C38093}"/>
                </a:ext>
              </a:extLst>
            </p:cNvPr>
            <p:cNvSpPr/>
            <p:nvPr/>
          </p:nvSpPr>
          <p:spPr bwMode="auto">
            <a:xfrm>
              <a:off x="7246938" y="3908425"/>
              <a:ext cx="484187" cy="1228725"/>
            </a:xfrm>
            <a:custGeom>
              <a:avLst/>
              <a:gdLst>
                <a:gd name="T0" fmla="*/ 170 w 181"/>
                <a:gd name="T1" fmla="*/ 410 h 461"/>
                <a:gd name="T2" fmla="*/ 118 w 181"/>
                <a:gd name="T3" fmla="*/ 195 h 461"/>
                <a:gd name="T4" fmla="*/ 10 w 181"/>
                <a:gd name="T5" fmla="*/ 0 h 461"/>
                <a:gd name="T6" fmla="*/ 21 w 181"/>
                <a:gd name="T7" fmla="*/ 109 h 461"/>
                <a:gd name="T8" fmla="*/ 42 w 181"/>
                <a:gd name="T9" fmla="*/ 140 h 461"/>
                <a:gd name="T10" fmla="*/ 41 w 181"/>
                <a:gd name="T11" fmla="*/ 200 h 461"/>
                <a:gd name="T12" fmla="*/ 88 w 181"/>
                <a:gd name="T13" fmla="*/ 257 h 461"/>
                <a:gd name="T14" fmla="*/ 86 w 181"/>
                <a:gd name="T15" fmla="*/ 309 h 461"/>
                <a:gd name="T16" fmla="*/ 181 w 181"/>
                <a:gd name="T17" fmla="*/ 461 h 461"/>
                <a:gd name="T18" fmla="*/ 170 w 181"/>
                <a:gd name="T19" fmla="*/ 41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461">
                  <a:moveTo>
                    <a:pt x="170" y="410"/>
                  </a:moveTo>
                  <a:cubicBezTo>
                    <a:pt x="151" y="332"/>
                    <a:pt x="147" y="270"/>
                    <a:pt x="118" y="195"/>
                  </a:cubicBezTo>
                  <a:cubicBezTo>
                    <a:pt x="101" y="148"/>
                    <a:pt x="84" y="58"/>
                    <a:pt x="10" y="0"/>
                  </a:cubicBezTo>
                  <a:cubicBezTo>
                    <a:pt x="10" y="0"/>
                    <a:pt x="0" y="78"/>
                    <a:pt x="21" y="109"/>
                  </a:cubicBezTo>
                  <a:cubicBezTo>
                    <a:pt x="42" y="141"/>
                    <a:pt x="42" y="140"/>
                    <a:pt x="42" y="140"/>
                  </a:cubicBezTo>
                  <a:cubicBezTo>
                    <a:pt x="42" y="140"/>
                    <a:pt x="7" y="158"/>
                    <a:pt x="41" y="200"/>
                  </a:cubicBezTo>
                  <a:cubicBezTo>
                    <a:pt x="75" y="242"/>
                    <a:pt x="88" y="257"/>
                    <a:pt x="88" y="257"/>
                  </a:cubicBezTo>
                  <a:cubicBezTo>
                    <a:pt x="88" y="257"/>
                    <a:pt x="59" y="279"/>
                    <a:pt x="86" y="309"/>
                  </a:cubicBezTo>
                  <a:cubicBezTo>
                    <a:pt x="125" y="351"/>
                    <a:pt x="156" y="409"/>
                    <a:pt x="181" y="461"/>
                  </a:cubicBezTo>
                  <a:cubicBezTo>
                    <a:pt x="181" y="461"/>
                    <a:pt x="178" y="442"/>
                    <a:pt x="170" y="410"/>
                  </a:cubicBezTo>
                  <a:close/>
                </a:path>
              </a:pathLst>
            </a:custGeom>
            <a:solidFill>
              <a:srgbClr val="4EAC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íŝliďè">
              <a:extLst>
                <a:ext uri="{FF2B5EF4-FFF2-40B4-BE49-F238E27FC236}">
                  <a16:creationId xmlns:a16="http://schemas.microsoft.com/office/drawing/2014/main" id="{15A0B08A-AB2B-47EF-A46C-FDE08FC684CA}"/>
                </a:ext>
              </a:extLst>
            </p:cNvPr>
            <p:cNvSpPr/>
            <p:nvPr/>
          </p:nvSpPr>
          <p:spPr bwMode="auto">
            <a:xfrm>
              <a:off x="7523163" y="4803775"/>
              <a:ext cx="371475" cy="525463"/>
            </a:xfrm>
            <a:custGeom>
              <a:avLst/>
              <a:gdLst>
                <a:gd name="T0" fmla="*/ 188 w 234"/>
                <a:gd name="T1" fmla="*/ 331 h 331"/>
                <a:gd name="T2" fmla="*/ 45 w 234"/>
                <a:gd name="T3" fmla="*/ 331 h 331"/>
                <a:gd name="T4" fmla="*/ 0 w 234"/>
                <a:gd name="T5" fmla="*/ 0 h 331"/>
                <a:gd name="T6" fmla="*/ 234 w 234"/>
                <a:gd name="T7" fmla="*/ 0 h 331"/>
                <a:gd name="T8" fmla="*/ 188 w 234"/>
                <a:gd name="T9" fmla="*/ 33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331">
                  <a:moveTo>
                    <a:pt x="188" y="331"/>
                  </a:moveTo>
                  <a:lnTo>
                    <a:pt x="45" y="331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188" y="331"/>
                  </a:lnTo>
                  <a:close/>
                </a:path>
              </a:pathLst>
            </a:custGeom>
            <a:solidFill>
              <a:srgbClr val="F0C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ïšļiḑê">
              <a:extLst>
                <a:ext uri="{FF2B5EF4-FFF2-40B4-BE49-F238E27FC236}">
                  <a16:creationId xmlns:a16="http://schemas.microsoft.com/office/drawing/2014/main" id="{2186BCFD-B0D4-44C4-8AB8-16B0C7D135A2}"/>
                </a:ext>
              </a:extLst>
            </p:cNvPr>
            <p:cNvSpPr/>
            <p:nvPr/>
          </p:nvSpPr>
          <p:spPr bwMode="auto">
            <a:xfrm>
              <a:off x="7499350" y="4795838"/>
              <a:ext cx="420687" cy="82550"/>
            </a:xfrm>
            <a:prstGeom prst="rect">
              <a:avLst/>
            </a:prstGeom>
            <a:solidFill>
              <a:srgbClr val="D4AD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7" name="Text Placeholder 4">
            <a:extLst>
              <a:ext uri="{FF2B5EF4-FFF2-40B4-BE49-F238E27FC236}">
                <a16:creationId xmlns:a16="http://schemas.microsoft.com/office/drawing/2014/main" id="{48605F5E-1646-4A27-82C9-2E3ACD4F8104}"/>
              </a:ext>
            </a:extLst>
          </p:cNvPr>
          <p:cNvSpPr txBox="1">
            <a:spLocks/>
          </p:cNvSpPr>
          <p:nvPr/>
        </p:nvSpPr>
        <p:spPr>
          <a:xfrm>
            <a:off x="5696791" y="973148"/>
            <a:ext cx="5689972" cy="9180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 Light"/>
                <a:ea typeface="微软雅黑 Light"/>
                <a:cs typeface="+mn-cs"/>
              </a:rPr>
              <a:t>動態手語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 Light"/>
                <a:ea typeface="微软雅黑 Light"/>
                <a:cs typeface="+mn-cs"/>
              </a:rPr>
              <a:t>Accuracy 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 Light"/>
                <a:ea typeface="微软雅黑 Light"/>
                <a:cs typeface="+mn-cs"/>
              </a:rPr>
              <a:t>理論值達到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 Light"/>
                <a:ea typeface="微软雅黑 Light"/>
                <a:cs typeface="+mn-cs"/>
              </a:rPr>
              <a:t>96%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软雅黑 Light"/>
              <a:ea typeface="微软雅黑 Light"/>
              <a:cs typeface="+mn-cs"/>
            </a:endParaRPr>
          </a:p>
        </p:txBody>
      </p:sp>
      <p:sp>
        <p:nvSpPr>
          <p:cNvPr id="278" name="Rectangle 34">
            <a:extLst>
              <a:ext uri="{FF2B5EF4-FFF2-40B4-BE49-F238E27FC236}">
                <a16:creationId xmlns:a16="http://schemas.microsoft.com/office/drawing/2014/main" id="{78931B6E-AAC9-484D-BAAA-1C905BBCD68A}"/>
              </a:ext>
            </a:extLst>
          </p:cNvPr>
          <p:cNvSpPr/>
          <p:nvPr/>
        </p:nvSpPr>
        <p:spPr>
          <a:xfrm>
            <a:off x="5808648" y="1517030"/>
            <a:ext cx="5317945" cy="51152"/>
          </a:xfrm>
          <a:prstGeom prst="rect">
            <a:avLst/>
          </a:prstGeom>
          <a:solidFill>
            <a:srgbClr val="F7B2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84450DC-39FF-408A-9FF7-D168D22A90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5767"/>
          <a:stretch/>
        </p:blipFill>
        <p:spPr>
          <a:xfrm>
            <a:off x="5769005" y="1697404"/>
            <a:ext cx="5392885" cy="438377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1E261AE-7CAF-498F-BEC5-512551013059}"/>
              </a:ext>
            </a:extLst>
          </p:cNvPr>
          <p:cNvSpPr txBox="1"/>
          <p:nvPr/>
        </p:nvSpPr>
        <p:spPr>
          <a:xfrm>
            <a:off x="1230000" y="681950"/>
            <a:ext cx="37875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</a:t>
            </a:r>
          </a:p>
        </p:txBody>
      </p:sp>
      <p:pic>
        <p:nvPicPr>
          <p:cNvPr id="279" name="Picture 278">
            <a:extLst>
              <a:ext uri="{FF2B5EF4-FFF2-40B4-BE49-F238E27FC236}">
                <a16:creationId xmlns:a16="http://schemas.microsoft.com/office/drawing/2014/main" id="{032E1040-7923-4B5E-A432-F37940FBDD7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366" t="3894" r="32339" b="254"/>
          <a:stretch/>
        </p:blipFill>
        <p:spPr>
          <a:xfrm>
            <a:off x="3196179" y="1751597"/>
            <a:ext cx="8598068" cy="417902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E587DBE-7C43-4FC2-A6CB-69ECC6E3CA3B}"/>
              </a:ext>
            </a:extLst>
          </p:cNvPr>
          <p:cNvSpPr/>
          <p:nvPr/>
        </p:nvSpPr>
        <p:spPr>
          <a:xfrm>
            <a:off x="7474409" y="5567256"/>
            <a:ext cx="2766871" cy="3175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493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7" grpId="0"/>
      <p:bldP spid="27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4ed2b8f1-7960-4733-a073-41c4a99704f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14c19f6-979a-41d9-8fd9-c37f22741f3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14c19f6-979a-41d9-8fd9-c37f22741f3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14c19f6-979a-41d9-8fd9-c37f22741f3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14c19f6-979a-41d9-8fd9-c37f22741f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heme/theme1.xml><?xml version="1.0" encoding="utf-8"?>
<a:theme xmlns:a="http://schemas.openxmlformats.org/drawingml/2006/main" name="第一PPT，www.1ppt.co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553FFA"/>
      </a:accent1>
      <a:accent2>
        <a:srgbClr val="38ACF8"/>
      </a:accent2>
      <a:accent3>
        <a:srgbClr val="2DD7F8"/>
      </a:accent3>
      <a:accent4>
        <a:srgbClr val="91F6D6"/>
      </a:accent4>
      <a:accent5>
        <a:srgbClr val="FFB300"/>
      </a:accent5>
      <a:accent6>
        <a:srgbClr val="57575A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53FFA"/>
    </a:accent1>
    <a:accent2>
      <a:srgbClr val="38ACF8"/>
    </a:accent2>
    <a:accent3>
      <a:srgbClr val="2DD7F8"/>
    </a:accent3>
    <a:accent4>
      <a:srgbClr val="91F6D6"/>
    </a:accent4>
    <a:accent5>
      <a:srgbClr val="FFB300"/>
    </a:accent5>
    <a:accent6>
      <a:srgbClr val="57575A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96</TotalTime>
  <Words>407</Words>
  <Application>Microsoft Office PowerPoint</Application>
  <PresentationFormat>Widescreen</PresentationFormat>
  <Paragraphs>83</Paragraphs>
  <Slides>1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7" baseType="lpstr">
      <vt:lpstr>DFKai-SB</vt:lpstr>
      <vt:lpstr>张海山锐线体2.0</vt:lpstr>
      <vt:lpstr>张海山锐谐体</vt:lpstr>
      <vt:lpstr>微软雅黑</vt:lpstr>
      <vt:lpstr>微软雅黑 Light</vt:lpstr>
      <vt:lpstr>思源黑体 CN Light</vt:lpstr>
      <vt:lpstr>禹卫书法行书繁体
</vt:lpstr>
      <vt:lpstr>等线</vt:lpstr>
      <vt:lpstr>等线 Light</vt:lpstr>
      <vt:lpstr>Adobe Garamond Pro</vt:lpstr>
      <vt:lpstr>Arial</vt:lpstr>
      <vt:lpstr>Arial Black</vt:lpstr>
      <vt:lpstr>Calibri</vt:lpstr>
      <vt:lpstr>Calibri Light</vt:lpstr>
      <vt:lpstr>Impact</vt:lpstr>
      <vt:lpstr>第一PPT，www.1ppt.com</vt:lpstr>
      <vt:lpstr>主题5</vt:lpstr>
      <vt:lpstr>Office Theme</vt:lpstr>
      <vt:lpstr>think-cell Slide</vt:lpstr>
      <vt:lpstr>智慧手語手套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rai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智慧手語手套</dc:title>
  <cp:lastModifiedBy>鄭博凡</cp:lastModifiedBy>
  <cp:revision>6</cp:revision>
  <dcterms:created xsi:type="dcterms:W3CDTF">2018-07-20T06:26:29Z</dcterms:created>
  <dcterms:modified xsi:type="dcterms:W3CDTF">2019-11-26T05:04:55Z</dcterms:modified>
</cp:coreProperties>
</file>